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6" r:id="rId3"/>
    <p:sldId id="269" r:id="rId4"/>
    <p:sldId id="258" r:id="rId5"/>
    <p:sldId id="275" r:id="rId6"/>
    <p:sldId id="276" r:id="rId7"/>
    <p:sldId id="277" r:id="rId8"/>
    <p:sldId id="278" r:id="rId9"/>
    <p:sldId id="270" r:id="rId10"/>
    <p:sldId id="279" r:id="rId11"/>
    <p:sldId id="280" r:id="rId12"/>
    <p:sldId id="281" r:id="rId13"/>
    <p:sldId id="283" r:id="rId14"/>
    <p:sldId id="285" r:id="rId15"/>
    <p:sldId id="271" r:id="rId16"/>
    <p:sldId id="284" r:id="rId17"/>
    <p:sldId id="286" r:id="rId18"/>
    <p:sldId id="288" r:id="rId19"/>
    <p:sldId id="272" r:id="rId20"/>
    <p:sldId id="290" r:id="rId21"/>
    <p:sldId id="293" r:id="rId22"/>
    <p:sldId id="292" r:id="rId23"/>
    <p:sldId id="273" r:id="rId24"/>
    <p:sldId id="294" r:id="rId25"/>
    <p:sldId id="296" r:id="rId26"/>
    <p:sldId id="295" r:id="rId27"/>
    <p:sldId id="291" r:id="rId28"/>
    <p:sldId id="261" r:id="rId29"/>
  </p:sldIdLst>
  <p:sldSz cx="12192000" cy="6858000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D9D9D9"/>
    <a:srgbClr val="DBDBDB"/>
    <a:srgbClr val="F5DB9D"/>
    <a:srgbClr val="EBA76C"/>
    <a:srgbClr val="969696"/>
    <a:srgbClr val="EAAA2F"/>
    <a:srgbClr val="E27D26"/>
    <a:srgbClr val="1E335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543" autoAdjust="0"/>
    <p:restoredTop sz="95602" autoAdjust="0"/>
  </p:normalViewPr>
  <p:slideViewPr>
    <p:cSldViewPr snapToGrid="0">
      <p:cViewPr varScale="1">
        <p:scale>
          <a:sx n="72" d="100"/>
          <a:sy n="72" d="100"/>
        </p:scale>
        <p:origin x="72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1795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5" Type="http://schemas.openxmlformats.org/officeDocument/2006/relationships/tags" Target="tags/tag17.xml"/><Relationship Id="rId34" Type="http://schemas.openxmlformats.org/officeDocument/2006/relationships/tableStyles" Target="tableStyles.xml"/><Relationship Id="rId33" Type="http://schemas.openxmlformats.org/officeDocument/2006/relationships/viewProps" Target="viewProps.xml"/><Relationship Id="rId32" Type="http://schemas.openxmlformats.org/officeDocument/2006/relationships/presProps" Target="presProps.xml"/><Relationship Id="rId31" Type="http://schemas.openxmlformats.org/officeDocument/2006/relationships/handoutMaster" Target="handoutMasters/handoutMaster1.xml"/><Relationship Id="rId30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 userDrawn="1"/>
        </p:nvGrpSpPr>
        <p:grpSpPr>
          <a:xfrm>
            <a:off x="567809" y="1665288"/>
            <a:ext cx="6095535" cy="4575175"/>
            <a:chOff x="5789483" y="2014537"/>
            <a:chExt cx="5492750" cy="4122738"/>
          </a:xfrm>
        </p:grpSpPr>
        <p:sp>
          <p:nvSpPr>
            <p:cNvPr id="763" name="任意多边形: 形状 762"/>
            <p:cNvSpPr/>
            <p:nvPr userDrawn="1"/>
          </p:nvSpPr>
          <p:spPr bwMode="auto">
            <a:xfrm>
              <a:off x="5789483" y="2970212"/>
              <a:ext cx="5492750" cy="3167063"/>
            </a:xfrm>
            <a:custGeom>
              <a:avLst/>
              <a:gdLst>
                <a:gd name="T0" fmla="*/ 1368 w 1664"/>
                <a:gd name="T1" fmla="*/ 790 h 961"/>
                <a:gd name="T2" fmla="*/ 296 w 1664"/>
                <a:gd name="T3" fmla="*/ 790 h 961"/>
                <a:gd name="T4" fmla="*/ 296 w 1664"/>
                <a:gd name="T5" fmla="*/ 171 h 961"/>
                <a:gd name="T6" fmla="*/ 1368 w 1664"/>
                <a:gd name="T7" fmla="*/ 171 h 961"/>
                <a:gd name="T8" fmla="*/ 1368 w 1664"/>
                <a:gd name="T9" fmla="*/ 79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4" h="961">
                  <a:moveTo>
                    <a:pt x="1368" y="790"/>
                  </a:moveTo>
                  <a:cubicBezTo>
                    <a:pt x="1072" y="961"/>
                    <a:pt x="592" y="961"/>
                    <a:pt x="296" y="790"/>
                  </a:cubicBezTo>
                  <a:cubicBezTo>
                    <a:pt x="0" y="619"/>
                    <a:pt x="0" y="342"/>
                    <a:pt x="296" y="171"/>
                  </a:cubicBezTo>
                  <a:cubicBezTo>
                    <a:pt x="592" y="0"/>
                    <a:pt x="1072" y="0"/>
                    <a:pt x="1368" y="171"/>
                  </a:cubicBezTo>
                  <a:cubicBezTo>
                    <a:pt x="1664" y="342"/>
                    <a:pt x="1664" y="619"/>
                    <a:pt x="1368" y="790"/>
                  </a:cubicBezTo>
                  <a:close/>
                </a:path>
              </a:pathLst>
            </a:custGeom>
            <a:solidFill>
              <a:srgbClr val="E9F0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4" name="任意多边形: 形状 763"/>
            <p:cNvSpPr/>
            <p:nvPr userDrawn="1"/>
          </p:nvSpPr>
          <p:spPr bwMode="auto">
            <a:xfrm>
              <a:off x="8462833" y="4403725"/>
              <a:ext cx="1947863" cy="1157288"/>
            </a:xfrm>
            <a:custGeom>
              <a:avLst/>
              <a:gdLst>
                <a:gd name="T0" fmla="*/ 572 w 590"/>
                <a:gd name="T1" fmla="*/ 92 h 351"/>
                <a:gd name="T2" fmla="*/ 132 w 590"/>
                <a:gd name="T3" fmla="*/ 346 h 351"/>
                <a:gd name="T4" fmla="*/ 105 w 590"/>
                <a:gd name="T5" fmla="*/ 346 h 351"/>
                <a:gd name="T6" fmla="*/ 0 w 590"/>
                <a:gd name="T7" fmla="*/ 286 h 351"/>
                <a:gd name="T8" fmla="*/ 494 w 590"/>
                <a:gd name="T9" fmla="*/ 0 h 351"/>
                <a:gd name="T10" fmla="*/ 572 w 590"/>
                <a:gd name="T11" fmla="*/ 45 h 351"/>
                <a:gd name="T12" fmla="*/ 572 w 590"/>
                <a:gd name="T13" fmla="*/ 9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351">
                  <a:moveTo>
                    <a:pt x="572" y="92"/>
                  </a:moveTo>
                  <a:cubicBezTo>
                    <a:pt x="132" y="346"/>
                    <a:pt x="132" y="346"/>
                    <a:pt x="132" y="346"/>
                  </a:cubicBezTo>
                  <a:cubicBezTo>
                    <a:pt x="123" y="351"/>
                    <a:pt x="113" y="351"/>
                    <a:pt x="105" y="346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572" y="45"/>
                    <a:pt x="572" y="45"/>
                    <a:pt x="572" y="45"/>
                  </a:cubicBezTo>
                  <a:cubicBezTo>
                    <a:pt x="590" y="56"/>
                    <a:pt x="590" y="81"/>
                    <a:pt x="572" y="92"/>
                  </a:cubicBezTo>
                  <a:close/>
                </a:path>
              </a:pathLst>
            </a:custGeom>
            <a:solidFill>
              <a:srgbClr val="C4DF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5" name="任意多边形: 形状 764"/>
            <p:cNvSpPr/>
            <p:nvPr userDrawn="1"/>
          </p:nvSpPr>
          <p:spPr bwMode="auto">
            <a:xfrm>
              <a:off x="9505821" y="5191125"/>
              <a:ext cx="1296988" cy="771525"/>
            </a:xfrm>
            <a:custGeom>
              <a:avLst/>
              <a:gdLst>
                <a:gd name="T0" fmla="*/ 381 w 393"/>
                <a:gd name="T1" fmla="*/ 61 h 234"/>
                <a:gd name="T2" fmla="*/ 87 w 393"/>
                <a:gd name="T3" fmla="*/ 231 h 234"/>
                <a:gd name="T4" fmla="*/ 69 w 393"/>
                <a:gd name="T5" fmla="*/ 231 h 234"/>
                <a:gd name="T6" fmla="*/ 0 w 393"/>
                <a:gd name="T7" fmla="*/ 190 h 234"/>
                <a:gd name="T8" fmla="*/ 329 w 393"/>
                <a:gd name="T9" fmla="*/ 0 h 234"/>
                <a:gd name="T10" fmla="*/ 381 w 393"/>
                <a:gd name="T11" fmla="*/ 30 h 234"/>
                <a:gd name="T12" fmla="*/ 381 w 393"/>
                <a:gd name="T13" fmla="*/ 6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3" h="234">
                  <a:moveTo>
                    <a:pt x="381" y="61"/>
                  </a:moveTo>
                  <a:cubicBezTo>
                    <a:pt x="87" y="231"/>
                    <a:pt x="87" y="231"/>
                    <a:pt x="87" y="231"/>
                  </a:cubicBezTo>
                  <a:cubicBezTo>
                    <a:pt x="82" y="234"/>
                    <a:pt x="75" y="234"/>
                    <a:pt x="69" y="231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81" y="30"/>
                    <a:pt x="381" y="30"/>
                    <a:pt x="381" y="30"/>
                  </a:cubicBezTo>
                  <a:cubicBezTo>
                    <a:pt x="393" y="37"/>
                    <a:pt x="393" y="54"/>
                    <a:pt x="381" y="61"/>
                  </a:cubicBezTo>
                  <a:close/>
                </a:path>
              </a:pathLst>
            </a:custGeom>
            <a:solidFill>
              <a:srgbClr val="C4DF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6" name="任意多边形: 形状 765"/>
            <p:cNvSpPr/>
            <p:nvPr userDrawn="1"/>
          </p:nvSpPr>
          <p:spPr bwMode="auto">
            <a:xfrm>
              <a:off x="8199308" y="2027237"/>
              <a:ext cx="58738" cy="42863"/>
            </a:xfrm>
            <a:custGeom>
              <a:avLst/>
              <a:gdLst>
                <a:gd name="T0" fmla="*/ 0 w 37"/>
                <a:gd name="T1" fmla="*/ 15 h 27"/>
                <a:gd name="T2" fmla="*/ 29 w 37"/>
                <a:gd name="T3" fmla="*/ 0 h 27"/>
                <a:gd name="T4" fmla="*/ 37 w 37"/>
                <a:gd name="T5" fmla="*/ 12 h 27"/>
                <a:gd name="T6" fmla="*/ 8 w 37"/>
                <a:gd name="T7" fmla="*/ 27 h 27"/>
                <a:gd name="T8" fmla="*/ 0 w 37"/>
                <a:gd name="T9" fmla="*/ 1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7">
                  <a:moveTo>
                    <a:pt x="0" y="15"/>
                  </a:moveTo>
                  <a:lnTo>
                    <a:pt x="29" y="0"/>
                  </a:lnTo>
                  <a:lnTo>
                    <a:pt x="37" y="12"/>
                  </a:lnTo>
                  <a:lnTo>
                    <a:pt x="8" y="27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7" name="任意多边形: 形状 766"/>
            <p:cNvSpPr/>
            <p:nvPr userDrawn="1"/>
          </p:nvSpPr>
          <p:spPr bwMode="auto">
            <a:xfrm>
              <a:off x="10031283" y="4541837"/>
              <a:ext cx="49213" cy="63500"/>
            </a:xfrm>
            <a:custGeom>
              <a:avLst/>
              <a:gdLst>
                <a:gd name="T0" fmla="*/ 31 w 31"/>
                <a:gd name="T1" fmla="*/ 25 h 40"/>
                <a:gd name="T2" fmla="*/ 2 w 31"/>
                <a:gd name="T3" fmla="*/ 40 h 40"/>
                <a:gd name="T4" fmla="*/ 0 w 31"/>
                <a:gd name="T5" fmla="*/ 17 h 40"/>
                <a:gd name="T6" fmla="*/ 27 w 31"/>
                <a:gd name="T7" fmla="*/ 0 h 40"/>
                <a:gd name="T8" fmla="*/ 31 w 31"/>
                <a:gd name="T9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0">
                  <a:moveTo>
                    <a:pt x="31" y="25"/>
                  </a:moveTo>
                  <a:lnTo>
                    <a:pt x="2" y="40"/>
                  </a:lnTo>
                  <a:lnTo>
                    <a:pt x="0" y="17"/>
                  </a:lnTo>
                  <a:lnTo>
                    <a:pt x="27" y="0"/>
                  </a:lnTo>
                  <a:lnTo>
                    <a:pt x="31" y="25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8" name="任意多边形: 形状 767"/>
            <p:cNvSpPr/>
            <p:nvPr userDrawn="1"/>
          </p:nvSpPr>
          <p:spPr bwMode="auto">
            <a:xfrm>
              <a:off x="8226296" y="2014537"/>
              <a:ext cx="1871663" cy="2581275"/>
            </a:xfrm>
            <a:custGeom>
              <a:avLst/>
              <a:gdLst>
                <a:gd name="T0" fmla="*/ 551 w 567"/>
                <a:gd name="T1" fmla="*/ 778 h 783"/>
                <a:gd name="T2" fmla="*/ 16 w 567"/>
                <a:gd name="T3" fmla="*/ 469 h 783"/>
                <a:gd name="T4" fmla="*/ 0 w 567"/>
                <a:gd name="T5" fmla="*/ 437 h 783"/>
                <a:gd name="T6" fmla="*/ 0 w 567"/>
                <a:gd name="T7" fmla="*/ 18 h 783"/>
                <a:gd name="T8" fmla="*/ 16 w 567"/>
                <a:gd name="T9" fmla="*/ 5 h 783"/>
                <a:gd name="T10" fmla="*/ 551 w 567"/>
                <a:gd name="T11" fmla="*/ 314 h 783"/>
                <a:gd name="T12" fmla="*/ 567 w 567"/>
                <a:gd name="T13" fmla="*/ 345 h 783"/>
                <a:gd name="T14" fmla="*/ 567 w 567"/>
                <a:gd name="T15" fmla="*/ 765 h 783"/>
                <a:gd name="T16" fmla="*/ 551 w 567"/>
                <a:gd name="T17" fmla="*/ 77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7" h="783">
                  <a:moveTo>
                    <a:pt x="551" y="778"/>
                  </a:moveTo>
                  <a:cubicBezTo>
                    <a:pt x="16" y="469"/>
                    <a:pt x="16" y="469"/>
                    <a:pt x="16" y="469"/>
                  </a:cubicBezTo>
                  <a:cubicBezTo>
                    <a:pt x="7" y="463"/>
                    <a:pt x="0" y="449"/>
                    <a:pt x="0" y="43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6"/>
                    <a:pt x="7" y="0"/>
                    <a:pt x="16" y="5"/>
                  </a:cubicBezTo>
                  <a:cubicBezTo>
                    <a:pt x="551" y="314"/>
                    <a:pt x="551" y="314"/>
                    <a:pt x="551" y="314"/>
                  </a:cubicBezTo>
                  <a:cubicBezTo>
                    <a:pt x="560" y="319"/>
                    <a:pt x="567" y="333"/>
                    <a:pt x="567" y="345"/>
                  </a:cubicBezTo>
                  <a:cubicBezTo>
                    <a:pt x="567" y="765"/>
                    <a:pt x="567" y="765"/>
                    <a:pt x="567" y="765"/>
                  </a:cubicBezTo>
                  <a:cubicBezTo>
                    <a:pt x="567" y="777"/>
                    <a:pt x="560" y="783"/>
                    <a:pt x="551" y="778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9" name="任意多边形: 形状 768"/>
            <p:cNvSpPr/>
            <p:nvPr userDrawn="1"/>
          </p:nvSpPr>
          <p:spPr bwMode="auto">
            <a:xfrm>
              <a:off x="8180258" y="2036762"/>
              <a:ext cx="1874838" cy="2581275"/>
            </a:xfrm>
            <a:custGeom>
              <a:avLst/>
              <a:gdLst>
                <a:gd name="T0" fmla="*/ 552 w 568"/>
                <a:gd name="T1" fmla="*/ 778 h 783"/>
                <a:gd name="T2" fmla="*/ 17 w 568"/>
                <a:gd name="T3" fmla="*/ 469 h 783"/>
                <a:gd name="T4" fmla="*/ 0 w 568"/>
                <a:gd name="T5" fmla="*/ 438 h 783"/>
                <a:gd name="T6" fmla="*/ 0 w 568"/>
                <a:gd name="T7" fmla="*/ 18 h 783"/>
                <a:gd name="T8" fmla="*/ 17 w 568"/>
                <a:gd name="T9" fmla="*/ 6 h 783"/>
                <a:gd name="T10" fmla="*/ 552 w 568"/>
                <a:gd name="T11" fmla="*/ 314 h 783"/>
                <a:gd name="T12" fmla="*/ 568 w 568"/>
                <a:gd name="T13" fmla="*/ 346 h 783"/>
                <a:gd name="T14" fmla="*/ 568 w 568"/>
                <a:gd name="T15" fmla="*/ 766 h 783"/>
                <a:gd name="T16" fmla="*/ 552 w 568"/>
                <a:gd name="T17" fmla="*/ 77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8" h="783">
                  <a:moveTo>
                    <a:pt x="552" y="778"/>
                  </a:moveTo>
                  <a:cubicBezTo>
                    <a:pt x="17" y="469"/>
                    <a:pt x="17" y="469"/>
                    <a:pt x="17" y="469"/>
                  </a:cubicBezTo>
                  <a:cubicBezTo>
                    <a:pt x="8" y="464"/>
                    <a:pt x="0" y="450"/>
                    <a:pt x="0" y="43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6"/>
                    <a:pt x="8" y="0"/>
                    <a:pt x="17" y="6"/>
                  </a:cubicBezTo>
                  <a:cubicBezTo>
                    <a:pt x="552" y="314"/>
                    <a:pt x="552" y="314"/>
                    <a:pt x="552" y="314"/>
                  </a:cubicBezTo>
                  <a:cubicBezTo>
                    <a:pt x="561" y="320"/>
                    <a:pt x="568" y="334"/>
                    <a:pt x="568" y="346"/>
                  </a:cubicBezTo>
                  <a:cubicBezTo>
                    <a:pt x="568" y="766"/>
                    <a:pt x="568" y="766"/>
                    <a:pt x="568" y="766"/>
                  </a:cubicBezTo>
                  <a:cubicBezTo>
                    <a:pt x="568" y="778"/>
                    <a:pt x="561" y="783"/>
                    <a:pt x="552" y="77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0" name="任意多边形: 形状 769"/>
            <p:cNvSpPr/>
            <p:nvPr userDrawn="1"/>
          </p:nvSpPr>
          <p:spPr bwMode="auto">
            <a:xfrm>
              <a:off x="8261221" y="2182812"/>
              <a:ext cx="1711325" cy="2290763"/>
            </a:xfrm>
            <a:custGeom>
              <a:avLst/>
              <a:gdLst>
                <a:gd name="T0" fmla="*/ 0 w 518"/>
                <a:gd name="T1" fmla="*/ 379 h 695"/>
                <a:gd name="T2" fmla="*/ 0 w 518"/>
                <a:gd name="T3" fmla="*/ 18 h 695"/>
                <a:gd name="T4" fmla="*/ 17 w 518"/>
                <a:gd name="T5" fmla="*/ 5 h 695"/>
                <a:gd name="T6" fmla="*/ 501 w 518"/>
                <a:gd name="T7" fmla="*/ 285 h 695"/>
                <a:gd name="T8" fmla="*/ 518 w 518"/>
                <a:gd name="T9" fmla="*/ 316 h 695"/>
                <a:gd name="T10" fmla="*/ 518 w 518"/>
                <a:gd name="T11" fmla="*/ 678 h 695"/>
                <a:gd name="T12" fmla="*/ 501 w 518"/>
                <a:gd name="T13" fmla="*/ 690 h 695"/>
                <a:gd name="T14" fmla="*/ 17 w 518"/>
                <a:gd name="T15" fmla="*/ 410 h 695"/>
                <a:gd name="T16" fmla="*/ 0 w 518"/>
                <a:gd name="T17" fmla="*/ 379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8" h="695">
                  <a:moveTo>
                    <a:pt x="0" y="379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6"/>
                    <a:pt x="8" y="0"/>
                    <a:pt x="17" y="5"/>
                  </a:cubicBezTo>
                  <a:cubicBezTo>
                    <a:pt x="501" y="285"/>
                    <a:pt x="501" y="285"/>
                    <a:pt x="501" y="285"/>
                  </a:cubicBezTo>
                  <a:cubicBezTo>
                    <a:pt x="510" y="290"/>
                    <a:pt x="518" y="304"/>
                    <a:pt x="518" y="316"/>
                  </a:cubicBezTo>
                  <a:cubicBezTo>
                    <a:pt x="518" y="678"/>
                    <a:pt x="518" y="678"/>
                    <a:pt x="518" y="678"/>
                  </a:cubicBezTo>
                  <a:cubicBezTo>
                    <a:pt x="518" y="690"/>
                    <a:pt x="510" y="695"/>
                    <a:pt x="501" y="690"/>
                  </a:cubicBezTo>
                  <a:cubicBezTo>
                    <a:pt x="17" y="410"/>
                    <a:pt x="17" y="410"/>
                    <a:pt x="17" y="410"/>
                  </a:cubicBezTo>
                  <a:cubicBezTo>
                    <a:pt x="8" y="405"/>
                    <a:pt x="0" y="391"/>
                    <a:pt x="0" y="379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1" name="矩形 770"/>
            <p:cNvSpPr/>
            <p:nvPr userDrawn="1"/>
          </p:nvSpPr>
          <p:spPr bwMode="auto">
            <a:xfrm>
              <a:off x="6921371" y="4335462"/>
              <a:ext cx="185738" cy="101600"/>
            </a:xfrm>
            <a:prstGeom prst="rect">
              <a:avLst/>
            </a:pr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2" name="矩形 771"/>
            <p:cNvSpPr/>
            <p:nvPr userDrawn="1"/>
          </p:nvSpPr>
          <p:spPr bwMode="auto">
            <a:xfrm>
              <a:off x="9939208" y="4645025"/>
              <a:ext cx="115888" cy="104775"/>
            </a:xfrm>
            <a:prstGeom prst="rect">
              <a:avLst/>
            </a:pr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3" name="任意多边形: 形状 772"/>
            <p:cNvSpPr/>
            <p:nvPr userDrawn="1"/>
          </p:nvSpPr>
          <p:spPr bwMode="auto">
            <a:xfrm>
              <a:off x="6911846" y="3681412"/>
              <a:ext cx="3152775" cy="1817688"/>
            </a:xfrm>
            <a:custGeom>
              <a:avLst/>
              <a:gdLst>
                <a:gd name="T0" fmla="*/ 545 w 955"/>
                <a:gd name="T1" fmla="*/ 546 h 551"/>
                <a:gd name="T2" fmla="*/ 9 w 955"/>
                <a:gd name="T3" fmla="*/ 237 h 551"/>
                <a:gd name="T4" fmla="*/ 12 w 955"/>
                <a:gd name="T5" fmla="*/ 217 h 551"/>
                <a:gd name="T6" fmla="*/ 376 w 955"/>
                <a:gd name="T7" fmla="*/ 7 h 551"/>
                <a:gd name="T8" fmla="*/ 411 w 955"/>
                <a:gd name="T9" fmla="*/ 6 h 551"/>
                <a:gd name="T10" fmla="*/ 946 w 955"/>
                <a:gd name="T11" fmla="*/ 315 h 551"/>
                <a:gd name="T12" fmla="*/ 943 w 955"/>
                <a:gd name="T13" fmla="*/ 335 h 551"/>
                <a:gd name="T14" fmla="*/ 580 w 955"/>
                <a:gd name="T15" fmla="*/ 545 h 551"/>
                <a:gd name="T16" fmla="*/ 545 w 955"/>
                <a:gd name="T17" fmla="*/ 546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5" h="551">
                  <a:moveTo>
                    <a:pt x="545" y="546"/>
                  </a:moveTo>
                  <a:cubicBezTo>
                    <a:pt x="9" y="237"/>
                    <a:pt x="9" y="237"/>
                    <a:pt x="9" y="237"/>
                  </a:cubicBezTo>
                  <a:cubicBezTo>
                    <a:pt x="0" y="232"/>
                    <a:pt x="2" y="223"/>
                    <a:pt x="12" y="217"/>
                  </a:cubicBezTo>
                  <a:cubicBezTo>
                    <a:pt x="376" y="7"/>
                    <a:pt x="376" y="7"/>
                    <a:pt x="376" y="7"/>
                  </a:cubicBezTo>
                  <a:cubicBezTo>
                    <a:pt x="386" y="1"/>
                    <a:pt x="402" y="0"/>
                    <a:pt x="411" y="6"/>
                  </a:cubicBezTo>
                  <a:cubicBezTo>
                    <a:pt x="946" y="315"/>
                    <a:pt x="946" y="315"/>
                    <a:pt x="946" y="315"/>
                  </a:cubicBezTo>
                  <a:cubicBezTo>
                    <a:pt x="955" y="320"/>
                    <a:pt x="954" y="329"/>
                    <a:pt x="943" y="335"/>
                  </a:cubicBezTo>
                  <a:cubicBezTo>
                    <a:pt x="580" y="545"/>
                    <a:pt x="580" y="545"/>
                    <a:pt x="580" y="545"/>
                  </a:cubicBezTo>
                  <a:cubicBezTo>
                    <a:pt x="569" y="551"/>
                    <a:pt x="554" y="551"/>
                    <a:pt x="545" y="546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4" name="任意多边形: 形状 773"/>
            <p:cNvSpPr/>
            <p:nvPr userDrawn="1"/>
          </p:nvSpPr>
          <p:spPr bwMode="auto">
            <a:xfrm>
              <a:off x="6911846" y="3582987"/>
              <a:ext cx="3152775" cy="1816100"/>
            </a:xfrm>
            <a:custGeom>
              <a:avLst/>
              <a:gdLst>
                <a:gd name="T0" fmla="*/ 545 w 955"/>
                <a:gd name="T1" fmla="*/ 546 h 551"/>
                <a:gd name="T2" fmla="*/ 9 w 955"/>
                <a:gd name="T3" fmla="*/ 237 h 551"/>
                <a:gd name="T4" fmla="*/ 12 w 955"/>
                <a:gd name="T5" fmla="*/ 217 h 551"/>
                <a:gd name="T6" fmla="*/ 376 w 955"/>
                <a:gd name="T7" fmla="*/ 7 h 551"/>
                <a:gd name="T8" fmla="*/ 411 w 955"/>
                <a:gd name="T9" fmla="*/ 6 h 551"/>
                <a:gd name="T10" fmla="*/ 946 w 955"/>
                <a:gd name="T11" fmla="*/ 315 h 551"/>
                <a:gd name="T12" fmla="*/ 943 w 955"/>
                <a:gd name="T13" fmla="*/ 335 h 551"/>
                <a:gd name="T14" fmla="*/ 580 w 955"/>
                <a:gd name="T15" fmla="*/ 545 h 551"/>
                <a:gd name="T16" fmla="*/ 545 w 955"/>
                <a:gd name="T17" fmla="*/ 546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5" h="551">
                  <a:moveTo>
                    <a:pt x="545" y="546"/>
                  </a:moveTo>
                  <a:cubicBezTo>
                    <a:pt x="9" y="237"/>
                    <a:pt x="9" y="237"/>
                    <a:pt x="9" y="237"/>
                  </a:cubicBezTo>
                  <a:cubicBezTo>
                    <a:pt x="0" y="232"/>
                    <a:pt x="2" y="223"/>
                    <a:pt x="12" y="217"/>
                  </a:cubicBezTo>
                  <a:cubicBezTo>
                    <a:pt x="376" y="7"/>
                    <a:pt x="376" y="7"/>
                    <a:pt x="376" y="7"/>
                  </a:cubicBezTo>
                  <a:cubicBezTo>
                    <a:pt x="386" y="1"/>
                    <a:pt x="402" y="0"/>
                    <a:pt x="411" y="6"/>
                  </a:cubicBezTo>
                  <a:cubicBezTo>
                    <a:pt x="946" y="315"/>
                    <a:pt x="946" y="315"/>
                    <a:pt x="946" y="315"/>
                  </a:cubicBezTo>
                  <a:cubicBezTo>
                    <a:pt x="955" y="320"/>
                    <a:pt x="954" y="329"/>
                    <a:pt x="943" y="335"/>
                  </a:cubicBezTo>
                  <a:cubicBezTo>
                    <a:pt x="580" y="545"/>
                    <a:pt x="580" y="545"/>
                    <a:pt x="580" y="545"/>
                  </a:cubicBezTo>
                  <a:cubicBezTo>
                    <a:pt x="569" y="551"/>
                    <a:pt x="554" y="551"/>
                    <a:pt x="545" y="546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5" name="任意多边形: 形状 774"/>
            <p:cNvSpPr/>
            <p:nvPr userDrawn="1"/>
          </p:nvSpPr>
          <p:spPr bwMode="auto">
            <a:xfrm>
              <a:off x="7492871" y="3678237"/>
              <a:ext cx="2409825" cy="1389063"/>
            </a:xfrm>
            <a:custGeom>
              <a:avLst/>
              <a:gdLst>
                <a:gd name="T0" fmla="*/ 9 w 730"/>
                <a:gd name="T1" fmla="*/ 117 h 421"/>
                <a:gd name="T2" fmla="*/ 203 w 730"/>
                <a:gd name="T3" fmla="*/ 5 h 421"/>
                <a:gd name="T4" fmla="*/ 232 w 730"/>
                <a:gd name="T5" fmla="*/ 4 h 421"/>
                <a:gd name="T6" fmla="*/ 723 w 730"/>
                <a:gd name="T7" fmla="*/ 287 h 421"/>
                <a:gd name="T8" fmla="*/ 721 w 730"/>
                <a:gd name="T9" fmla="*/ 304 h 421"/>
                <a:gd name="T10" fmla="*/ 526 w 730"/>
                <a:gd name="T11" fmla="*/ 416 h 421"/>
                <a:gd name="T12" fmla="*/ 498 w 730"/>
                <a:gd name="T13" fmla="*/ 417 h 421"/>
                <a:gd name="T14" fmla="*/ 7 w 730"/>
                <a:gd name="T15" fmla="*/ 133 h 421"/>
                <a:gd name="T16" fmla="*/ 9 w 730"/>
                <a:gd name="T17" fmla="*/ 11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421">
                  <a:moveTo>
                    <a:pt x="9" y="117"/>
                  </a:moveTo>
                  <a:cubicBezTo>
                    <a:pt x="203" y="5"/>
                    <a:pt x="203" y="5"/>
                    <a:pt x="203" y="5"/>
                  </a:cubicBezTo>
                  <a:cubicBezTo>
                    <a:pt x="212" y="0"/>
                    <a:pt x="224" y="0"/>
                    <a:pt x="232" y="4"/>
                  </a:cubicBezTo>
                  <a:cubicBezTo>
                    <a:pt x="723" y="287"/>
                    <a:pt x="723" y="287"/>
                    <a:pt x="723" y="287"/>
                  </a:cubicBezTo>
                  <a:cubicBezTo>
                    <a:pt x="730" y="292"/>
                    <a:pt x="729" y="299"/>
                    <a:pt x="721" y="304"/>
                  </a:cubicBezTo>
                  <a:cubicBezTo>
                    <a:pt x="526" y="416"/>
                    <a:pt x="526" y="416"/>
                    <a:pt x="526" y="416"/>
                  </a:cubicBezTo>
                  <a:cubicBezTo>
                    <a:pt x="518" y="421"/>
                    <a:pt x="506" y="421"/>
                    <a:pt x="498" y="417"/>
                  </a:cubicBezTo>
                  <a:cubicBezTo>
                    <a:pt x="7" y="133"/>
                    <a:pt x="7" y="133"/>
                    <a:pt x="7" y="133"/>
                  </a:cubicBezTo>
                  <a:cubicBezTo>
                    <a:pt x="0" y="129"/>
                    <a:pt x="1" y="122"/>
                    <a:pt x="9" y="117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6" name="任意多边形: 形状 775"/>
            <p:cNvSpPr/>
            <p:nvPr userDrawn="1"/>
          </p:nvSpPr>
          <p:spPr bwMode="auto">
            <a:xfrm>
              <a:off x="7648446" y="4473575"/>
              <a:ext cx="874713" cy="504825"/>
            </a:xfrm>
            <a:custGeom>
              <a:avLst/>
              <a:gdLst>
                <a:gd name="T0" fmla="*/ 9 w 265"/>
                <a:gd name="T1" fmla="*/ 49 h 153"/>
                <a:gd name="T2" fmla="*/ 84 w 265"/>
                <a:gd name="T3" fmla="*/ 5 h 153"/>
                <a:gd name="T4" fmla="*/ 113 w 265"/>
                <a:gd name="T5" fmla="*/ 4 h 153"/>
                <a:gd name="T6" fmla="*/ 258 w 265"/>
                <a:gd name="T7" fmla="*/ 88 h 153"/>
                <a:gd name="T8" fmla="*/ 256 w 265"/>
                <a:gd name="T9" fmla="*/ 104 h 153"/>
                <a:gd name="T10" fmla="*/ 181 w 265"/>
                <a:gd name="T11" fmla="*/ 148 h 153"/>
                <a:gd name="T12" fmla="*/ 152 w 265"/>
                <a:gd name="T13" fmla="*/ 149 h 153"/>
                <a:gd name="T14" fmla="*/ 7 w 265"/>
                <a:gd name="T15" fmla="*/ 65 h 153"/>
                <a:gd name="T16" fmla="*/ 9 w 265"/>
                <a:gd name="T17" fmla="*/ 4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5" h="153">
                  <a:moveTo>
                    <a:pt x="9" y="49"/>
                  </a:moveTo>
                  <a:cubicBezTo>
                    <a:pt x="84" y="5"/>
                    <a:pt x="84" y="5"/>
                    <a:pt x="84" y="5"/>
                  </a:cubicBezTo>
                  <a:cubicBezTo>
                    <a:pt x="93" y="0"/>
                    <a:pt x="106" y="0"/>
                    <a:pt x="113" y="4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65" y="92"/>
                    <a:pt x="265" y="99"/>
                    <a:pt x="256" y="104"/>
                  </a:cubicBezTo>
                  <a:cubicBezTo>
                    <a:pt x="181" y="148"/>
                    <a:pt x="181" y="148"/>
                    <a:pt x="181" y="148"/>
                  </a:cubicBezTo>
                  <a:cubicBezTo>
                    <a:pt x="172" y="153"/>
                    <a:pt x="159" y="153"/>
                    <a:pt x="152" y="149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0" y="61"/>
                    <a:pt x="1" y="54"/>
                    <a:pt x="9" y="49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7" name="任意多边形: 形状 776"/>
            <p:cNvSpPr/>
            <p:nvPr userDrawn="1"/>
          </p:nvSpPr>
          <p:spPr bwMode="auto">
            <a:xfrm>
              <a:off x="8123108" y="3711575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8" name="任意多边形: 形状 777"/>
            <p:cNvSpPr/>
            <p:nvPr userDrawn="1"/>
          </p:nvSpPr>
          <p:spPr bwMode="auto">
            <a:xfrm>
              <a:off x="8312021" y="381793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3 h 41"/>
                <a:gd name="T8" fmla="*/ 33 w 71"/>
                <a:gd name="T9" fmla="*/ 3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5"/>
                    <a:pt x="3" y="12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4" y="0"/>
                    <a:pt x="30" y="0"/>
                    <a:pt x="33" y="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9" name="任意多边形: 形状 778"/>
            <p:cNvSpPr/>
            <p:nvPr userDrawn="1"/>
          </p:nvSpPr>
          <p:spPr bwMode="auto">
            <a:xfrm>
              <a:off x="8496171" y="3925887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0" name="任意多边形: 形状 779"/>
            <p:cNvSpPr/>
            <p:nvPr userDrawn="1"/>
          </p:nvSpPr>
          <p:spPr bwMode="auto">
            <a:xfrm>
              <a:off x="8681908" y="4032250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1" name="任意多边形: 形状 780"/>
            <p:cNvSpPr/>
            <p:nvPr userDrawn="1"/>
          </p:nvSpPr>
          <p:spPr bwMode="auto">
            <a:xfrm>
              <a:off x="8866058" y="4140200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2" name="任意多边形: 形状 781"/>
            <p:cNvSpPr/>
            <p:nvPr userDrawn="1"/>
          </p:nvSpPr>
          <p:spPr bwMode="auto">
            <a:xfrm>
              <a:off x="9050208" y="4246562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3" name="任意多边形: 形状 782"/>
            <p:cNvSpPr/>
            <p:nvPr userDrawn="1"/>
          </p:nvSpPr>
          <p:spPr bwMode="auto">
            <a:xfrm>
              <a:off x="9239121" y="4354512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4" name="任意多边形: 形状 783"/>
            <p:cNvSpPr/>
            <p:nvPr userDrawn="1"/>
          </p:nvSpPr>
          <p:spPr bwMode="auto">
            <a:xfrm>
              <a:off x="9423271" y="4459287"/>
              <a:ext cx="234950" cy="136525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5" name="任意多边形: 形状 784"/>
            <p:cNvSpPr/>
            <p:nvPr userDrawn="1"/>
          </p:nvSpPr>
          <p:spPr bwMode="auto">
            <a:xfrm>
              <a:off x="9609008" y="4568825"/>
              <a:ext cx="233363" cy="134938"/>
            </a:xfrm>
            <a:custGeom>
              <a:avLst/>
              <a:gdLst>
                <a:gd name="T0" fmla="*/ 37 w 71"/>
                <a:gd name="T1" fmla="*/ 38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8 h 41"/>
                <a:gd name="T16" fmla="*/ 37 w 71"/>
                <a:gd name="T17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8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47" y="41"/>
                    <a:pt x="41" y="41"/>
                    <a:pt x="37" y="3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6" name="任意多边形: 形状 785"/>
            <p:cNvSpPr/>
            <p:nvPr userDrawn="1"/>
          </p:nvSpPr>
          <p:spPr bwMode="auto">
            <a:xfrm>
              <a:off x="7994521" y="3787775"/>
              <a:ext cx="320675" cy="184150"/>
            </a:xfrm>
            <a:custGeom>
              <a:avLst/>
              <a:gdLst>
                <a:gd name="T0" fmla="*/ 64 w 97"/>
                <a:gd name="T1" fmla="*/ 54 h 56"/>
                <a:gd name="T2" fmla="*/ 3 w 97"/>
                <a:gd name="T3" fmla="*/ 20 h 56"/>
                <a:gd name="T4" fmla="*/ 3 w 97"/>
                <a:gd name="T5" fmla="*/ 12 h 56"/>
                <a:gd name="T6" fmla="*/ 20 w 97"/>
                <a:gd name="T7" fmla="*/ 2 h 56"/>
                <a:gd name="T8" fmla="*/ 33 w 97"/>
                <a:gd name="T9" fmla="*/ 2 h 56"/>
                <a:gd name="T10" fmla="*/ 94 w 97"/>
                <a:gd name="T11" fmla="*/ 37 h 56"/>
                <a:gd name="T12" fmla="*/ 94 w 97"/>
                <a:gd name="T13" fmla="*/ 45 h 56"/>
                <a:gd name="T14" fmla="*/ 77 w 97"/>
                <a:gd name="T15" fmla="*/ 54 h 56"/>
                <a:gd name="T16" fmla="*/ 64 w 97"/>
                <a:gd name="T17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7" h="56">
                  <a:moveTo>
                    <a:pt x="64" y="5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7" y="39"/>
                    <a:pt x="97" y="42"/>
                    <a:pt x="94" y="45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3" y="56"/>
                    <a:pt x="67" y="56"/>
                    <a:pt x="64" y="54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7" name="任意多边形: 形状 786"/>
            <p:cNvSpPr/>
            <p:nvPr userDrawn="1"/>
          </p:nvSpPr>
          <p:spPr bwMode="auto">
            <a:xfrm>
              <a:off x="8269158" y="3946525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8" name="任意多边形: 形状 787"/>
            <p:cNvSpPr/>
            <p:nvPr userDrawn="1"/>
          </p:nvSpPr>
          <p:spPr bwMode="auto">
            <a:xfrm>
              <a:off x="8453308" y="4051300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9" name="任意多边形: 形状 788"/>
            <p:cNvSpPr/>
            <p:nvPr userDrawn="1"/>
          </p:nvSpPr>
          <p:spPr bwMode="auto">
            <a:xfrm>
              <a:off x="8639046" y="416083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0" name="任意多边形: 形状 789"/>
            <p:cNvSpPr/>
            <p:nvPr userDrawn="1"/>
          </p:nvSpPr>
          <p:spPr bwMode="auto">
            <a:xfrm>
              <a:off x="8823196" y="4265612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1" name="任意多边形: 形状 790"/>
            <p:cNvSpPr/>
            <p:nvPr userDrawn="1"/>
          </p:nvSpPr>
          <p:spPr bwMode="auto">
            <a:xfrm>
              <a:off x="9007346" y="4373562"/>
              <a:ext cx="234950" cy="136525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2" name="任意多边形: 形状 791"/>
            <p:cNvSpPr/>
            <p:nvPr userDrawn="1"/>
          </p:nvSpPr>
          <p:spPr bwMode="auto">
            <a:xfrm>
              <a:off x="9196258" y="4479925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3" name="任意多边形: 形状 792"/>
            <p:cNvSpPr/>
            <p:nvPr userDrawn="1"/>
          </p:nvSpPr>
          <p:spPr bwMode="auto">
            <a:xfrm>
              <a:off x="9383583" y="4587875"/>
              <a:ext cx="327025" cy="192088"/>
            </a:xfrm>
            <a:custGeom>
              <a:avLst/>
              <a:gdLst>
                <a:gd name="T0" fmla="*/ 65 w 99"/>
                <a:gd name="T1" fmla="*/ 55 h 58"/>
                <a:gd name="T2" fmla="*/ 4 w 99"/>
                <a:gd name="T3" fmla="*/ 20 h 58"/>
                <a:gd name="T4" fmla="*/ 4 w 99"/>
                <a:gd name="T5" fmla="*/ 12 h 58"/>
                <a:gd name="T6" fmla="*/ 21 w 99"/>
                <a:gd name="T7" fmla="*/ 2 h 58"/>
                <a:gd name="T8" fmla="*/ 34 w 99"/>
                <a:gd name="T9" fmla="*/ 2 h 58"/>
                <a:gd name="T10" fmla="*/ 96 w 99"/>
                <a:gd name="T11" fmla="*/ 38 h 58"/>
                <a:gd name="T12" fmla="*/ 96 w 99"/>
                <a:gd name="T13" fmla="*/ 46 h 58"/>
                <a:gd name="T14" fmla="*/ 79 w 99"/>
                <a:gd name="T15" fmla="*/ 55 h 58"/>
                <a:gd name="T16" fmla="*/ 65 w 99"/>
                <a:gd name="T17" fmla="*/ 5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58">
                  <a:moveTo>
                    <a:pt x="65" y="55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9" y="40"/>
                    <a:pt x="99" y="44"/>
                    <a:pt x="96" y="46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5" y="58"/>
                    <a:pt x="69" y="58"/>
                    <a:pt x="65" y="55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4" name="任意多边形: 形状 793"/>
            <p:cNvSpPr/>
            <p:nvPr userDrawn="1"/>
          </p:nvSpPr>
          <p:spPr bwMode="auto">
            <a:xfrm>
              <a:off x="7730996" y="3938587"/>
              <a:ext cx="322263" cy="185738"/>
            </a:xfrm>
            <a:custGeom>
              <a:avLst/>
              <a:gdLst>
                <a:gd name="T0" fmla="*/ 64 w 98"/>
                <a:gd name="T1" fmla="*/ 54 h 56"/>
                <a:gd name="T2" fmla="*/ 4 w 98"/>
                <a:gd name="T3" fmla="*/ 19 h 56"/>
                <a:gd name="T4" fmla="*/ 4 w 98"/>
                <a:gd name="T5" fmla="*/ 12 h 56"/>
                <a:gd name="T6" fmla="*/ 21 w 98"/>
                <a:gd name="T7" fmla="*/ 2 h 56"/>
                <a:gd name="T8" fmla="*/ 34 w 98"/>
                <a:gd name="T9" fmla="*/ 2 h 56"/>
                <a:gd name="T10" fmla="*/ 94 w 98"/>
                <a:gd name="T11" fmla="*/ 37 h 56"/>
                <a:gd name="T12" fmla="*/ 94 w 98"/>
                <a:gd name="T13" fmla="*/ 44 h 56"/>
                <a:gd name="T14" fmla="*/ 77 w 98"/>
                <a:gd name="T15" fmla="*/ 54 h 56"/>
                <a:gd name="T16" fmla="*/ 64 w 98"/>
                <a:gd name="T17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56">
                  <a:moveTo>
                    <a:pt x="64" y="54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8" y="39"/>
                    <a:pt x="98" y="42"/>
                    <a:pt x="94" y="4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3" y="56"/>
                    <a:pt x="68" y="56"/>
                    <a:pt x="64" y="54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5" name="任意多边形: 形状 794"/>
            <p:cNvSpPr/>
            <p:nvPr userDrawn="1"/>
          </p:nvSpPr>
          <p:spPr bwMode="auto">
            <a:xfrm>
              <a:off x="8004046" y="4097337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6" name="任意多边形: 形状 795"/>
            <p:cNvSpPr/>
            <p:nvPr userDrawn="1"/>
          </p:nvSpPr>
          <p:spPr bwMode="auto">
            <a:xfrm>
              <a:off x="8189783" y="4203700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7" name="任意多边形: 形状 796"/>
            <p:cNvSpPr/>
            <p:nvPr userDrawn="1"/>
          </p:nvSpPr>
          <p:spPr bwMode="auto">
            <a:xfrm>
              <a:off x="8373933" y="4311650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8" name="任意多边形: 形状 797"/>
            <p:cNvSpPr/>
            <p:nvPr userDrawn="1"/>
          </p:nvSpPr>
          <p:spPr bwMode="auto">
            <a:xfrm>
              <a:off x="8562846" y="4416425"/>
              <a:ext cx="233363" cy="136525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9" name="任意多边形: 形状 798"/>
            <p:cNvSpPr/>
            <p:nvPr userDrawn="1"/>
          </p:nvSpPr>
          <p:spPr bwMode="auto">
            <a:xfrm>
              <a:off x="8746996" y="4525962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0" name="任意多边形: 形状 799"/>
            <p:cNvSpPr/>
            <p:nvPr userDrawn="1"/>
          </p:nvSpPr>
          <p:spPr bwMode="auto">
            <a:xfrm>
              <a:off x="8932733" y="4630737"/>
              <a:ext cx="233363" cy="136525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1" name="任意多边形: 形状 800"/>
            <p:cNvSpPr/>
            <p:nvPr userDrawn="1"/>
          </p:nvSpPr>
          <p:spPr bwMode="auto">
            <a:xfrm>
              <a:off x="9123233" y="4740275"/>
              <a:ext cx="327025" cy="190500"/>
            </a:xfrm>
            <a:custGeom>
              <a:avLst/>
              <a:gdLst>
                <a:gd name="T0" fmla="*/ 65 w 99"/>
                <a:gd name="T1" fmla="*/ 55 h 58"/>
                <a:gd name="T2" fmla="*/ 3 w 99"/>
                <a:gd name="T3" fmla="*/ 20 h 58"/>
                <a:gd name="T4" fmla="*/ 3 w 99"/>
                <a:gd name="T5" fmla="*/ 12 h 58"/>
                <a:gd name="T6" fmla="*/ 20 w 99"/>
                <a:gd name="T7" fmla="*/ 2 h 58"/>
                <a:gd name="T8" fmla="*/ 33 w 99"/>
                <a:gd name="T9" fmla="*/ 2 h 58"/>
                <a:gd name="T10" fmla="*/ 95 w 99"/>
                <a:gd name="T11" fmla="*/ 38 h 58"/>
                <a:gd name="T12" fmla="*/ 95 w 99"/>
                <a:gd name="T13" fmla="*/ 46 h 58"/>
                <a:gd name="T14" fmla="*/ 78 w 99"/>
                <a:gd name="T15" fmla="*/ 55 h 58"/>
                <a:gd name="T16" fmla="*/ 65 w 99"/>
                <a:gd name="T17" fmla="*/ 5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58">
                  <a:moveTo>
                    <a:pt x="65" y="55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9" y="40"/>
                    <a:pt x="99" y="43"/>
                    <a:pt x="95" y="46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4" y="58"/>
                    <a:pt x="68" y="58"/>
                    <a:pt x="65" y="55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2" name="任意多边形: 形状 801"/>
            <p:cNvSpPr/>
            <p:nvPr userDrawn="1"/>
          </p:nvSpPr>
          <p:spPr bwMode="auto">
            <a:xfrm>
              <a:off x="7862758" y="3863975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3" name="任意多边形: 形状 802"/>
            <p:cNvSpPr/>
            <p:nvPr userDrawn="1"/>
          </p:nvSpPr>
          <p:spPr bwMode="auto">
            <a:xfrm>
              <a:off x="8046908" y="3968750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3 h 41"/>
                <a:gd name="T8" fmla="*/ 34 w 71"/>
                <a:gd name="T9" fmla="*/ 3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4" y="0"/>
                    <a:pt x="30" y="0"/>
                    <a:pt x="34" y="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4" name="任意多边形: 形状 803"/>
            <p:cNvSpPr/>
            <p:nvPr userDrawn="1"/>
          </p:nvSpPr>
          <p:spPr bwMode="auto">
            <a:xfrm>
              <a:off x="8232646" y="407828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5" name="任意多边形: 形状 804"/>
            <p:cNvSpPr/>
            <p:nvPr userDrawn="1"/>
          </p:nvSpPr>
          <p:spPr bwMode="auto">
            <a:xfrm>
              <a:off x="8416796" y="4183062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6" name="任意多边形: 形状 805"/>
            <p:cNvSpPr/>
            <p:nvPr userDrawn="1"/>
          </p:nvSpPr>
          <p:spPr bwMode="auto">
            <a:xfrm>
              <a:off x="8605708" y="4292600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7" name="任意多边形: 形状 806"/>
            <p:cNvSpPr/>
            <p:nvPr userDrawn="1"/>
          </p:nvSpPr>
          <p:spPr bwMode="auto">
            <a:xfrm>
              <a:off x="8789858" y="4397375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8" name="任意多边形: 形状 807"/>
            <p:cNvSpPr/>
            <p:nvPr userDrawn="1"/>
          </p:nvSpPr>
          <p:spPr bwMode="auto">
            <a:xfrm>
              <a:off x="8975596" y="4506912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9" name="任意多边形: 形状 808"/>
            <p:cNvSpPr/>
            <p:nvPr userDrawn="1"/>
          </p:nvSpPr>
          <p:spPr bwMode="auto">
            <a:xfrm>
              <a:off x="9162921" y="4611687"/>
              <a:ext cx="415925" cy="244475"/>
            </a:xfrm>
            <a:custGeom>
              <a:avLst/>
              <a:gdLst>
                <a:gd name="T0" fmla="*/ 93 w 126"/>
                <a:gd name="T1" fmla="*/ 71 h 74"/>
                <a:gd name="T2" fmla="*/ 3 w 126"/>
                <a:gd name="T3" fmla="*/ 20 h 74"/>
                <a:gd name="T4" fmla="*/ 3 w 126"/>
                <a:gd name="T5" fmla="*/ 12 h 74"/>
                <a:gd name="T6" fmla="*/ 20 w 126"/>
                <a:gd name="T7" fmla="*/ 2 h 74"/>
                <a:gd name="T8" fmla="*/ 33 w 126"/>
                <a:gd name="T9" fmla="*/ 2 h 74"/>
                <a:gd name="T10" fmla="*/ 123 w 126"/>
                <a:gd name="T11" fmla="*/ 54 h 74"/>
                <a:gd name="T12" fmla="*/ 123 w 126"/>
                <a:gd name="T13" fmla="*/ 62 h 74"/>
                <a:gd name="T14" fmla="*/ 106 w 126"/>
                <a:gd name="T15" fmla="*/ 71 h 74"/>
                <a:gd name="T16" fmla="*/ 93 w 126"/>
                <a:gd name="T17" fmla="*/ 7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74">
                  <a:moveTo>
                    <a:pt x="93" y="71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6" y="56"/>
                    <a:pt x="126" y="59"/>
                    <a:pt x="123" y="62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2" y="74"/>
                    <a:pt x="96" y="74"/>
                    <a:pt x="93" y="71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0" name="任意多边形: 形状 809"/>
            <p:cNvSpPr/>
            <p:nvPr userDrawn="1"/>
          </p:nvSpPr>
          <p:spPr bwMode="auto">
            <a:xfrm>
              <a:off x="7599233" y="401478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1" name="任意多边形: 形状 810"/>
            <p:cNvSpPr/>
            <p:nvPr userDrawn="1"/>
          </p:nvSpPr>
          <p:spPr bwMode="auto">
            <a:xfrm>
              <a:off x="7783383" y="4121150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2" name="任意多边形: 形状 811"/>
            <p:cNvSpPr/>
            <p:nvPr userDrawn="1"/>
          </p:nvSpPr>
          <p:spPr bwMode="auto">
            <a:xfrm>
              <a:off x="7972296" y="4229100"/>
              <a:ext cx="787400" cy="455613"/>
            </a:xfrm>
            <a:custGeom>
              <a:avLst/>
              <a:gdLst>
                <a:gd name="T0" fmla="*/ 205 w 239"/>
                <a:gd name="T1" fmla="*/ 136 h 138"/>
                <a:gd name="T2" fmla="*/ 3 w 239"/>
                <a:gd name="T3" fmla="*/ 19 h 138"/>
                <a:gd name="T4" fmla="*/ 3 w 239"/>
                <a:gd name="T5" fmla="*/ 12 h 138"/>
                <a:gd name="T6" fmla="*/ 20 w 239"/>
                <a:gd name="T7" fmla="*/ 2 h 138"/>
                <a:gd name="T8" fmla="*/ 33 w 239"/>
                <a:gd name="T9" fmla="*/ 2 h 138"/>
                <a:gd name="T10" fmla="*/ 236 w 239"/>
                <a:gd name="T11" fmla="*/ 119 h 138"/>
                <a:gd name="T12" fmla="*/ 236 w 239"/>
                <a:gd name="T13" fmla="*/ 126 h 138"/>
                <a:gd name="T14" fmla="*/ 218 w 239"/>
                <a:gd name="T15" fmla="*/ 136 h 138"/>
                <a:gd name="T16" fmla="*/ 205 w 239"/>
                <a:gd name="T17" fmla="*/ 13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138">
                  <a:moveTo>
                    <a:pt x="205" y="136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39" y="121"/>
                    <a:pt x="239" y="124"/>
                    <a:pt x="236" y="126"/>
                  </a:cubicBezTo>
                  <a:cubicBezTo>
                    <a:pt x="218" y="136"/>
                    <a:pt x="218" y="136"/>
                    <a:pt x="218" y="136"/>
                  </a:cubicBezTo>
                  <a:cubicBezTo>
                    <a:pt x="215" y="138"/>
                    <a:pt x="209" y="138"/>
                    <a:pt x="205" y="136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3" name="任意多边形: 形状 812"/>
            <p:cNvSpPr/>
            <p:nvPr userDrawn="1"/>
          </p:nvSpPr>
          <p:spPr bwMode="auto">
            <a:xfrm>
              <a:off x="8710483" y="4657725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4" name="任意多边形: 形状 813"/>
            <p:cNvSpPr/>
            <p:nvPr userDrawn="1"/>
          </p:nvSpPr>
          <p:spPr bwMode="auto">
            <a:xfrm>
              <a:off x="8899396" y="476408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5" name="任意多边形: 形状 814"/>
            <p:cNvSpPr/>
            <p:nvPr userDrawn="1"/>
          </p:nvSpPr>
          <p:spPr bwMode="auto">
            <a:xfrm>
              <a:off x="9083546" y="4872037"/>
              <a:ext cx="234950" cy="134938"/>
            </a:xfrm>
            <a:custGeom>
              <a:avLst/>
              <a:gdLst>
                <a:gd name="T0" fmla="*/ 37 w 71"/>
                <a:gd name="T1" fmla="*/ 38 h 41"/>
                <a:gd name="T2" fmla="*/ 3 w 71"/>
                <a:gd name="T3" fmla="*/ 19 h 41"/>
                <a:gd name="T4" fmla="*/ 3 w 71"/>
                <a:gd name="T5" fmla="*/ 11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8 h 41"/>
                <a:gd name="T16" fmla="*/ 37 w 71"/>
                <a:gd name="T17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8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6"/>
                    <a:pt x="67" y="29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46" y="41"/>
                    <a:pt x="41" y="41"/>
                    <a:pt x="37" y="3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6" name="任意多边形: 形状 815"/>
            <p:cNvSpPr/>
            <p:nvPr userDrawn="1"/>
          </p:nvSpPr>
          <p:spPr bwMode="auto">
            <a:xfrm>
              <a:off x="9661396" y="4862512"/>
              <a:ext cx="122238" cy="101600"/>
            </a:xfrm>
            <a:custGeom>
              <a:avLst/>
              <a:gdLst>
                <a:gd name="T0" fmla="*/ 0 w 37"/>
                <a:gd name="T1" fmla="*/ 29 h 31"/>
                <a:gd name="T2" fmla="*/ 0 w 37"/>
                <a:gd name="T3" fmla="*/ 23 h 31"/>
                <a:gd name="T4" fmla="*/ 2 w 37"/>
                <a:gd name="T5" fmla="*/ 20 h 31"/>
                <a:gd name="T6" fmla="*/ 35 w 37"/>
                <a:gd name="T7" fmla="*/ 0 h 31"/>
                <a:gd name="T8" fmla="*/ 37 w 37"/>
                <a:gd name="T9" fmla="*/ 2 h 31"/>
                <a:gd name="T10" fmla="*/ 37 w 37"/>
                <a:gd name="T11" fmla="*/ 8 h 31"/>
                <a:gd name="T12" fmla="*/ 35 w 37"/>
                <a:gd name="T13" fmla="*/ 11 h 31"/>
                <a:gd name="T14" fmla="*/ 2 w 37"/>
                <a:gd name="T15" fmla="*/ 30 h 31"/>
                <a:gd name="T16" fmla="*/ 0 w 37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1">
                  <a:moveTo>
                    <a:pt x="0" y="29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2"/>
                    <a:pt x="0" y="20"/>
                    <a:pt x="2" y="2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0"/>
                    <a:pt x="37" y="2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9"/>
                    <a:pt x="36" y="11"/>
                    <a:pt x="35" y="1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1"/>
                    <a:pt x="0" y="30"/>
                    <a:pt x="0" y="29"/>
                  </a:cubicBez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7" name="任意多边形: 形状 816"/>
            <p:cNvSpPr/>
            <p:nvPr userDrawn="1"/>
          </p:nvSpPr>
          <p:spPr bwMode="auto">
            <a:xfrm>
              <a:off x="9496296" y="4954587"/>
              <a:ext cx="122238" cy="104775"/>
            </a:xfrm>
            <a:custGeom>
              <a:avLst/>
              <a:gdLst>
                <a:gd name="T0" fmla="*/ 0 w 37"/>
                <a:gd name="T1" fmla="*/ 30 h 32"/>
                <a:gd name="T2" fmla="*/ 0 w 37"/>
                <a:gd name="T3" fmla="*/ 24 h 32"/>
                <a:gd name="T4" fmla="*/ 2 w 37"/>
                <a:gd name="T5" fmla="*/ 20 h 32"/>
                <a:gd name="T6" fmla="*/ 35 w 37"/>
                <a:gd name="T7" fmla="*/ 1 h 32"/>
                <a:gd name="T8" fmla="*/ 37 w 37"/>
                <a:gd name="T9" fmla="*/ 2 h 32"/>
                <a:gd name="T10" fmla="*/ 37 w 37"/>
                <a:gd name="T11" fmla="*/ 8 h 32"/>
                <a:gd name="T12" fmla="*/ 35 w 37"/>
                <a:gd name="T13" fmla="*/ 12 h 32"/>
                <a:gd name="T14" fmla="*/ 2 w 37"/>
                <a:gd name="T15" fmla="*/ 31 h 32"/>
                <a:gd name="T16" fmla="*/ 0 w 37"/>
                <a:gd name="T17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2">
                  <a:moveTo>
                    <a:pt x="0" y="3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1" y="21"/>
                    <a:pt x="2" y="20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0"/>
                    <a:pt x="37" y="1"/>
                    <a:pt x="37" y="2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10"/>
                    <a:pt x="36" y="11"/>
                    <a:pt x="35" y="1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2"/>
                    <a:pt x="0" y="31"/>
                    <a:pt x="0" y="30"/>
                  </a:cubicBez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8" name="任意多边形: 形状 817"/>
            <p:cNvSpPr/>
            <p:nvPr userDrawn="1"/>
          </p:nvSpPr>
          <p:spPr bwMode="auto">
            <a:xfrm>
              <a:off x="8067546" y="2614612"/>
              <a:ext cx="633413" cy="1225550"/>
            </a:xfrm>
            <a:custGeom>
              <a:avLst/>
              <a:gdLst>
                <a:gd name="T0" fmla="*/ 185 w 192"/>
                <a:gd name="T1" fmla="*/ 254 h 372"/>
                <a:gd name="T2" fmla="*/ 55 w 192"/>
                <a:gd name="T3" fmla="*/ 372 h 372"/>
                <a:gd name="T4" fmla="*/ 0 w 192"/>
                <a:gd name="T5" fmla="*/ 123 h 372"/>
                <a:gd name="T6" fmla="*/ 131 w 192"/>
                <a:gd name="T7" fmla="*/ 4 h 372"/>
                <a:gd name="T8" fmla="*/ 142 w 192"/>
                <a:gd name="T9" fmla="*/ 10 h 372"/>
                <a:gd name="T10" fmla="*/ 191 w 192"/>
                <a:gd name="T11" fmla="*/ 233 h 372"/>
                <a:gd name="T12" fmla="*/ 185 w 192"/>
                <a:gd name="T13" fmla="*/ 25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372">
                  <a:moveTo>
                    <a:pt x="185" y="254"/>
                  </a:moveTo>
                  <a:cubicBezTo>
                    <a:pt x="55" y="372"/>
                    <a:pt x="55" y="372"/>
                    <a:pt x="55" y="37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36" y="0"/>
                    <a:pt x="141" y="3"/>
                    <a:pt x="142" y="10"/>
                  </a:cubicBezTo>
                  <a:cubicBezTo>
                    <a:pt x="191" y="233"/>
                    <a:pt x="191" y="233"/>
                    <a:pt x="191" y="233"/>
                  </a:cubicBezTo>
                  <a:cubicBezTo>
                    <a:pt x="192" y="240"/>
                    <a:pt x="190" y="250"/>
                    <a:pt x="185" y="2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9" name="任意多边形: 形状 818"/>
            <p:cNvSpPr/>
            <p:nvPr userDrawn="1"/>
          </p:nvSpPr>
          <p:spPr bwMode="auto">
            <a:xfrm>
              <a:off x="8100883" y="2682875"/>
              <a:ext cx="560388" cy="419100"/>
            </a:xfrm>
            <a:custGeom>
              <a:avLst/>
              <a:gdLst>
                <a:gd name="T0" fmla="*/ 95 w 353"/>
                <a:gd name="T1" fmla="*/ 264 h 264"/>
                <a:gd name="T2" fmla="*/ 0 w 353"/>
                <a:gd name="T3" fmla="*/ 233 h 264"/>
                <a:gd name="T4" fmla="*/ 257 w 353"/>
                <a:gd name="T5" fmla="*/ 0 h 264"/>
                <a:gd name="T6" fmla="*/ 353 w 353"/>
                <a:gd name="T7" fmla="*/ 31 h 264"/>
                <a:gd name="T8" fmla="*/ 95 w 353"/>
                <a:gd name="T9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264">
                  <a:moveTo>
                    <a:pt x="95" y="264"/>
                  </a:moveTo>
                  <a:lnTo>
                    <a:pt x="0" y="233"/>
                  </a:lnTo>
                  <a:lnTo>
                    <a:pt x="257" y="0"/>
                  </a:lnTo>
                  <a:lnTo>
                    <a:pt x="353" y="31"/>
                  </a:lnTo>
                  <a:lnTo>
                    <a:pt x="95" y="264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0" name="任意多边形: 形状 819"/>
            <p:cNvSpPr/>
            <p:nvPr userDrawn="1"/>
          </p:nvSpPr>
          <p:spPr bwMode="auto">
            <a:xfrm>
              <a:off x="8067546" y="3022600"/>
              <a:ext cx="327025" cy="869950"/>
            </a:xfrm>
            <a:custGeom>
              <a:avLst/>
              <a:gdLst>
                <a:gd name="T0" fmla="*/ 0 w 206"/>
                <a:gd name="T1" fmla="*/ 0 h 548"/>
                <a:gd name="T2" fmla="*/ 93 w 206"/>
                <a:gd name="T3" fmla="*/ 31 h 548"/>
                <a:gd name="T4" fmla="*/ 206 w 206"/>
                <a:gd name="T5" fmla="*/ 548 h 548"/>
                <a:gd name="T6" fmla="*/ 112 w 206"/>
                <a:gd name="T7" fmla="*/ 519 h 548"/>
                <a:gd name="T8" fmla="*/ 0 w 206"/>
                <a:gd name="T9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548">
                  <a:moveTo>
                    <a:pt x="0" y="0"/>
                  </a:moveTo>
                  <a:lnTo>
                    <a:pt x="93" y="31"/>
                  </a:lnTo>
                  <a:lnTo>
                    <a:pt x="206" y="548"/>
                  </a:lnTo>
                  <a:lnTo>
                    <a:pt x="112" y="5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1" name="任意多边形: 形状 820"/>
            <p:cNvSpPr/>
            <p:nvPr userDrawn="1"/>
          </p:nvSpPr>
          <p:spPr bwMode="auto">
            <a:xfrm>
              <a:off x="8215183" y="2667000"/>
              <a:ext cx="635000" cy="1225550"/>
            </a:xfrm>
            <a:custGeom>
              <a:avLst/>
              <a:gdLst>
                <a:gd name="T0" fmla="*/ 185 w 192"/>
                <a:gd name="T1" fmla="*/ 254 h 372"/>
                <a:gd name="T2" fmla="*/ 54 w 192"/>
                <a:gd name="T3" fmla="*/ 372 h 372"/>
                <a:gd name="T4" fmla="*/ 0 w 192"/>
                <a:gd name="T5" fmla="*/ 123 h 372"/>
                <a:gd name="T6" fmla="*/ 130 w 192"/>
                <a:gd name="T7" fmla="*/ 4 h 372"/>
                <a:gd name="T8" fmla="*/ 142 w 192"/>
                <a:gd name="T9" fmla="*/ 9 h 372"/>
                <a:gd name="T10" fmla="*/ 190 w 192"/>
                <a:gd name="T11" fmla="*/ 233 h 372"/>
                <a:gd name="T12" fmla="*/ 185 w 192"/>
                <a:gd name="T13" fmla="*/ 25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372">
                  <a:moveTo>
                    <a:pt x="185" y="254"/>
                  </a:moveTo>
                  <a:cubicBezTo>
                    <a:pt x="54" y="372"/>
                    <a:pt x="54" y="372"/>
                    <a:pt x="54" y="37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130" y="4"/>
                    <a:pt x="130" y="4"/>
                    <a:pt x="130" y="4"/>
                  </a:cubicBezTo>
                  <a:cubicBezTo>
                    <a:pt x="135" y="0"/>
                    <a:pt x="140" y="2"/>
                    <a:pt x="142" y="9"/>
                  </a:cubicBezTo>
                  <a:cubicBezTo>
                    <a:pt x="190" y="233"/>
                    <a:pt x="190" y="233"/>
                    <a:pt x="190" y="233"/>
                  </a:cubicBezTo>
                  <a:cubicBezTo>
                    <a:pt x="192" y="240"/>
                    <a:pt x="189" y="249"/>
                    <a:pt x="185" y="254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2" name="任意多边形: 形状 821"/>
            <p:cNvSpPr/>
            <p:nvPr userDrawn="1"/>
          </p:nvSpPr>
          <p:spPr bwMode="auto">
            <a:xfrm>
              <a:off x="8453308" y="2673350"/>
              <a:ext cx="604838" cy="1282700"/>
            </a:xfrm>
            <a:custGeom>
              <a:avLst/>
              <a:gdLst>
                <a:gd name="T0" fmla="*/ 172 w 183"/>
                <a:gd name="T1" fmla="*/ 290 h 389"/>
                <a:gd name="T2" fmla="*/ 0 w 183"/>
                <a:gd name="T3" fmla="*/ 389 h 389"/>
                <a:gd name="T4" fmla="*/ 0 w 183"/>
                <a:gd name="T5" fmla="*/ 103 h 389"/>
                <a:gd name="T6" fmla="*/ 172 w 183"/>
                <a:gd name="T7" fmla="*/ 4 h 389"/>
                <a:gd name="T8" fmla="*/ 183 w 183"/>
                <a:gd name="T9" fmla="*/ 12 h 389"/>
                <a:gd name="T10" fmla="*/ 183 w 183"/>
                <a:gd name="T11" fmla="*/ 269 h 389"/>
                <a:gd name="T12" fmla="*/ 172 w 183"/>
                <a:gd name="T13" fmla="*/ 29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389">
                  <a:moveTo>
                    <a:pt x="172" y="290"/>
                  </a:moveTo>
                  <a:cubicBezTo>
                    <a:pt x="0" y="389"/>
                    <a:pt x="0" y="389"/>
                    <a:pt x="0" y="38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2" y="4"/>
                    <a:pt x="172" y="4"/>
                    <a:pt x="172" y="4"/>
                  </a:cubicBezTo>
                  <a:cubicBezTo>
                    <a:pt x="178" y="0"/>
                    <a:pt x="183" y="4"/>
                    <a:pt x="183" y="12"/>
                  </a:cubicBezTo>
                  <a:cubicBezTo>
                    <a:pt x="183" y="269"/>
                    <a:pt x="183" y="269"/>
                    <a:pt x="183" y="269"/>
                  </a:cubicBezTo>
                  <a:cubicBezTo>
                    <a:pt x="183" y="277"/>
                    <a:pt x="178" y="287"/>
                    <a:pt x="172" y="290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3" name="任意多边形: 形状 822"/>
            <p:cNvSpPr/>
            <p:nvPr userDrawn="1"/>
          </p:nvSpPr>
          <p:spPr bwMode="auto">
            <a:xfrm>
              <a:off x="8483471" y="2749550"/>
              <a:ext cx="688975" cy="395288"/>
            </a:xfrm>
            <a:custGeom>
              <a:avLst/>
              <a:gdLst>
                <a:gd name="T0" fmla="*/ 95 w 434"/>
                <a:gd name="T1" fmla="*/ 249 h 249"/>
                <a:gd name="T2" fmla="*/ 0 w 434"/>
                <a:gd name="T3" fmla="*/ 195 h 249"/>
                <a:gd name="T4" fmla="*/ 337 w 434"/>
                <a:gd name="T5" fmla="*/ 0 h 249"/>
                <a:gd name="T6" fmla="*/ 434 w 434"/>
                <a:gd name="T7" fmla="*/ 54 h 249"/>
                <a:gd name="T8" fmla="*/ 95 w 434"/>
                <a:gd name="T9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249">
                  <a:moveTo>
                    <a:pt x="95" y="249"/>
                  </a:moveTo>
                  <a:lnTo>
                    <a:pt x="0" y="195"/>
                  </a:lnTo>
                  <a:lnTo>
                    <a:pt x="337" y="0"/>
                  </a:lnTo>
                  <a:lnTo>
                    <a:pt x="434" y="54"/>
                  </a:lnTo>
                  <a:lnTo>
                    <a:pt x="95" y="249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4" name="任意多边形: 形状 823"/>
            <p:cNvSpPr/>
            <p:nvPr userDrawn="1"/>
          </p:nvSpPr>
          <p:spPr bwMode="auto">
            <a:xfrm>
              <a:off x="8450133" y="3016250"/>
              <a:ext cx="152400" cy="1031875"/>
            </a:xfrm>
            <a:custGeom>
              <a:avLst/>
              <a:gdLst>
                <a:gd name="T0" fmla="*/ 0 w 96"/>
                <a:gd name="T1" fmla="*/ 0 h 650"/>
                <a:gd name="T2" fmla="*/ 96 w 96"/>
                <a:gd name="T3" fmla="*/ 56 h 650"/>
                <a:gd name="T4" fmla="*/ 96 w 96"/>
                <a:gd name="T5" fmla="*/ 650 h 650"/>
                <a:gd name="T6" fmla="*/ 0 w 96"/>
                <a:gd name="T7" fmla="*/ 596 h 650"/>
                <a:gd name="T8" fmla="*/ 0 w 96"/>
                <a:gd name="T9" fmla="*/ 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50">
                  <a:moveTo>
                    <a:pt x="0" y="0"/>
                  </a:moveTo>
                  <a:lnTo>
                    <a:pt x="96" y="56"/>
                  </a:lnTo>
                  <a:lnTo>
                    <a:pt x="96" y="650"/>
                  </a:lnTo>
                  <a:lnTo>
                    <a:pt x="0" y="5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5" name="任意多边形: 形状 824"/>
            <p:cNvSpPr/>
            <p:nvPr userDrawn="1"/>
          </p:nvSpPr>
          <p:spPr bwMode="auto">
            <a:xfrm>
              <a:off x="8602533" y="2765425"/>
              <a:ext cx="603250" cy="1282700"/>
            </a:xfrm>
            <a:custGeom>
              <a:avLst/>
              <a:gdLst>
                <a:gd name="T0" fmla="*/ 172 w 183"/>
                <a:gd name="T1" fmla="*/ 290 h 389"/>
                <a:gd name="T2" fmla="*/ 0 w 183"/>
                <a:gd name="T3" fmla="*/ 389 h 389"/>
                <a:gd name="T4" fmla="*/ 0 w 183"/>
                <a:gd name="T5" fmla="*/ 103 h 389"/>
                <a:gd name="T6" fmla="*/ 172 w 183"/>
                <a:gd name="T7" fmla="*/ 4 h 389"/>
                <a:gd name="T8" fmla="*/ 183 w 183"/>
                <a:gd name="T9" fmla="*/ 12 h 389"/>
                <a:gd name="T10" fmla="*/ 183 w 183"/>
                <a:gd name="T11" fmla="*/ 269 h 389"/>
                <a:gd name="T12" fmla="*/ 172 w 183"/>
                <a:gd name="T13" fmla="*/ 29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389">
                  <a:moveTo>
                    <a:pt x="172" y="290"/>
                  </a:moveTo>
                  <a:cubicBezTo>
                    <a:pt x="0" y="389"/>
                    <a:pt x="0" y="389"/>
                    <a:pt x="0" y="38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2" y="4"/>
                    <a:pt x="172" y="4"/>
                    <a:pt x="172" y="4"/>
                  </a:cubicBezTo>
                  <a:cubicBezTo>
                    <a:pt x="178" y="0"/>
                    <a:pt x="183" y="4"/>
                    <a:pt x="183" y="12"/>
                  </a:cubicBezTo>
                  <a:cubicBezTo>
                    <a:pt x="183" y="269"/>
                    <a:pt x="183" y="269"/>
                    <a:pt x="183" y="269"/>
                  </a:cubicBezTo>
                  <a:cubicBezTo>
                    <a:pt x="183" y="277"/>
                    <a:pt x="178" y="287"/>
                    <a:pt x="172" y="290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6" name="任意多边形: 形状 825"/>
            <p:cNvSpPr/>
            <p:nvPr userDrawn="1"/>
          </p:nvSpPr>
          <p:spPr bwMode="auto">
            <a:xfrm>
              <a:off x="8639046" y="3028950"/>
              <a:ext cx="481013" cy="1028700"/>
            </a:xfrm>
            <a:custGeom>
              <a:avLst/>
              <a:gdLst>
                <a:gd name="T0" fmla="*/ 137 w 146"/>
                <a:gd name="T1" fmla="*/ 233 h 312"/>
                <a:gd name="T2" fmla="*/ 0 w 146"/>
                <a:gd name="T3" fmla="*/ 312 h 312"/>
                <a:gd name="T4" fmla="*/ 0 w 146"/>
                <a:gd name="T5" fmla="*/ 82 h 312"/>
                <a:gd name="T6" fmla="*/ 137 w 146"/>
                <a:gd name="T7" fmla="*/ 3 h 312"/>
                <a:gd name="T8" fmla="*/ 146 w 146"/>
                <a:gd name="T9" fmla="*/ 10 h 312"/>
                <a:gd name="T10" fmla="*/ 146 w 146"/>
                <a:gd name="T11" fmla="*/ 216 h 312"/>
                <a:gd name="T12" fmla="*/ 137 w 146"/>
                <a:gd name="T13" fmla="*/ 23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312">
                  <a:moveTo>
                    <a:pt x="137" y="233"/>
                  </a:moveTo>
                  <a:cubicBezTo>
                    <a:pt x="0" y="312"/>
                    <a:pt x="0" y="312"/>
                    <a:pt x="0" y="31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2" y="0"/>
                    <a:pt x="146" y="3"/>
                    <a:pt x="146" y="10"/>
                  </a:cubicBezTo>
                  <a:cubicBezTo>
                    <a:pt x="146" y="216"/>
                    <a:pt x="146" y="216"/>
                    <a:pt x="146" y="216"/>
                  </a:cubicBezTo>
                  <a:cubicBezTo>
                    <a:pt x="146" y="222"/>
                    <a:pt x="142" y="230"/>
                    <a:pt x="137" y="233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7" name="任意多边形: 形状 826"/>
            <p:cNvSpPr/>
            <p:nvPr userDrawn="1"/>
          </p:nvSpPr>
          <p:spPr bwMode="auto">
            <a:xfrm>
              <a:off x="8658096" y="3089275"/>
              <a:ext cx="554038" cy="319088"/>
            </a:xfrm>
            <a:custGeom>
              <a:avLst/>
              <a:gdLst>
                <a:gd name="T0" fmla="*/ 79 w 349"/>
                <a:gd name="T1" fmla="*/ 201 h 201"/>
                <a:gd name="T2" fmla="*/ 0 w 349"/>
                <a:gd name="T3" fmla="*/ 155 h 201"/>
                <a:gd name="T4" fmla="*/ 272 w 349"/>
                <a:gd name="T5" fmla="*/ 0 h 201"/>
                <a:gd name="T6" fmla="*/ 349 w 349"/>
                <a:gd name="T7" fmla="*/ 45 h 201"/>
                <a:gd name="T8" fmla="*/ 79 w 349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201">
                  <a:moveTo>
                    <a:pt x="79" y="201"/>
                  </a:moveTo>
                  <a:lnTo>
                    <a:pt x="0" y="155"/>
                  </a:lnTo>
                  <a:lnTo>
                    <a:pt x="272" y="0"/>
                  </a:lnTo>
                  <a:lnTo>
                    <a:pt x="349" y="45"/>
                  </a:lnTo>
                  <a:lnTo>
                    <a:pt x="79" y="2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8" name="任意多边形: 形状 827"/>
            <p:cNvSpPr/>
            <p:nvPr userDrawn="1"/>
          </p:nvSpPr>
          <p:spPr bwMode="auto">
            <a:xfrm>
              <a:off x="8634283" y="3303587"/>
              <a:ext cx="122238" cy="830263"/>
            </a:xfrm>
            <a:custGeom>
              <a:avLst/>
              <a:gdLst>
                <a:gd name="T0" fmla="*/ 0 w 77"/>
                <a:gd name="T1" fmla="*/ 0 h 523"/>
                <a:gd name="T2" fmla="*/ 77 w 77"/>
                <a:gd name="T3" fmla="*/ 45 h 523"/>
                <a:gd name="T4" fmla="*/ 77 w 77"/>
                <a:gd name="T5" fmla="*/ 523 h 523"/>
                <a:gd name="T6" fmla="*/ 0 w 77"/>
                <a:gd name="T7" fmla="*/ 477 h 523"/>
                <a:gd name="T8" fmla="*/ 0 w 77"/>
                <a:gd name="T9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23">
                  <a:moveTo>
                    <a:pt x="0" y="0"/>
                  </a:moveTo>
                  <a:lnTo>
                    <a:pt x="77" y="45"/>
                  </a:lnTo>
                  <a:lnTo>
                    <a:pt x="77" y="523"/>
                  </a:lnTo>
                  <a:lnTo>
                    <a:pt x="0" y="4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9" name="任意多边形: 形状 828"/>
            <p:cNvSpPr/>
            <p:nvPr userDrawn="1"/>
          </p:nvSpPr>
          <p:spPr bwMode="auto">
            <a:xfrm>
              <a:off x="8756521" y="3101975"/>
              <a:ext cx="485775" cy="1031875"/>
            </a:xfrm>
            <a:custGeom>
              <a:avLst/>
              <a:gdLst>
                <a:gd name="T0" fmla="*/ 138 w 147"/>
                <a:gd name="T1" fmla="*/ 233 h 313"/>
                <a:gd name="T2" fmla="*/ 0 w 147"/>
                <a:gd name="T3" fmla="*/ 313 h 313"/>
                <a:gd name="T4" fmla="*/ 0 w 147"/>
                <a:gd name="T5" fmla="*/ 83 h 313"/>
                <a:gd name="T6" fmla="*/ 138 w 147"/>
                <a:gd name="T7" fmla="*/ 3 h 313"/>
                <a:gd name="T8" fmla="*/ 147 w 147"/>
                <a:gd name="T9" fmla="*/ 10 h 313"/>
                <a:gd name="T10" fmla="*/ 147 w 147"/>
                <a:gd name="T11" fmla="*/ 216 h 313"/>
                <a:gd name="T12" fmla="*/ 138 w 147"/>
                <a:gd name="T13" fmla="*/ 233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13">
                  <a:moveTo>
                    <a:pt x="138" y="233"/>
                  </a:moveTo>
                  <a:cubicBezTo>
                    <a:pt x="0" y="313"/>
                    <a:pt x="0" y="313"/>
                    <a:pt x="0" y="31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43" y="0"/>
                    <a:pt x="147" y="3"/>
                    <a:pt x="147" y="10"/>
                  </a:cubicBezTo>
                  <a:cubicBezTo>
                    <a:pt x="147" y="216"/>
                    <a:pt x="147" y="216"/>
                    <a:pt x="147" y="216"/>
                  </a:cubicBezTo>
                  <a:cubicBezTo>
                    <a:pt x="147" y="223"/>
                    <a:pt x="143" y="230"/>
                    <a:pt x="138" y="233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0" name="任意多边形: 形状 829"/>
            <p:cNvSpPr/>
            <p:nvPr userDrawn="1"/>
          </p:nvSpPr>
          <p:spPr bwMode="auto">
            <a:xfrm>
              <a:off x="8847008" y="2897187"/>
              <a:ext cx="600075" cy="1285875"/>
            </a:xfrm>
            <a:custGeom>
              <a:avLst/>
              <a:gdLst>
                <a:gd name="T0" fmla="*/ 171 w 182"/>
                <a:gd name="T1" fmla="*/ 291 h 390"/>
                <a:gd name="T2" fmla="*/ 0 w 182"/>
                <a:gd name="T3" fmla="*/ 390 h 390"/>
                <a:gd name="T4" fmla="*/ 0 w 182"/>
                <a:gd name="T5" fmla="*/ 103 h 390"/>
                <a:gd name="T6" fmla="*/ 171 w 182"/>
                <a:gd name="T7" fmla="*/ 4 h 390"/>
                <a:gd name="T8" fmla="*/ 182 w 182"/>
                <a:gd name="T9" fmla="*/ 12 h 390"/>
                <a:gd name="T10" fmla="*/ 182 w 182"/>
                <a:gd name="T11" fmla="*/ 269 h 390"/>
                <a:gd name="T12" fmla="*/ 171 w 182"/>
                <a:gd name="T13" fmla="*/ 29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390">
                  <a:moveTo>
                    <a:pt x="171" y="291"/>
                  </a:moveTo>
                  <a:cubicBezTo>
                    <a:pt x="0" y="390"/>
                    <a:pt x="0" y="390"/>
                    <a:pt x="0" y="39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177" y="0"/>
                    <a:pt x="182" y="4"/>
                    <a:pt x="182" y="12"/>
                  </a:cubicBezTo>
                  <a:cubicBezTo>
                    <a:pt x="182" y="269"/>
                    <a:pt x="182" y="269"/>
                    <a:pt x="182" y="269"/>
                  </a:cubicBezTo>
                  <a:cubicBezTo>
                    <a:pt x="182" y="278"/>
                    <a:pt x="177" y="287"/>
                    <a:pt x="171" y="291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1" name="任意多边形: 形状 830"/>
            <p:cNvSpPr/>
            <p:nvPr userDrawn="1"/>
          </p:nvSpPr>
          <p:spPr bwMode="auto">
            <a:xfrm>
              <a:off x="8872408" y="2973387"/>
              <a:ext cx="690563" cy="398463"/>
            </a:xfrm>
            <a:custGeom>
              <a:avLst/>
              <a:gdLst>
                <a:gd name="T0" fmla="*/ 98 w 435"/>
                <a:gd name="T1" fmla="*/ 251 h 251"/>
                <a:gd name="T2" fmla="*/ 0 w 435"/>
                <a:gd name="T3" fmla="*/ 195 h 251"/>
                <a:gd name="T4" fmla="*/ 339 w 435"/>
                <a:gd name="T5" fmla="*/ 0 h 251"/>
                <a:gd name="T6" fmla="*/ 435 w 435"/>
                <a:gd name="T7" fmla="*/ 56 h 251"/>
                <a:gd name="T8" fmla="*/ 98 w 435"/>
                <a:gd name="T9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251">
                  <a:moveTo>
                    <a:pt x="98" y="251"/>
                  </a:moveTo>
                  <a:lnTo>
                    <a:pt x="0" y="195"/>
                  </a:lnTo>
                  <a:lnTo>
                    <a:pt x="339" y="0"/>
                  </a:lnTo>
                  <a:lnTo>
                    <a:pt x="435" y="56"/>
                  </a:lnTo>
                  <a:lnTo>
                    <a:pt x="98" y="251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2" name="任意多边形: 形状 831"/>
            <p:cNvSpPr/>
            <p:nvPr userDrawn="1"/>
          </p:nvSpPr>
          <p:spPr bwMode="auto">
            <a:xfrm>
              <a:off x="8842246" y="3240087"/>
              <a:ext cx="152400" cy="1035050"/>
            </a:xfrm>
            <a:custGeom>
              <a:avLst/>
              <a:gdLst>
                <a:gd name="T0" fmla="*/ 0 w 96"/>
                <a:gd name="T1" fmla="*/ 0 h 652"/>
                <a:gd name="T2" fmla="*/ 96 w 96"/>
                <a:gd name="T3" fmla="*/ 56 h 652"/>
                <a:gd name="T4" fmla="*/ 96 w 96"/>
                <a:gd name="T5" fmla="*/ 652 h 652"/>
                <a:gd name="T6" fmla="*/ 0 w 96"/>
                <a:gd name="T7" fmla="*/ 596 h 652"/>
                <a:gd name="T8" fmla="*/ 0 w 96"/>
                <a:gd name="T9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52">
                  <a:moveTo>
                    <a:pt x="0" y="0"/>
                  </a:moveTo>
                  <a:lnTo>
                    <a:pt x="96" y="56"/>
                  </a:lnTo>
                  <a:lnTo>
                    <a:pt x="96" y="652"/>
                  </a:lnTo>
                  <a:lnTo>
                    <a:pt x="0" y="5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3" name="任意多边形: 形状 832"/>
            <p:cNvSpPr/>
            <p:nvPr userDrawn="1"/>
          </p:nvSpPr>
          <p:spPr bwMode="auto">
            <a:xfrm>
              <a:off x="8994646" y="2989262"/>
              <a:ext cx="600075" cy="1285875"/>
            </a:xfrm>
            <a:custGeom>
              <a:avLst/>
              <a:gdLst>
                <a:gd name="T0" fmla="*/ 171 w 182"/>
                <a:gd name="T1" fmla="*/ 291 h 390"/>
                <a:gd name="T2" fmla="*/ 0 w 182"/>
                <a:gd name="T3" fmla="*/ 390 h 390"/>
                <a:gd name="T4" fmla="*/ 0 w 182"/>
                <a:gd name="T5" fmla="*/ 103 h 390"/>
                <a:gd name="T6" fmla="*/ 171 w 182"/>
                <a:gd name="T7" fmla="*/ 4 h 390"/>
                <a:gd name="T8" fmla="*/ 182 w 182"/>
                <a:gd name="T9" fmla="*/ 12 h 390"/>
                <a:gd name="T10" fmla="*/ 182 w 182"/>
                <a:gd name="T11" fmla="*/ 269 h 390"/>
                <a:gd name="T12" fmla="*/ 171 w 182"/>
                <a:gd name="T13" fmla="*/ 29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390">
                  <a:moveTo>
                    <a:pt x="171" y="291"/>
                  </a:moveTo>
                  <a:cubicBezTo>
                    <a:pt x="0" y="390"/>
                    <a:pt x="0" y="390"/>
                    <a:pt x="0" y="39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177" y="0"/>
                    <a:pt x="182" y="4"/>
                    <a:pt x="182" y="12"/>
                  </a:cubicBezTo>
                  <a:cubicBezTo>
                    <a:pt x="182" y="269"/>
                    <a:pt x="182" y="269"/>
                    <a:pt x="182" y="269"/>
                  </a:cubicBezTo>
                  <a:cubicBezTo>
                    <a:pt x="182" y="278"/>
                    <a:pt x="177" y="287"/>
                    <a:pt x="171" y="2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4" name="任意多边形: 形状 833"/>
            <p:cNvSpPr/>
            <p:nvPr userDrawn="1"/>
          </p:nvSpPr>
          <p:spPr bwMode="auto">
            <a:xfrm>
              <a:off x="9083546" y="3181350"/>
              <a:ext cx="538163" cy="1143000"/>
            </a:xfrm>
            <a:custGeom>
              <a:avLst/>
              <a:gdLst>
                <a:gd name="T0" fmla="*/ 153 w 163"/>
                <a:gd name="T1" fmla="*/ 258 h 347"/>
                <a:gd name="T2" fmla="*/ 0 w 163"/>
                <a:gd name="T3" fmla="*/ 347 h 347"/>
                <a:gd name="T4" fmla="*/ 0 w 163"/>
                <a:gd name="T5" fmla="*/ 91 h 347"/>
                <a:gd name="T6" fmla="*/ 153 w 163"/>
                <a:gd name="T7" fmla="*/ 3 h 347"/>
                <a:gd name="T8" fmla="*/ 163 w 163"/>
                <a:gd name="T9" fmla="*/ 11 h 347"/>
                <a:gd name="T10" fmla="*/ 163 w 163"/>
                <a:gd name="T11" fmla="*/ 240 h 347"/>
                <a:gd name="T12" fmla="*/ 153 w 163"/>
                <a:gd name="T13" fmla="*/ 25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347">
                  <a:moveTo>
                    <a:pt x="153" y="258"/>
                  </a:moveTo>
                  <a:cubicBezTo>
                    <a:pt x="0" y="347"/>
                    <a:pt x="0" y="347"/>
                    <a:pt x="0" y="347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8" y="0"/>
                    <a:pt x="163" y="3"/>
                    <a:pt x="163" y="11"/>
                  </a:cubicBezTo>
                  <a:cubicBezTo>
                    <a:pt x="163" y="240"/>
                    <a:pt x="163" y="240"/>
                    <a:pt x="163" y="240"/>
                  </a:cubicBezTo>
                  <a:cubicBezTo>
                    <a:pt x="163" y="247"/>
                    <a:pt x="158" y="255"/>
                    <a:pt x="153" y="258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5" name="任意多边形: 形状 834"/>
            <p:cNvSpPr/>
            <p:nvPr userDrawn="1"/>
          </p:nvSpPr>
          <p:spPr bwMode="auto">
            <a:xfrm>
              <a:off x="9107358" y="3246437"/>
              <a:ext cx="617538" cy="357188"/>
            </a:xfrm>
            <a:custGeom>
              <a:avLst/>
              <a:gdLst>
                <a:gd name="T0" fmla="*/ 87 w 389"/>
                <a:gd name="T1" fmla="*/ 225 h 225"/>
                <a:gd name="T2" fmla="*/ 0 w 389"/>
                <a:gd name="T3" fmla="*/ 175 h 225"/>
                <a:gd name="T4" fmla="*/ 301 w 389"/>
                <a:gd name="T5" fmla="*/ 0 h 225"/>
                <a:gd name="T6" fmla="*/ 389 w 389"/>
                <a:gd name="T7" fmla="*/ 50 h 225"/>
                <a:gd name="T8" fmla="*/ 87 w 389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9" h="225">
                  <a:moveTo>
                    <a:pt x="87" y="225"/>
                  </a:moveTo>
                  <a:lnTo>
                    <a:pt x="0" y="175"/>
                  </a:lnTo>
                  <a:lnTo>
                    <a:pt x="301" y="0"/>
                  </a:lnTo>
                  <a:lnTo>
                    <a:pt x="389" y="50"/>
                  </a:lnTo>
                  <a:lnTo>
                    <a:pt x="87" y="225"/>
                  </a:ln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6" name="任意多边形: 形状 835"/>
            <p:cNvSpPr/>
            <p:nvPr userDrawn="1"/>
          </p:nvSpPr>
          <p:spPr bwMode="auto">
            <a:xfrm>
              <a:off x="9080371" y="3487737"/>
              <a:ext cx="134938" cy="915988"/>
            </a:xfrm>
            <a:custGeom>
              <a:avLst/>
              <a:gdLst>
                <a:gd name="T0" fmla="*/ 0 w 85"/>
                <a:gd name="T1" fmla="*/ 0 h 577"/>
                <a:gd name="T2" fmla="*/ 85 w 85"/>
                <a:gd name="T3" fmla="*/ 48 h 577"/>
                <a:gd name="T4" fmla="*/ 85 w 85"/>
                <a:gd name="T5" fmla="*/ 577 h 577"/>
                <a:gd name="T6" fmla="*/ 0 w 85"/>
                <a:gd name="T7" fmla="*/ 529 h 577"/>
                <a:gd name="T8" fmla="*/ 0 w 85"/>
                <a:gd name="T9" fmla="*/ 0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77">
                  <a:moveTo>
                    <a:pt x="0" y="0"/>
                  </a:moveTo>
                  <a:lnTo>
                    <a:pt x="85" y="48"/>
                  </a:lnTo>
                  <a:lnTo>
                    <a:pt x="85" y="577"/>
                  </a:lnTo>
                  <a:lnTo>
                    <a:pt x="0" y="5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7" name="任意多边形: 形状 836"/>
            <p:cNvSpPr/>
            <p:nvPr userDrawn="1"/>
          </p:nvSpPr>
          <p:spPr bwMode="auto">
            <a:xfrm>
              <a:off x="9215308" y="3263900"/>
              <a:ext cx="538163" cy="1139825"/>
            </a:xfrm>
            <a:custGeom>
              <a:avLst/>
              <a:gdLst>
                <a:gd name="T0" fmla="*/ 153 w 163"/>
                <a:gd name="T1" fmla="*/ 258 h 346"/>
                <a:gd name="T2" fmla="*/ 0 w 163"/>
                <a:gd name="T3" fmla="*/ 346 h 346"/>
                <a:gd name="T4" fmla="*/ 0 w 163"/>
                <a:gd name="T5" fmla="*/ 91 h 346"/>
                <a:gd name="T6" fmla="*/ 153 w 163"/>
                <a:gd name="T7" fmla="*/ 3 h 346"/>
                <a:gd name="T8" fmla="*/ 163 w 163"/>
                <a:gd name="T9" fmla="*/ 11 h 346"/>
                <a:gd name="T10" fmla="*/ 163 w 163"/>
                <a:gd name="T11" fmla="*/ 239 h 346"/>
                <a:gd name="T12" fmla="*/ 153 w 163"/>
                <a:gd name="T13" fmla="*/ 25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346">
                  <a:moveTo>
                    <a:pt x="153" y="258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8" y="0"/>
                    <a:pt x="163" y="3"/>
                    <a:pt x="163" y="11"/>
                  </a:cubicBezTo>
                  <a:cubicBezTo>
                    <a:pt x="163" y="239"/>
                    <a:pt x="163" y="239"/>
                    <a:pt x="163" y="239"/>
                  </a:cubicBezTo>
                  <a:cubicBezTo>
                    <a:pt x="163" y="247"/>
                    <a:pt x="158" y="255"/>
                    <a:pt x="153" y="258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8" name="任意多边形: 形状 837"/>
            <p:cNvSpPr/>
            <p:nvPr userDrawn="1"/>
          </p:nvSpPr>
          <p:spPr bwMode="auto">
            <a:xfrm>
              <a:off x="8070721" y="4549775"/>
              <a:ext cx="42863" cy="80963"/>
            </a:xfrm>
            <a:custGeom>
              <a:avLst/>
              <a:gdLst>
                <a:gd name="T0" fmla="*/ 3 w 13"/>
                <a:gd name="T1" fmla="*/ 0 h 25"/>
                <a:gd name="T2" fmla="*/ 2 w 13"/>
                <a:gd name="T3" fmla="*/ 12 h 25"/>
                <a:gd name="T4" fmla="*/ 1 w 13"/>
                <a:gd name="T5" fmla="*/ 20 h 25"/>
                <a:gd name="T6" fmla="*/ 8 w 13"/>
                <a:gd name="T7" fmla="*/ 23 h 25"/>
                <a:gd name="T8" fmla="*/ 12 w 13"/>
                <a:gd name="T9" fmla="*/ 14 h 25"/>
                <a:gd name="T10" fmla="*/ 11 w 13"/>
                <a:gd name="T11" fmla="*/ 3 h 25"/>
                <a:gd name="T12" fmla="*/ 7 w 13"/>
                <a:gd name="T13" fmla="*/ 1 h 25"/>
                <a:gd name="T14" fmla="*/ 5 w 13"/>
                <a:gd name="T15" fmla="*/ 1 h 25"/>
                <a:gd name="T16" fmla="*/ 3 w 13"/>
                <a:gd name="T17" fmla="*/ 0 h 25"/>
                <a:gd name="T18" fmla="*/ 2 w 13"/>
                <a:gd name="T19" fmla="*/ 4 h 25"/>
                <a:gd name="T20" fmla="*/ 2 w 13"/>
                <a:gd name="T21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5">
                  <a:moveTo>
                    <a:pt x="3" y="0"/>
                  </a:moveTo>
                  <a:cubicBezTo>
                    <a:pt x="0" y="1"/>
                    <a:pt x="3" y="3"/>
                    <a:pt x="2" y="12"/>
                  </a:cubicBezTo>
                  <a:cubicBezTo>
                    <a:pt x="1" y="16"/>
                    <a:pt x="1" y="20"/>
                    <a:pt x="1" y="20"/>
                  </a:cubicBezTo>
                  <a:cubicBezTo>
                    <a:pt x="2" y="23"/>
                    <a:pt x="6" y="22"/>
                    <a:pt x="8" y="23"/>
                  </a:cubicBezTo>
                  <a:cubicBezTo>
                    <a:pt x="13" y="25"/>
                    <a:pt x="11" y="17"/>
                    <a:pt x="12" y="14"/>
                  </a:cubicBezTo>
                  <a:cubicBezTo>
                    <a:pt x="12" y="10"/>
                    <a:pt x="11" y="4"/>
                    <a:pt x="11" y="3"/>
                  </a:cubicBezTo>
                  <a:cubicBezTo>
                    <a:pt x="10" y="1"/>
                    <a:pt x="8" y="0"/>
                    <a:pt x="7" y="1"/>
                  </a:cubicBezTo>
                  <a:cubicBezTo>
                    <a:pt x="5" y="3"/>
                    <a:pt x="6" y="4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9" name="任意多边形: 形状 838"/>
            <p:cNvSpPr/>
            <p:nvPr userDrawn="1"/>
          </p:nvSpPr>
          <p:spPr bwMode="auto">
            <a:xfrm>
              <a:off x="7630983" y="4370387"/>
              <a:ext cx="63500" cy="53975"/>
            </a:xfrm>
            <a:custGeom>
              <a:avLst/>
              <a:gdLst>
                <a:gd name="T0" fmla="*/ 13 w 19"/>
                <a:gd name="T1" fmla="*/ 0 h 16"/>
                <a:gd name="T2" fmla="*/ 5 w 19"/>
                <a:gd name="T3" fmla="*/ 5 h 16"/>
                <a:gd name="T4" fmla="*/ 2 w 19"/>
                <a:gd name="T5" fmla="*/ 6 h 16"/>
                <a:gd name="T6" fmla="*/ 1 w 19"/>
                <a:gd name="T7" fmla="*/ 11 h 16"/>
                <a:gd name="T8" fmla="*/ 1 w 19"/>
                <a:gd name="T9" fmla="*/ 13 h 16"/>
                <a:gd name="T10" fmla="*/ 2 w 19"/>
                <a:gd name="T11" fmla="*/ 15 h 16"/>
                <a:gd name="T12" fmla="*/ 11 w 19"/>
                <a:gd name="T13" fmla="*/ 12 h 16"/>
                <a:gd name="T14" fmla="*/ 18 w 19"/>
                <a:gd name="T15" fmla="*/ 6 h 16"/>
                <a:gd name="T16" fmla="*/ 17 w 19"/>
                <a:gd name="T17" fmla="*/ 4 h 16"/>
                <a:gd name="T18" fmla="*/ 15 w 19"/>
                <a:gd name="T19" fmla="*/ 1 h 16"/>
                <a:gd name="T20" fmla="*/ 13 w 19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3" y="0"/>
                  </a:moveTo>
                  <a:cubicBezTo>
                    <a:pt x="13" y="0"/>
                    <a:pt x="5" y="5"/>
                    <a:pt x="5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0" y="8"/>
                    <a:pt x="1" y="10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4" y="16"/>
                    <a:pt x="7" y="14"/>
                    <a:pt x="11" y="12"/>
                  </a:cubicBezTo>
                  <a:cubicBezTo>
                    <a:pt x="13" y="10"/>
                    <a:pt x="19" y="9"/>
                    <a:pt x="18" y="6"/>
                  </a:cubicBezTo>
                  <a:cubicBezTo>
                    <a:pt x="18" y="5"/>
                    <a:pt x="18" y="4"/>
                    <a:pt x="17" y="4"/>
                  </a:cubicBezTo>
                  <a:cubicBezTo>
                    <a:pt x="18" y="2"/>
                    <a:pt x="17" y="1"/>
                    <a:pt x="15" y="1"/>
                  </a:cubicBezTo>
                  <a:cubicBezTo>
                    <a:pt x="15" y="0"/>
                    <a:pt x="14" y="0"/>
                    <a:pt x="13" y="0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0" name="任意多边形: 形状 839"/>
            <p:cNvSpPr/>
            <p:nvPr userDrawn="1"/>
          </p:nvSpPr>
          <p:spPr bwMode="auto">
            <a:xfrm>
              <a:off x="7651621" y="3833812"/>
              <a:ext cx="385763" cy="576263"/>
            </a:xfrm>
            <a:custGeom>
              <a:avLst/>
              <a:gdLst>
                <a:gd name="T0" fmla="*/ 90 w 117"/>
                <a:gd name="T1" fmla="*/ 0 h 175"/>
                <a:gd name="T2" fmla="*/ 86 w 117"/>
                <a:gd name="T3" fmla="*/ 3 h 175"/>
                <a:gd name="T4" fmla="*/ 66 w 117"/>
                <a:gd name="T5" fmla="*/ 30 h 175"/>
                <a:gd name="T6" fmla="*/ 64 w 117"/>
                <a:gd name="T7" fmla="*/ 88 h 175"/>
                <a:gd name="T8" fmla="*/ 60 w 117"/>
                <a:gd name="T9" fmla="*/ 103 h 175"/>
                <a:gd name="T10" fmla="*/ 46 w 117"/>
                <a:gd name="T11" fmla="*/ 114 h 175"/>
                <a:gd name="T12" fmla="*/ 29 w 117"/>
                <a:gd name="T13" fmla="*/ 133 h 175"/>
                <a:gd name="T14" fmla="*/ 2 w 117"/>
                <a:gd name="T15" fmla="*/ 163 h 175"/>
                <a:gd name="T16" fmla="*/ 4 w 117"/>
                <a:gd name="T17" fmla="*/ 169 h 175"/>
                <a:gd name="T18" fmla="*/ 6 w 117"/>
                <a:gd name="T19" fmla="*/ 173 h 175"/>
                <a:gd name="T20" fmla="*/ 14 w 117"/>
                <a:gd name="T21" fmla="*/ 173 h 175"/>
                <a:gd name="T22" fmla="*/ 53 w 117"/>
                <a:gd name="T23" fmla="*/ 155 h 175"/>
                <a:gd name="T24" fmla="*/ 107 w 117"/>
                <a:gd name="T25" fmla="*/ 95 h 175"/>
                <a:gd name="T26" fmla="*/ 113 w 117"/>
                <a:gd name="T27" fmla="*/ 38 h 175"/>
                <a:gd name="T28" fmla="*/ 90 w 117"/>
                <a:gd name="T2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7" h="175">
                  <a:moveTo>
                    <a:pt x="90" y="0"/>
                  </a:moveTo>
                  <a:cubicBezTo>
                    <a:pt x="88" y="0"/>
                    <a:pt x="86" y="1"/>
                    <a:pt x="86" y="3"/>
                  </a:cubicBezTo>
                  <a:cubicBezTo>
                    <a:pt x="75" y="12"/>
                    <a:pt x="69" y="17"/>
                    <a:pt x="66" y="30"/>
                  </a:cubicBezTo>
                  <a:cubicBezTo>
                    <a:pt x="61" y="46"/>
                    <a:pt x="63" y="77"/>
                    <a:pt x="64" y="88"/>
                  </a:cubicBezTo>
                  <a:cubicBezTo>
                    <a:pt x="65" y="98"/>
                    <a:pt x="67" y="100"/>
                    <a:pt x="60" y="103"/>
                  </a:cubicBezTo>
                  <a:cubicBezTo>
                    <a:pt x="54" y="106"/>
                    <a:pt x="54" y="105"/>
                    <a:pt x="46" y="114"/>
                  </a:cubicBezTo>
                  <a:cubicBezTo>
                    <a:pt x="35" y="126"/>
                    <a:pt x="44" y="117"/>
                    <a:pt x="29" y="133"/>
                  </a:cubicBezTo>
                  <a:cubicBezTo>
                    <a:pt x="16" y="146"/>
                    <a:pt x="2" y="163"/>
                    <a:pt x="2" y="163"/>
                  </a:cubicBezTo>
                  <a:cubicBezTo>
                    <a:pt x="0" y="166"/>
                    <a:pt x="5" y="170"/>
                    <a:pt x="4" y="169"/>
                  </a:cubicBezTo>
                  <a:cubicBezTo>
                    <a:pt x="5" y="170"/>
                    <a:pt x="4" y="172"/>
                    <a:pt x="6" y="173"/>
                  </a:cubicBezTo>
                  <a:cubicBezTo>
                    <a:pt x="9" y="175"/>
                    <a:pt x="11" y="174"/>
                    <a:pt x="14" y="173"/>
                  </a:cubicBezTo>
                  <a:cubicBezTo>
                    <a:pt x="34" y="167"/>
                    <a:pt x="41" y="163"/>
                    <a:pt x="53" y="155"/>
                  </a:cubicBezTo>
                  <a:cubicBezTo>
                    <a:pt x="82" y="133"/>
                    <a:pt x="94" y="147"/>
                    <a:pt x="107" y="95"/>
                  </a:cubicBezTo>
                  <a:cubicBezTo>
                    <a:pt x="108" y="94"/>
                    <a:pt x="117" y="49"/>
                    <a:pt x="113" y="38"/>
                  </a:cubicBezTo>
                  <a:cubicBezTo>
                    <a:pt x="113" y="37"/>
                    <a:pt x="99" y="0"/>
                    <a:pt x="90" y="0"/>
                  </a:cubicBezTo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1" name="任意多边形: 形状 840"/>
            <p:cNvSpPr/>
            <p:nvPr userDrawn="1"/>
          </p:nvSpPr>
          <p:spPr bwMode="auto">
            <a:xfrm>
              <a:off x="7927846" y="3833812"/>
              <a:ext cx="258763" cy="750888"/>
            </a:xfrm>
            <a:custGeom>
              <a:avLst/>
              <a:gdLst>
                <a:gd name="T0" fmla="*/ 50 w 78"/>
                <a:gd name="T1" fmla="*/ 0 h 228"/>
                <a:gd name="T2" fmla="*/ 48 w 78"/>
                <a:gd name="T3" fmla="*/ 1 h 228"/>
                <a:gd name="T4" fmla="*/ 18 w 78"/>
                <a:gd name="T5" fmla="*/ 10 h 228"/>
                <a:gd name="T6" fmla="*/ 6 w 78"/>
                <a:gd name="T7" fmla="*/ 13 h 228"/>
                <a:gd name="T8" fmla="*/ 6 w 78"/>
                <a:gd name="T9" fmla="*/ 20 h 228"/>
                <a:gd name="T10" fmla="*/ 30 w 78"/>
                <a:gd name="T11" fmla="*/ 93 h 228"/>
                <a:gd name="T12" fmla="*/ 31 w 78"/>
                <a:gd name="T13" fmla="*/ 158 h 228"/>
                <a:gd name="T14" fmla="*/ 33 w 78"/>
                <a:gd name="T15" fmla="*/ 177 h 228"/>
                <a:gd name="T16" fmla="*/ 33 w 78"/>
                <a:gd name="T17" fmla="*/ 177 h 228"/>
                <a:gd name="T18" fmla="*/ 35 w 78"/>
                <a:gd name="T19" fmla="*/ 190 h 228"/>
                <a:gd name="T20" fmla="*/ 35 w 78"/>
                <a:gd name="T21" fmla="*/ 189 h 228"/>
                <a:gd name="T22" fmla="*/ 38 w 78"/>
                <a:gd name="T23" fmla="*/ 206 h 228"/>
                <a:gd name="T24" fmla="*/ 42 w 78"/>
                <a:gd name="T25" fmla="*/ 223 h 228"/>
                <a:gd name="T26" fmla="*/ 52 w 78"/>
                <a:gd name="T27" fmla="*/ 228 h 228"/>
                <a:gd name="T28" fmla="*/ 72 w 78"/>
                <a:gd name="T29" fmla="*/ 136 h 228"/>
                <a:gd name="T30" fmla="*/ 73 w 78"/>
                <a:gd name="T31" fmla="*/ 62 h 228"/>
                <a:gd name="T32" fmla="*/ 73 w 78"/>
                <a:gd name="T33" fmla="*/ 62 h 228"/>
                <a:gd name="T34" fmla="*/ 65 w 78"/>
                <a:gd name="T35" fmla="*/ 34 h 228"/>
                <a:gd name="T36" fmla="*/ 50 w 78"/>
                <a:gd name="T3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" h="228">
                  <a:moveTo>
                    <a:pt x="50" y="0"/>
                  </a:moveTo>
                  <a:cubicBezTo>
                    <a:pt x="50" y="0"/>
                    <a:pt x="49" y="1"/>
                    <a:pt x="48" y="1"/>
                  </a:cubicBezTo>
                  <a:cubicBezTo>
                    <a:pt x="47" y="1"/>
                    <a:pt x="32" y="8"/>
                    <a:pt x="18" y="10"/>
                  </a:cubicBezTo>
                  <a:cubicBezTo>
                    <a:pt x="13" y="11"/>
                    <a:pt x="9" y="11"/>
                    <a:pt x="6" y="13"/>
                  </a:cubicBezTo>
                  <a:cubicBezTo>
                    <a:pt x="3" y="14"/>
                    <a:pt x="3" y="18"/>
                    <a:pt x="6" y="20"/>
                  </a:cubicBezTo>
                  <a:cubicBezTo>
                    <a:pt x="0" y="49"/>
                    <a:pt x="13" y="67"/>
                    <a:pt x="30" y="93"/>
                  </a:cubicBezTo>
                  <a:cubicBezTo>
                    <a:pt x="40" y="109"/>
                    <a:pt x="31" y="118"/>
                    <a:pt x="31" y="158"/>
                  </a:cubicBezTo>
                  <a:cubicBezTo>
                    <a:pt x="31" y="163"/>
                    <a:pt x="31" y="167"/>
                    <a:pt x="33" y="177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34" y="182"/>
                    <a:pt x="34" y="186"/>
                    <a:pt x="35" y="190"/>
                  </a:cubicBezTo>
                  <a:cubicBezTo>
                    <a:pt x="35" y="189"/>
                    <a:pt x="35" y="189"/>
                    <a:pt x="35" y="189"/>
                  </a:cubicBezTo>
                  <a:cubicBezTo>
                    <a:pt x="37" y="201"/>
                    <a:pt x="38" y="206"/>
                    <a:pt x="38" y="206"/>
                  </a:cubicBezTo>
                  <a:cubicBezTo>
                    <a:pt x="40" y="209"/>
                    <a:pt x="42" y="224"/>
                    <a:pt x="42" y="223"/>
                  </a:cubicBezTo>
                  <a:cubicBezTo>
                    <a:pt x="43" y="227"/>
                    <a:pt x="48" y="228"/>
                    <a:pt x="52" y="228"/>
                  </a:cubicBezTo>
                  <a:cubicBezTo>
                    <a:pt x="57" y="228"/>
                    <a:pt x="55" y="227"/>
                    <a:pt x="72" y="136"/>
                  </a:cubicBezTo>
                  <a:cubicBezTo>
                    <a:pt x="78" y="105"/>
                    <a:pt x="77" y="83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1" y="53"/>
                    <a:pt x="68" y="43"/>
                    <a:pt x="65" y="34"/>
                  </a:cubicBezTo>
                  <a:cubicBezTo>
                    <a:pt x="56" y="10"/>
                    <a:pt x="57" y="0"/>
                    <a:pt x="50" y="0"/>
                  </a:cubicBezTo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2" name="任意多边形: 形状 841"/>
            <p:cNvSpPr/>
            <p:nvPr userDrawn="1"/>
          </p:nvSpPr>
          <p:spPr bwMode="auto">
            <a:xfrm>
              <a:off x="8140571" y="3009900"/>
              <a:ext cx="200025" cy="454025"/>
            </a:xfrm>
            <a:custGeom>
              <a:avLst/>
              <a:gdLst>
                <a:gd name="T0" fmla="*/ 13 w 61"/>
                <a:gd name="T1" fmla="*/ 0 h 138"/>
                <a:gd name="T2" fmla="*/ 13 w 61"/>
                <a:gd name="T3" fmla="*/ 0 h 138"/>
                <a:gd name="T4" fmla="*/ 9 w 61"/>
                <a:gd name="T5" fmla="*/ 5 h 138"/>
                <a:gd name="T6" fmla="*/ 9 w 61"/>
                <a:gd name="T7" fmla="*/ 8 h 138"/>
                <a:gd name="T8" fmla="*/ 16 w 61"/>
                <a:gd name="T9" fmla="*/ 32 h 138"/>
                <a:gd name="T10" fmla="*/ 16 w 61"/>
                <a:gd name="T11" fmla="*/ 32 h 138"/>
                <a:gd name="T12" fmla="*/ 16 w 61"/>
                <a:gd name="T13" fmla="*/ 32 h 138"/>
                <a:gd name="T14" fmla="*/ 16 w 61"/>
                <a:gd name="T15" fmla="*/ 32 h 138"/>
                <a:gd name="T16" fmla="*/ 16 w 61"/>
                <a:gd name="T17" fmla="*/ 32 h 138"/>
                <a:gd name="T18" fmla="*/ 16 w 61"/>
                <a:gd name="T19" fmla="*/ 32 h 138"/>
                <a:gd name="T20" fmla="*/ 16 w 61"/>
                <a:gd name="T21" fmla="*/ 32 h 138"/>
                <a:gd name="T22" fmla="*/ 16 w 61"/>
                <a:gd name="T23" fmla="*/ 32 h 138"/>
                <a:gd name="T24" fmla="*/ 16 w 61"/>
                <a:gd name="T25" fmla="*/ 32 h 138"/>
                <a:gd name="T26" fmla="*/ 16 w 61"/>
                <a:gd name="T27" fmla="*/ 32 h 138"/>
                <a:gd name="T28" fmla="*/ 16 w 61"/>
                <a:gd name="T29" fmla="*/ 33 h 138"/>
                <a:gd name="T30" fmla="*/ 16 w 61"/>
                <a:gd name="T31" fmla="*/ 33 h 138"/>
                <a:gd name="T32" fmla="*/ 18 w 61"/>
                <a:gd name="T33" fmla="*/ 34 h 138"/>
                <a:gd name="T34" fmla="*/ 18 w 61"/>
                <a:gd name="T35" fmla="*/ 34 h 138"/>
                <a:gd name="T36" fmla="*/ 18 w 61"/>
                <a:gd name="T37" fmla="*/ 35 h 138"/>
                <a:gd name="T38" fmla="*/ 18 w 61"/>
                <a:gd name="T39" fmla="*/ 35 h 138"/>
                <a:gd name="T40" fmla="*/ 22 w 61"/>
                <a:gd name="T41" fmla="*/ 38 h 138"/>
                <a:gd name="T42" fmla="*/ 22 w 61"/>
                <a:gd name="T43" fmla="*/ 38 h 138"/>
                <a:gd name="T44" fmla="*/ 22 w 61"/>
                <a:gd name="T45" fmla="*/ 38 h 138"/>
                <a:gd name="T46" fmla="*/ 22 w 61"/>
                <a:gd name="T47" fmla="*/ 38 h 138"/>
                <a:gd name="T48" fmla="*/ 22 w 61"/>
                <a:gd name="T49" fmla="*/ 38 h 138"/>
                <a:gd name="T50" fmla="*/ 27 w 61"/>
                <a:gd name="T51" fmla="*/ 67 h 138"/>
                <a:gd name="T52" fmla="*/ 27 w 61"/>
                <a:gd name="T53" fmla="*/ 67 h 138"/>
                <a:gd name="T54" fmla="*/ 12 w 61"/>
                <a:gd name="T55" fmla="*/ 117 h 138"/>
                <a:gd name="T56" fmla="*/ 1 w 61"/>
                <a:gd name="T57" fmla="*/ 129 h 138"/>
                <a:gd name="T58" fmla="*/ 3 w 61"/>
                <a:gd name="T59" fmla="*/ 132 h 138"/>
                <a:gd name="T60" fmla="*/ 5 w 61"/>
                <a:gd name="T61" fmla="*/ 134 h 138"/>
                <a:gd name="T62" fmla="*/ 9 w 61"/>
                <a:gd name="T63" fmla="*/ 137 h 138"/>
                <a:gd name="T64" fmla="*/ 34 w 61"/>
                <a:gd name="T65" fmla="*/ 118 h 138"/>
                <a:gd name="T66" fmla="*/ 34 w 61"/>
                <a:gd name="T67" fmla="*/ 118 h 138"/>
                <a:gd name="T68" fmla="*/ 54 w 61"/>
                <a:gd name="T69" fmla="*/ 81 h 138"/>
                <a:gd name="T70" fmla="*/ 40 w 61"/>
                <a:gd name="T71" fmla="*/ 39 h 138"/>
                <a:gd name="T72" fmla="*/ 40 w 61"/>
                <a:gd name="T73" fmla="*/ 39 h 138"/>
                <a:gd name="T74" fmla="*/ 34 w 61"/>
                <a:gd name="T75" fmla="*/ 28 h 138"/>
                <a:gd name="T76" fmla="*/ 20 w 61"/>
                <a:gd name="T77" fmla="*/ 4 h 138"/>
                <a:gd name="T78" fmla="*/ 20 w 61"/>
                <a:gd name="T79" fmla="*/ 4 h 138"/>
                <a:gd name="T80" fmla="*/ 16 w 61"/>
                <a:gd name="T81" fmla="*/ 1 h 138"/>
                <a:gd name="T82" fmla="*/ 16 w 61"/>
                <a:gd name="T83" fmla="*/ 1 h 138"/>
                <a:gd name="T84" fmla="*/ 13 w 61"/>
                <a:gd name="T85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1" h="138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7" y="2"/>
                    <a:pt x="9" y="5"/>
                  </a:cubicBezTo>
                  <a:cubicBezTo>
                    <a:pt x="9" y="6"/>
                    <a:pt x="9" y="8"/>
                    <a:pt x="9" y="8"/>
                  </a:cubicBezTo>
                  <a:cubicBezTo>
                    <a:pt x="10" y="14"/>
                    <a:pt x="10" y="27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3"/>
                    <a:pt x="17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7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4" y="42"/>
                    <a:pt x="23" y="4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33" y="101"/>
                    <a:pt x="43" y="80"/>
                    <a:pt x="12" y="117"/>
                  </a:cubicBezTo>
                  <a:cubicBezTo>
                    <a:pt x="5" y="125"/>
                    <a:pt x="3" y="127"/>
                    <a:pt x="1" y="129"/>
                  </a:cubicBezTo>
                  <a:cubicBezTo>
                    <a:pt x="0" y="130"/>
                    <a:pt x="1" y="133"/>
                    <a:pt x="3" y="132"/>
                  </a:cubicBezTo>
                  <a:cubicBezTo>
                    <a:pt x="3" y="133"/>
                    <a:pt x="4" y="134"/>
                    <a:pt x="5" y="134"/>
                  </a:cubicBezTo>
                  <a:cubicBezTo>
                    <a:pt x="7" y="135"/>
                    <a:pt x="6" y="136"/>
                    <a:pt x="9" y="137"/>
                  </a:cubicBezTo>
                  <a:cubicBezTo>
                    <a:pt x="14" y="138"/>
                    <a:pt x="20" y="130"/>
                    <a:pt x="34" y="118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55" y="101"/>
                    <a:pt x="61" y="103"/>
                    <a:pt x="54" y="81"/>
                  </a:cubicBezTo>
                  <a:cubicBezTo>
                    <a:pt x="43" y="44"/>
                    <a:pt x="42" y="43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36" y="30"/>
                    <a:pt x="36" y="33"/>
                    <a:pt x="34" y="28"/>
                  </a:cubicBezTo>
                  <a:cubicBezTo>
                    <a:pt x="34" y="17"/>
                    <a:pt x="33" y="12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9" y="3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0"/>
                    <a:pt x="14" y="0"/>
                    <a:pt x="13" y="0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3" name="任意多边形: 形状 842"/>
            <p:cNvSpPr/>
            <p:nvPr userDrawn="1"/>
          </p:nvSpPr>
          <p:spPr bwMode="auto">
            <a:xfrm>
              <a:off x="7630983" y="3714750"/>
              <a:ext cx="195263" cy="342900"/>
            </a:xfrm>
            <a:custGeom>
              <a:avLst/>
              <a:gdLst>
                <a:gd name="T0" fmla="*/ 57 w 59"/>
                <a:gd name="T1" fmla="*/ 5 h 104"/>
                <a:gd name="T2" fmla="*/ 52 w 59"/>
                <a:gd name="T3" fmla="*/ 0 h 104"/>
                <a:gd name="T4" fmla="*/ 47 w 59"/>
                <a:gd name="T5" fmla="*/ 3 h 104"/>
                <a:gd name="T6" fmla="*/ 45 w 59"/>
                <a:gd name="T7" fmla="*/ 4 h 104"/>
                <a:gd name="T8" fmla="*/ 26 w 59"/>
                <a:gd name="T9" fmla="*/ 49 h 104"/>
                <a:gd name="T10" fmla="*/ 21 w 59"/>
                <a:gd name="T11" fmla="*/ 59 h 104"/>
                <a:gd name="T12" fmla="*/ 15 w 59"/>
                <a:gd name="T13" fmla="*/ 67 h 104"/>
                <a:gd name="T14" fmla="*/ 4 w 59"/>
                <a:gd name="T15" fmla="*/ 75 h 104"/>
                <a:gd name="T16" fmla="*/ 1 w 59"/>
                <a:gd name="T17" fmla="*/ 82 h 104"/>
                <a:gd name="T18" fmla="*/ 1 w 59"/>
                <a:gd name="T19" fmla="*/ 95 h 104"/>
                <a:gd name="T20" fmla="*/ 4 w 59"/>
                <a:gd name="T21" fmla="*/ 103 h 104"/>
                <a:gd name="T22" fmla="*/ 10 w 59"/>
                <a:gd name="T23" fmla="*/ 94 h 104"/>
                <a:gd name="T24" fmla="*/ 19 w 59"/>
                <a:gd name="T25" fmla="*/ 82 h 104"/>
                <a:gd name="T26" fmla="*/ 26 w 59"/>
                <a:gd name="T27" fmla="*/ 76 h 104"/>
                <a:gd name="T28" fmla="*/ 26 w 59"/>
                <a:gd name="T29" fmla="*/ 75 h 104"/>
                <a:gd name="T30" fmla="*/ 53 w 59"/>
                <a:gd name="T31" fmla="*/ 26 h 104"/>
                <a:gd name="T32" fmla="*/ 56 w 59"/>
                <a:gd name="T33" fmla="*/ 20 h 104"/>
                <a:gd name="T34" fmla="*/ 57 w 59"/>
                <a:gd name="T35" fmla="*/ 17 h 104"/>
                <a:gd name="T36" fmla="*/ 57 w 59"/>
                <a:gd name="T37" fmla="*/ 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" h="104">
                  <a:moveTo>
                    <a:pt x="57" y="5"/>
                  </a:moveTo>
                  <a:cubicBezTo>
                    <a:pt x="56" y="2"/>
                    <a:pt x="55" y="0"/>
                    <a:pt x="52" y="0"/>
                  </a:cubicBezTo>
                  <a:cubicBezTo>
                    <a:pt x="50" y="0"/>
                    <a:pt x="49" y="1"/>
                    <a:pt x="47" y="3"/>
                  </a:cubicBezTo>
                  <a:cubicBezTo>
                    <a:pt x="46" y="3"/>
                    <a:pt x="46" y="3"/>
                    <a:pt x="45" y="4"/>
                  </a:cubicBezTo>
                  <a:cubicBezTo>
                    <a:pt x="40" y="14"/>
                    <a:pt x="31" y="36"/>
                    <a:pt x="26" y="49"/>
                  </a:cubicBezTo>
                  <a:cubicBezTo>
                    <a:pt x="24" y="53"/>
                    <a:pt x="22" y="56"/>
                    <a:pt x="21" y="59"/>
                  </a:cubicBezTo>
                  <a:cubicBezTo>
                    <a:pt x="19" y="63"/>
                    <a:pt x="18" y="65"/>
                    <a:pt x="15" y="67"/>
                  </a:cubicBezTo>
                  <a:cubicBezTo>
                    <a:pt x="7" y="72"/>
                    <a:pt x="6" y="73"/>
                    <a:pt x="4" y="75"/>
                  </a:cubicBezTo>
                  <a:cubicBezTo>
                    <a:pt x="1" y="80"/>
                    <a:pt x="1" y="82"/>
                    <a:pt x="1" y="82"/>
                  </a:cubicBezTo>
                  <a:cubicBezTo>
                    <a:pt x="0" y="90"/>
                    <a:pt x="1" y="93"/>
                    <a:pt x="1" y="95"/>
                  </a:cubicBezTo>
                  <a:cubicBezTo>
                    <a:pt x="2" y="100"/>
                    <a:pt x="1" y="103"/>
                    <a:pt x="4" y="103"/>
                  </a:cubicBezTo>
                  <a:cubicBezTo>
                    <a:pt x="8" y="104"/>
                    <a:pt x="9" y="98"/>
                    <a:pt x="10" y="94"/>
                  </a:cubicBezTo>
                  <a:cubicBezTo>
                    <a:pt x="12" y="86"/>
                    <a:pt x="14" y="85"/>
                    <a:pt x="19" y="82"/>
                  </a:cubicBezTo>
                  <a:cubicBezTo>
                    <a:pt x="24" y="78"/>
                    <a:pt x="25" y="78"/>
                    <a:pt x="26" y="76"/>
                  </a:cubicBezTo>
                  <a:cubicBezTo>
                    <a:pt x="26" y="76"/>
                    <a:pt x="26" y="75"/>
                    <a:pt x="26" y="75"/>
                  </a:cubicBezTo>
                  <a:cubicBezTo>
                    <a:pt x="32" y="70"/>
                    <a:pt x="36" y="56"/>
                    <a:pt x="53" y="26"/>
                  </a:cubicBezTo>
                  <a:cubicBezTo>
                    <a:pt x="55" y="22"/>
                    <a:pt x="54" y="22"/>
                    <a:pt x="56" y="20"/>
                  </a:cubicBezTo>
                  <a:cubicBezTo>
                    <a:pt x="57" y="18"/>
                    <a:pt x="58" y="18"/>
                    <a:pt x="57" y="17"/>
                  </a:cubicBezTo>
                  <a:cubicBezTo>
                    <a:pt x="59" y="13"/>
                    <a:pt x="59" y="10"/>
                    <a:pt x="57" y="5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4" name="任意多边形: 形状 843"/>
            <p:cNvSpPr/>
            <p:nvPr userDrawn="1"/>
          </p:nvSpPr>
          <p:spPr bwMode="auto">
            <a:xfrm>
              <a:off x="7734171" y="3827462"/>
              <a:ext cx="3175" cy="3175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9A9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5" name="任意多边形: 形状 844"/>
            <p:cNvSpPr/>
            <p:nvPr userDrawn="1"/>
          </p:nvSpPr>
          <p:spPr bwMode="auto">
            <a:xfrm>
              <a:off x="8061196" y="4598987"/>
              <a:ext cx="147638" cy="79375"/>
            </a:xfrm>
            <a:custGeom>
              <a:avLst/>
              <a:gdLst>
                <a:gd name="T0" fmla="*/ 12 w 45"/>
                <a:gd name="T1" fmla="*/ 2 h 24"/>
                <a:gd name="T2" fmla="*/ 5 w 45"/>
                <a:gd name="T3" fmla="*/ 2 h 24"/>
                <a:gd name="T4" fmla="*/ 0 w 45"/>
                <a:gd name="T5" fmla="*/ 11 h 24"/>
                <a:gd name="T6" fmla="*/ 4 w 45"/>
                <a:gd name="T7" fmla="*/ 20 h 24"/>
                <a:gd name="T8" fmla="*/ 27 w 45"/>
                <a:gd name="T9" fmla="*/ 23 h 24"/>
                <a:gd name="T10" fmla="*/ 43 w 45"/>
                <a:gd name="T11" fmla="*/ 19 h 24"/>
                <a:gd name="T12" fmla="*/ 43 w 45"/>
                <a:gd name="T13" fmla="*/ 13 h 24"/>
                <a:gd name="T14" fmla="*/ 40 w 45"/>
                <a:gd name="T15" fmla="*/ 12 h 24"/>
                <a:gd name="T16" fmla="*/ 32 w 45"/>
                <a:gd name="T17" fmla="*/ 8 h 24"/>
                <a:gd name="T18" fmla="*/ 12 w 45"/>
                <a:gd name="T19" fmla="*/ 2 h 24"/>
                <a:gd name="T20" fmla="*/ 17 w 45"/>
                <a:gd name="T21" fmla="*/ 23 h 24"/>
                <a:gd name="T22" fmla="*/ 17 w 45"/>
                <a:gd name="T23" fmla="*/ 23 h 24"/>
                <a:gd name="T24" fmla="*/ 19 w 45"/>
                <a:gd name="T25" fmla="*/ 23 h 24"/>
                <a:gd name="T26" fmla="*/ 19 w 45"/>
                <a:gd name="T27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24">
                  <a:moveTo>
                    <a:pt x="12" y="2"/>
                  </a:moveTo>
                  <a:cubicBezTo>
                    <a:pt x="10" y="3"/>
                    <a:pt x="6" y="1"/>
                    <a:pt x="5" y="2"/>
                  </a:cubicBezTo>
                  <a:cubicBezTo>
                    <a:pt x="1" y="3"/>
                    <a:pt x="0" y="8"/>
                    <a:pt x="0" y="11"/>
                  </a:cubicBezTo>
                  <a:cubicBezTo>
                    <a:pt x="0" y="15"/>
                    <a:pt x="1" y="18"/>
                    <a:pt x="4" y="20"/>
                  </a:cubicBezTo>
                  <a:cubicBezTo>
                    <a:pt x="7" y="21"/>
                    <a:pt x="19" y="24"/>
                    <a:pt x="27" y="23"/>
                  </a:cubicBezTo>
                  <a:cubicBezTo>
                    <a:pt x="35" y="22"/>
                    <a:pt x="41" y="22"/>
                    <a:pt x="43" y="19"/>
                  </a:cubicBezTo>
                  <a:cubicBezTo>
                    <a:pt x="45" y="17"/>
                    <a:pt x="45" y="14"/>
                    <a:pt x="43" y="13"/>
                  </a:cubicBezTo>
                  <a:cubicBezTo>
                    <a:pt x="42" y="12"/>
                    <a:pt x="41" y="12"/>
                    <a:pt x="40" y="12"/>
                  </a:cubicBezTo>
                  <a:cubicBezTo>
                    <a:pt x="33" y="9"/>
                    <a:pt x="34" y="9"/>
                    <a:pt x="32" y="8"/>
                  </a:cubicBezTo>
                  <a:cubicBezTo>
                    <a:pt x="19" y="0"/>
                    <a:pt x="18" y="1"/>
                    <a:pt x="12" y="2"/>
                  </a:cubicBezTo>
                  <a:moveTo>
                    <a:pt x="17" y="23"/>
                  </a:moveTo>
                  <a:cubicBezTo>
                    <a:pt x="18" y="23"/>
                    <a:pt x="18" y="23"/>
                    <a:pt x="17" y="23"/>
                  </a:cubicBezTo>
                  <a:moveTo>
                    <a:pt x="19" y="23"/>
                  </a:moveTo>
                  <a:cubicBezTo>
                    <a:pt x="18" y="23"/>
                    <a:pt x="18" y="23"/>
                    <a:pt x="19" y="23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6" name="任意多边形: 形状 845"/>
            <p:cNvSpPr/>
            <p:nvPr userDrawn="1"/>
          </p:nvSpPr>
          <p:spPr bwMode="auto">
            <a:xfrm>
              <a:off x="7578596" y="4367212"/>
              <a:ext cx="85725" cy="174625"/>
            </a:xfrm>
            <a:custGeom>
              <a:avLst/>
              <a:gdLst>
                <a:gd name="T0" fmla="*/ 11 w 26"/>
                <a:gd name="T1" fmla="*/ 0 h 53"/>
                <a:gd name="T2" fmla="*/ 1 w 26"/>
                <a:gd name="T3" fmla="*/ 5 h 53"/>
                <a:gd name="T4" fmla="*/ 2 w 26"/>
                <a:gd name="T5" fmla="*/ 16 h 53"/>
                <a:gd name="T6" fmla="*/ 9 w 26"/>
                <a:gd name="T7" fmla="*/ 29 h 53"/>
                <a:gd name="T8" fmla="*/ 18 w 26"/>
                <a:gd name="T9" fmla="*/ 49 h 53"/>
                <a:gd name="T10" fmla="*/ 25 w 26"/>
                <a:gd name="T11" fmla="*/ 50 h 53"/>
                <a:gd name="T12" fmla="*/ 26 w 26"/>
                <a:gd name="T13" fmla="*/ 32 h 53"/>
                <a:gd name="T14" fmla="*/ 24 w 26"/>
                <a:gd name="T15" fmla="*/ 17 h 53"/>
                <a:gd name="T16" fmla="*/ 19 w 26"/>
                <a:gd name="T17" fmla="*/ 7 h 53"/>
                <a:gd name="T18" fmla="*/ 18 w 26"/>
                <a:gd name="T19" fmla="*/ 5 h 53"/>
                <a:gd name="T20" fmla="*/ 11 w 26"/>
                <a:gd name="T21" fmla="*/ 0 h 53"/>
                <a:gd name="T22" fmla="*/ 11 w 26"/>
                <a:gd name="T23" fmla="*/ 0 h 53"/>
                <a:gd name="T24" fmla="*/ 22 w 26"/>
                <a:gd name="T25" fmla="*/ 15 h 53"/>
                <a:gd name="T26" fmla="*/ 22 w 26"/>
                <a:gd name="T27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53">
                  <a:moveTo>
                    <a:pt x="11" y="0"/>
                  </a:moveTo>
                  <a:cubicBezTo>
                    <a:pt x="7" y="0"/>
                    <a:pt x="3" y="2"/>
                    <a:pt x="1" y="5"/>
                  </a:cubicBezTo>
                  <a:cubicBezTo>
                    <a:pt x="0" y="8"/>
                    <a:pt x="0" y="11"/>
                    <a:pt x="2" y="16"/>
                  </a:cubicBezTo>
                  <a:cubicBezTo>
                    <a:pt x="4" y="25"/>
                    <a:pt x="6" y="24"/>
                    <a:pt x="9" y="29"/>
                  </a:cubicBezTo>
                  <a:cubicBezTo>
                    <a:pt x="12" y="36"/>
                    <a:pt x="14" y="44"/>
                    <a:pt x="18" y="49"/>
                  </a:cubicBezTo>
                  <a:cubicBezTo>
                    <a:pt x="22" y="53"/>
                    <a:pt x="25" y="51"/>
                    <a:pt x="25" y="50"/>
                  </a:cubicBezTo>
                  <a:cubicBezTo>
                    <a:pt x="26" y="48"/>
                    <a:pt x="26" y="33"/>
                    <a:pt x="26" y="32"/>
                  </a:cubicBezTo>
                  <a:cubicBezTo>
                    <a:pt x="25" y="23"/>
                    <a:pt x="26" y="20"/>
                    <a:pt x="24" y="17"/>
                  </a:cubicBezTo>
                  <a:cubicBezTo>
                    <a:pt x="23" y="14"/>
                    <a:pt x="18" y="15"/>
                    <a:pt x="19" y="7"/>
                  </a:cubicBezTo>
                  <a:cubicBezTo>
                    <a:pt x="19" y="6"/>
                    <a:pt x="18" y="5"/>
                    <a:pt x="18" y="5"/>
                  </a:cubicBezTo>
                  <a:cubicBezTo>
                    <a:pt x="17" y="1"/>
                    <a:pt x="14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2" y="15"/>
                  </a:moveTo>
                  <a:cubicBezTo>
                    <a:pt x="22" y="15"/>
                    <a:pt x="22" y="15"/>
                    <a:pt x="22" y="15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7" name="任意多边形: 形状 846"/>
            <p:cNvSpPr/>
            <p:nvPr userDrawn="1"/>
          </p:nvSpPr>
          <p:spPr bwMode="auto">
            <a:xfrm>
              <a:off x="7759571" y="3332162"/>
              <a:ext cx="534988" cy="571500"/>
            </a:xfrm>
            <a:custGeom>
              <a:avLst/>
              <a:gdLst>
                <a:gd name="T0" fmla="*/ 143 w 162"/>
                <a:gd name="T1" fmla="*/ 0 h 173"/>
                <a:gd name="T2" fmla="*/ 128 w 162"/>
                <a:gd name="T3" fmla="*/ 10 h 173"/>
                <a:gd name="T4" fmla="*/ 124 w 162"/>
                <a:gd name="T5" fmla="*/ 13 h 173"/>
                <a:gd name="T6" fmla="*/ 118 w 162"/>
                <a:gd name="T7" fmla="*/ 17 h 173"/>
                <a:gd name="T8" fmla="*/ 104 w 162"/>
                <a:gd name="T9" fmla="*/ 26 h 173"/>
                <a:gd name="T10" fmla="*/ 88 w 162"/>
                <a:gd name="T11" fmla="*/ 30 h 173"/>
                <a:gd name="T12" fmla="*/ 84 w 162"/>
                <a:gd name="T13" fmla="*/ 31 h 173"/>
                <a:gd name="T14" fmla="*/ 84 w 162"/>
                <a:gd name="T15" fmla="*/ 31 h 173"/>
                <a:gd name="T16" fmla="*/ 80 w 162"/>
                <a:gd name="T17" fmla="*/ 33 h 173"/>
                <a:gd name="T18" fmla="*/ 78 w 162"/>
                <a:gd name="T19" fmla="*/ 34 h 173"/>
                <a:gd name="T20" fmla="*/ 70 w 162"/>
                <a:gd name="T21" fmla="*/ 36 h 173"/>
                <a:gd name="T22" fmla="*/ 67 w 162"/>
                <a:gd name="T23" fmla="*/ 37 h 173"/>
                <a:gd name="T24" fmla="*/ 67 w 162"/>
                <a:gd name="T25" fmla="*/ 37 h 173"/>
                <a:gd name="T26" fmla="*/ 67 w 162"/>
                <a:gd name="T27" fmla="*/ 37 h 173"/>
                <a:gd name="T28" fmla="*/ 67 w 162"/>
                <a:gd name="T29" fmla="*/ 37 h 173"/>
                <a:gd name="T30" fmla="*/ 56 w 162"/>
                <a:gd name="T31" fmla="*/ 39 h 173"/>
                <a:gd name="T32" fmla="*/ 35 w 162"/>
                <a:gd name="T33" fmla="*/ 52 h 173"/>
                <a:gd name="T34" fmla="*/ 35 w 162"/>
                <a:gd name="T35" fmla="*/ 52 h 173"/>
                <a:gd name="T36" fmla="*/ 17 w 162"/>
                <a:gd name="T37" fmla="*/ 87 h 173"/>
                <a:gd name="T38" fmla="*/ 2 w 162"/>
                <a:gd name="T39" fmla="*/ 121 h 173"/>
                <a:gd name="T40" fmla="*/ 2 w 162"/>
                <a:gd name="T41" fmla="*/ 121 h 173"/>
                <a:gd name="T42" fmla="*/ 2 w 162"/>
                <a:gd name="T43" fmla="*/ 121 h 173"/>
                <a:gd name="T44" fmla="*/ 2 w 162"/>
                <a:gd name="T45" fmla="*/ 121 h 173"/>
                <a:gd name="T46" fmla="*/ 4 w 162"/>
                <a:gd name="T47" fmla="*/ 132 h 173"/>
                <a:gd name="T48" fmla="*/ 9 w 162"/>
                <a:gd name="T49" fmla="*/ 137 h 173"/>
                <a:gd name="T50" fmla="*/ 9 w 162"/>
                <a:gd name="T51" fmla="*/ 137 h 173"/>
                <a:gd name="T52" fmla="*/ 26 w 162"/>
                <a:gd name="T53" fmla="*/ 128 h 173"/>
                <a:gd name="T54" fmla="*/ 33 w 162"/>
                <a:gd name="T55" fmla="*/ 117 h 173"/>
                <a:gd name="T56" fmla="*/ 37 w 162"/>
                <a:gd name="T57" fmla="*/ 119 h 173"/>
                <a:gd name="T58" fmla="*/ 36 w 162"/>
                <a:gd name="T59" fmla="*/ 151 h 173"/>
                <a:gd name="T60" fmla="*/ 41 w 162"/>
                <a:gd name="T61" fmla="*/ 170 h 173"/>
                <a:gd name="T62" fmla="*/ 52 w 162"/>
                <a:gd name="T63" fmla="*/ 171 h 173"/>
                <a:gd name="T64" fmla="*/ 68 w 162"/>
                <a:gd name="T65" fmla="*/ 172 h 173"/>
                <a:gd name="T66" fmla="*/ 76 w 162"/>
                <a:gd name="T67" fmla="*/ 172 h 173"/>
                <a:gd name="T68" fmla="*/ 101 w 162"/>
                <a:gd name="T69" fmla="*/ 169 h 173"/>
                <a:gd name="T70" fmla="*/ 111 w 162"/>
                <a:gd name="T71" fmla="*/ 158 h 173"/>
                <a:gd name="T72" fmla="*/ 114 w 162"/>
                <a:gd name="T73" fmla="*/ 87 h 173"/>
                <a:gd name="T74" fmla="*/ 114 w 162"/>
                <a:gd name="T75" fmla="*/ 79 h 173"/>
                <a:gd name="T76" fmla="*/ 119 w 162"/>
                <a:gd name="T77" fmla="*/ 62 h 173"/>
                <a:gd name="T78" fmla="*/ 118 w 162"/>
                <a:gd name="T79" fmla="*/ 62 h 173"/>
                <a:gd name="T80" fmla="*/ 122 w 162"/>
                <a:gd name="T81" fmla="*/ 58 h 173"/>
                <a:gd name="T82" fmla="*/ 122 w 162"/>
                <a:gd name="T83" fmla="*/ 58 h 173"/>
                <a:gd name="T84" fmla="*/ 142 w 162"/>
                <a:gd name="T85" fmla="*/ 41 h 173"/>
                <a:gd name="T86" fmla="*/ 149 w 162"/>
                <a:gd name="T87" fmla="*/ 36 h 173"/>
                <a:gd name="T88" fmla="*/ 149 w 162"/>
                <a:gd name="T89" fmla="*/ 36 h 173"/>
                <a:gd name="T90" fmla="*/ 150 w 162"/>
                <a:gd name="T91" fmla="*/ 35 h 173"/>
                <a:gd name="T92" fmla="*/ 160 w 162"/>
                <a:gd name="T93" fmla="*/ 23 h 173"/>
                <a:gd name="T94" fmla="*/ 160 w 162"/>
                <a:gd name="T95" fmla="*/ 24 h 173"/>
                <a:gd name="T96" fmla="*/ 162 w 162"/>
                <a:gd name="T97" fmla="*/ 19 h 173"/>
                <a:gd name="T98" fmla="*/ 151 w 162"/>
                <a:gd name="T99" fmla="*/ 7 h 173"/>
                <a:gd name="T100" fmla="*/ 143 w 162"/>
                <a:gd name="T101" fmla="*/ 0 h 173"/>
                <a:gd name="T102" fmla="*/ 13 w 162"/>
                <a:gd name="T103" fmla="*/ 134 h 173"/>
                <a:gd name="T104" fmla="*/ 13 w 162"/>
                <a:gd name="T105" fmla="*/ 134 h 173"/>
                <a:gd name="T106" fmla="*/ 13 w 162"/>
                <a:gd name="T107" fmla="*/ 13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2" h="173">
                  <a:moveTo>
                    <a:pt x="143" y="0"/>
                  </a:moveTo>
                  <a:cubicBezTo>
                    <a:pt x="139" y="0"/>
                    <a:pt x="135" y="5"/>
                    <a:pt x="128" y="10"/>
                  </a:cubicBezTo>
                  <a:cubicBezTo>
                    <a:pt x="125" y="12"/>
                    <a:pt x="124" y="13"/>
                    <a:pt x="124" y="13"/>
                  </a:cubicBezTo>
                  <a:cubicBezTo>
                    <a:pt x="122" y="15"/>
                    <a:pt x="117" y="17"/>
                    <a:pt x="118" y="17"/>
                  </a:cubicBezTo>
                  <a:cubicBezTo>
                    <a:pt x="110" y="21"/>
                    <a:pt x="110" y="22"/>
                    <a:pt x="104" y="26"/>
                  </a:cubicBezTo>
                  <a:cubicBezTo>
                    <a:pt x="101" y="28"/>
                    <a:pt x="98" y="28"/>
                    <a:pt x="88" y="30"/>
                  </a:cubicBezTo>
                  <a:cubicBezTo>
                    <a:pt x="85" y="31"/>
                    <a:pt x="86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3" y="31"/>
                    <a:pt x="80" y="33"/>
                  </a:cubicBezTo>
                  <a:cubicBezTo>
                    <a:pt x="79" y="34"/>
                    <a:pt x="80" y="33"/>
                    <a:pt x="78" y="34"/>
                  </a:cubicBezTo>
                  <a:cubicBezTo>
                    <a:pt x="75" y="35"/>
                    <a:pt x="74" y="36"/>
                    <a:pt x="70" y="36"/>
                  </a:cubicBezTo>
                  <a:cubicBezTo>
                    <a:pt x="70" y="36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1" y="37"/>
                    <a:pt x="57" y="39"/>
                    <a:pt x="56" y="39"/>
                  </a:cubicBezTo>
                  <a:cubicBezTo>
                    <a:pt x="53" y="40"/>
                    <a:pt x="44" y="40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28" y="62"/>
                    <a:pt x="21" y="77"/>
                    <a:pt x="17" y="87"/>
                  </a:cubicBezTo>
                  <a:cubicBezTo>
                    <a:pt x="11" y="101"/>
                    <a:pt x="5" y="113"/>
                    <a:pt x="2" y="121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0" y="126"/>
                    <a:pt x="0" y="128"/>
                    <a:pt x="4" y="132"/>
                  </a:cubicBezTo>
                  <a:cubicBezTo>
                    <a:pt x="6" y="135"/>
                    <a:pt x="9" y="137"/>
                    <a:pt x="9" y="137"/>
                  </a:cubicBezTo>
                  <a:cubicBezTo>
                    <a:pt x="9" y="137"/>
                    <a:pt x="9" y="137"/>
                    <a:pt x="9" y="137"/>
                  </a:cubicBezTo>
                  <a:cubicBezTo>
                    <a:pt x="11" y="139"/>
                    <a:pt x="13" y="148"/>
                    <a:pt x="26" y="128"/>
                  </a:cubicBezTo>
                  <a:cubicBezTo>
                    <a:pt x="28" y="124"/>
                    <a:pt x="28" y="123"/>
                    <a:pt x="33" y="117"/>
                  </a:cubicBezTo>
                  <a:cubicBezTo>
                    <a:pt x="38" y="111"/>
                    <a:pt x="37" y="111"/>
                    <a:pt x="37" y="119"/>
                  </a:cubicBezTo>
                  <a:cubicBezTo>
                    <a:pt x="36" y="151"/>
                    <a:pt x="36" y="151"/>
                    <a:pt x="36" y="151"/>
                  </a:cubicBezTo>
                  <a:cubicBezTo>
                    <a:pt x="36" y="160"/>
                    <a:pt x="33" y="168"/>
                    <a:pt x="41" y="170"/>
                  </a:cubicBezTo>
                  <a:cubicBezTo>
                    <a:pt x="46" y="172"/>
                    <a:pt x="47" y="171"/>
                    <a:pt x="52" y="171"/>
                  </a:cubicBezTo>
                  <a:cubicBezTo>
                    <a:pt x="56" y="172"/>
                    <a:pt x="56" y="173"/>
                    <a:pt x="68" y="172"/>
                  </a:cubicBezTo>
                  <a:cubicBezTo>
                    <a:pt x="73" y="172"/>
                    <a:pt x="72" y="172"/>
                    <a:pt x="76" y="172"/>
                  </a:cubicBezTo>
                  <a:cubicBezTo>
                    <a:pt x="92" y="172"/>
                    <a:pt x="98" y="169"/>
                    <a:pt x="101" y="169"/>
                  </a:cubicBezTo>
                  <a:cubicBezTo>
                    <a:pt x="111" y="168"/>
                    <a:pt x="111" y="164"/>
                    <a:pt x="111" y="158"/>
                  </a:cubicBezTo>
                  <a:cubicBezTo>
                    <a:pt x="109" y="107"/>
                    <a:pt x="111" y="128"/>
                    <a:pt x="114" y="87"/>
                  </a:cubicBezTo>
                  <a:cubicBezTo>
                    <a:pt x="114" y="79"/>
                    <a:pt x="114" y="79"/>
                    <a:pt x="114" y="79"/>
                  </a:cubicBezTo>
                  <a:cubicBezTo>
                    <a:pt x="116" y="62"/>
                    <a:pt x="116" y="64"/>
                    <a:pt x="119" y="62"/>
                  </a:cubicBezTo>
                  <a:cubicBezTo>
                    <a:pt x="118" y="62"/>
                    <a:pt x="118" y="62"/>
                    <a:pt x="118" y="62"/>
                  </a:cubicBezTo>
                  <a:cubicBezTo>
                    <a:pt x="118" y="62"/>
                    <a:pt x="120" y="60"/>
                    <a:pt x="122" y="58"/>
                  </a:cubicBezTo>
                  <a:cubicBezTo>
                    <a:pt x="122" y="58"/>
                    <a:pt x="122" y="58"/>
                    <a:pt x="122" y="58"/>
                  </a:cubicBezTo>
                  <a:cubicBezTo>
                    <a:pt x="126" y="56"/>
                    <a:pt x="139" y="43"/>
                    <a:pt x="142" y="41"/>
                  </a:cubicBezTo>
                  <a:cubicBezTo>
                    <a:pt x="146" y="39"/>
                    <a:pt x="144" y="40"/>
                    <a:pt x="149" y="36"/>
                  </a:cubicBezTo>
                  <a:cubicBezTo>
                    <a:pt x="149" y="36"/>
                    <a:pt x="149" y="36"/>
                    <a:pt x="149" y="36"/>
                  </a:cubicBezTo>
                  <a:cubicBezTo>
                    <a:pt x="149" y="36"/>
                    <a:pt x="150" y="35"/>
                    <a:pt x="150" y="35"/>
                  </a:cubicBezTo>
                  <a:cubicBezTo>
                    <a:pt x="148" y="36"/>
                    <a:pt x="155" y="31"/>
                    <a:pt x="160" y="23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61" y="22"/>
                    <a:pt x="162" y="20"/>
                    <a:pt x="162" y="19"/>
                  </a:cubicBezTo>
                  <a:cubicBezTo>
                    <a:pt x="162" y="15"/>
                    <a:pt x="160" y="17"/>
                    <a:pt x="151" y="7"/>
                  </a:cubicBezTo>
                  <a:cubicBezTo>
                    <a:pt x="149" y="4"/>
                    <a:pt x="147" y="0"/>
                    <a:pt x="143" y="0"/>
                  </a:cubicBezTo>
                  <a:moveTo>
                    <a:pt x="13" y="134"/>
                  </a:moveTo>
                  <a:cubicBezTo>
                    <a:pt x="13" y="134"/>
                    <a:pt x="13" y="134"/>
                    <a:pt x="13" y="134"/>
                  </a:cubicBezTo>
                  <a:cubicBezTo>
                    <a:pt x="14" y="133"/>
                    <a:pt x="14" y="133"/>
                    <a:pt x="13" y="134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8" name="任意多边形: 形状 847"/>
            <p:cNvSpPr/>
            <p:nvPr userDrawn="1"/>
          </p:nvSpPr>
          <p:spPr bwMode="auto">
            <a:xfrm>
              <a:off x="7862758" y="3243262"/>
              <a:ext cx="211138" cy="492125"/>
            </a:xfrm>
            <a:custGeom>
              <a:avLst/>
              <a:gdLst>
                <a:gd name="T0" fmla="*/ 23 w 64"/>
                <a:gd name="T1" fmla="*/ 0 h 149"/>
                <a:gd name="T2" fmla="*/ 7 w 64"/>
                <a:gd name="T3" fmla="*/ 9 h 149"/>
                <a:gd name="T4" fmla="*/ 4 w 64"/>
                <a:gd name="T5" fmla="*/ 14 h 149"/>
                <a:gd name="T6" fmla="*/ 2 w 64"/>
                <a:gd name="T7" fmla="*/ 23 h 149"/>
                <a:gd name="T8" fmla="*/ 2 w 64"/>
                <a:gd name="T9" fmla="*/ 24 h 149"/>
                <a:gd name="T10" fmla="*/ 2 w 64"/>
                <a:gd name="T11" fmla="*/ 24 h 149"/>
                <a:gd name="T12" fmla="*/ 2 w 64"/>
                <a:gd name="T13" fmla="*/ 24 h 149"/>
                <a:gd name="T14" fmla="*/ 2 w 64"/>
                <a:gd name="T15" fmla="*/ 58 h 149"/>
                <a:gd name="T16" fmla="*/ 4 w 64"/>
                <a:gd name="T17" fmla="*/ 93 h 149"/>
                <a:gd name="T18" fmla="*/ 4 w 64"/>
                <a:gd name="T19" fmla="*/ 93 h 149"/>
                <a:gd name="T20" fmla="*/ 7 w 64"/>
                <a:gd name="T21" fmla="*/ 103 h 149"/>
                <a:gd name="T22" fmla="*/ 7 w 64"/>
                <a:gd name="T23" fmla="*/ 103 h 149"/>
                <a:gd name="T24" fmla="*/ 7 w 64"/>
                <a:gd name="T25" fmla="*/ 103 h 149"/>
                <a:gd name="T26" fmla="*/ 7 w 64"/>
                <a:gd name="T27" fmla="*/ 103 h 149"/>
                <a:gd name="T28" fmla="*/ 7 w 64"/>
                <a:gd name="T29" fmla="*/ 103 h 149"/>
                <a:gd name="T30" fmla="*/ 7 w 64"/>
                <a:gd name="T31" fmla="*/ 103 h 149"/>
                <a:gd name="T32" fmla="*/ 18 w 64"/>
                <a:gd name="T33" fmla="*/ 121 h 149"/>
                <a:gd name="T34" fmla="*/ 24 w 64"/>
                <a:gd name="T35" fmla="*/ 131 h 149"/>
                <a:gd name="T36" fmla="*/ 31 w 64"/>
                <a:gd name="T37" fmla="*/ 141 h 149"/>
                <a:gd name="T38" fmla="*/ 33 w 64"/>
                <a:gd name="T39" fmla="*/ 146 h 149"/>
                <a:gd name="T40" fmla="*/ 39 w 64"/>
                <a:gd name="T41" fmla="*/ 146 h 149"/>
                <a:gd name="T42" fmla="*/ 50 w 64"/>
                <a:gd name="T43" fmla="*/ 130 h 149"/>
                <a:gd name="T44" fmla="*/ 49 w 64"/>
                <a:gd name="T45" fmla="*/ 130 h 149"/>
                <a:gd name="T46" fmla="*/ 58 w 64"/>
                <a:gd name="T47" fmla="*/ 78 h 149"/>
                <a:gd name="T48" fmla="*/ 58 w 64"/>
                <a:gd name="T49" fmla="*/ 78 h 149"/>
                <a:gd name="T50" fmla="*/ 59 w 64"/>
                <a:gd name="T51" fmla="*/ 43 h 149"/>
                <a:gd name="T52" fmla="*/ 48 w 64"/>
                <a:gd name="T53" fmla="*/ 20 h 149"/>
                <a:gd name="T54" fmla="*/ 35 w 64"/>
                <a:gd name="T55" fmla="*/ 4 h 149"/>
                <a:gd name="T56" fmla="*/ 23 w 64"/>
                <a:gd name="T57" fmla="*/ 0 h 149"/>
                <a:gd name="T58" fmla="*/ 23 w 64"/>
                <a:gd name="T5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4" h="149">
                  <a:moveTo>
                    <a:pt x="23" y="0"/>
                  </a:moveTo>
                  <a:cubicBezTo>
                    <a:pt x="15" y="0"/>
                    <a:pt x="11" y="4"/>
                    <a:pt x="7" y="9"/>
                  </a:cubicBezTo>
                  <a:cubicBezTo>
                    <a:pt x="6" y="11"/>
                    <a:pt x="5" y="12"/>
                    <a:pt x="4" y="14"/>
                  </a:cubicBezTo>
                  <a:cubicBezTo>
                    <a:pt x="3" y="17"/>
                    <a:pt x="2" y="20"/>
                    <a:pt x="2" y="23"/>
                  </a:cubicBezTo>
                  <a:cubicBezTo>
                    <a:pt x="2" y="23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43"/>
                    <a:pt x="2" y="42"/>
                    <a:pt x="2" y="58"/>
                  </a:cubicBezTo>
                  <a:cubicBezTo>
                    <a:pt x="3" y="74"/>
                    <a:pt x="0" y="75"/>
                    <a:pt x="4" y="93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5" y="96"/>
                    <a:pt x="6" y="100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11" y="112"/>
                    <a:pt x="14" y="114"/>
                    <a:pt x="18" y="121"/>
                  </a:cubicBezTo>
                  <a:cubicBezTo>
                    <a:pt x="19" y="124"/>
                    <a:pt x="23" y="130"/>
                    <a:pt x="24" y="131"/>
                  </a:cubicBezTo>
                  <a:cubicBezTo>
                    <a:pt x="27" y="137"/>
                    <a:pt x="29" y="137"/>
                    <a:pt x="31" y="141"/>
                  </a:cubicBezTo>
                  <a:cubicBezTo>
                    <a:pt x="31" y="143"/>
                    <a:pt x="32" y="144"/>
                    <a:pt x="33" y="146"/>
                  </a:cubicBezTo>
                  <a:cubicBezTo>
                    <a:pt x="34" y="147"/>
                    <a:pt x="36" y="149"/>
                    <a:pt x="39" y="146"/>
                  </a:cubicBezTo>
                  <a:cubicBezTo>
                    <a:pt x="42" y="144"/>
                    <a:pt x="45" y="142"/>
                    <a:pt x="50" y="130"/>
                  </a:cubicBezTo>
                  <a:cubicBezTo>
                    <a:pt x="49" y="130"/>
                    <a:pt x="49" y="130"/>
                    <a:pt x="49" y="130"/>
                  </a:cubicBezTo>
                  <a:cubicBezTo>
                    <a:pt x="56" y="115"/>
                    <a:pt x="48" y="114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64" y="61"/>
                    <a:pt x="62" y="52"/>
                    <a:pt x="59" y="43"/>
                  </a:cubicBezTo>
                  <a:cubicBezTo>
                    <a:pt x="56" y="31"/>
                    <a:pt x="56" y="32"/>
                    <a:pt x="48" y="20"/>
                  </a:cubicBezTo>
                  <a:cubicBezTo>
                    <a:pt x="48" y="19"/>
                    <a:pt x="41" y="9"/>
                    <a:pt x="35" y="4"/>
                  </a:cubicBezTo>
                  <a:cubicBezTo>
                    <a:pt x="33" y="3"/>
                    <a:pt x="31" y="1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9" name="任意多边形: 形状 848"/>
            <p:cNvSpPr/>
            <p:nvPr userDrawn="1"/>
          </p:nvSpPr>
          <p:spPr bwMode="auto">
            <a:xfrm>
              <a:off x="8348533" y="5670550"/>
              <a:ext cx="138113" cy="214313"/>
            </a:xfrm>
            <a:custGeom>
              <a:avLst/>
              <a:gdLst>
                <a:gd name="T0" fmla="*/ 31 w 42"/>
                <a:gd name="T1" fmla="*/ 0 h 65"/>
                <a:gd name="T2" fmla="*/ 27 w 42"/>
                <a:gd name="T3" fmla="*/ 2 h 65"/>
                <a:gd name="T4" fmla="*/ 24 w 42"/>
                <a:gd name="T5" fmla="*/ 4 h 65"/>
                <a:gd name="T6" fmla="*/ 21 w 42"/>
                <a:gd name="T7" fmla="*/ 16 h 65"/>
                <a:gd name="T8" fmla="*/ 21 w 42"/>
                <a:gd name="T9" fmla="*/ 16 h 65"/>
                <a:gd name="T10" fmla="*/ 4 w 42"/>
                <a:gd name="T11" fmla="*/ 44 h 65"/>
                <a:gd name="T12" fmla="*/ 4 w 42"/>
                <a:gd name="T13" fmla="*/ 44 h 65"/>
                <a:gd name="T14" fmla="*/ 4 w 42"/>
                <a:gd name="T15" fmla="*/ 45 h 65"/>
                <a:gd name="T16" fmla="*/ 4 w 42"/>
                <a:gd name="T17" fmla="*/ 44 h 65"/>
                <a:gd name="T18" fmla="*/ 1 w 42"/>
                <a:gd name="T19" fmla="*/ 52 h 65"/>
                <a:gd name="T20" fmla="*/ 3 w 42"/>
                <a:gd name="T21" fmla="*/ 62 h 65"/>
                <a:gd name="T22" fmla="*/ 18 w 42"/>
                <a:gd name="T23" fmla="*/ 58 h 65"/>
                <a:gd name="T24" fmla="*/ 34 w 42"/>
                <a:gd name="T25" fmla="*/ 43 h 65"/>
                <a:gd name="T26" fmla="*/ 37 w 42"/>
                <a:gd name="T27" fmla="*/ 40 h 65"/>
                <a:gd name="T28" fmla="*/ 38 w 42"/>
                <a:gd name="T29" fmla="*/ 15 h 65"/>
                <a:gd name="T30" fmla="*/ 35 w 42"/>
                <a:gd name="T31" fmla="*/ 4 h 65"/>
                <a:gd name="T32" fmla="*/ 31 w 42"/>
                <a:gd name="T3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65">
                  <a:moveTo>
                    <a:pt x="31" y="0"/>
                  </a:moveTo>
                  <a:cubicBezTo>
                    <a:pt x="29" y="0"/>
                    <a:pt x="28" y="1"/>
                    <a:pt x="27" y="2"/>
                  </a:cubicBezTo>
                  <a:cubicBezTo>
                    <a:pt x="26" y="1"/>
                    <a:pt x="24" y="2"/>
                    <a:pt x="24" y="4"/>
                  </a:cubicBezTo>
                  <a:cubicBezTo>
                    <a:pt x="23" y="8"/>
                    <a:pt x="23" y="9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15" y="31"/>
                    <a:pt x="11" y="28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3" y="48"/>
                    <a:pt x="1" y="53"/>
                    <a:pt x="1" y="52"/>
                  </a:cubicBezTo>
                  <a:cubicBezTo>
                    <a:pt x="0" y="58"/>
                    <a:pt x="0" y="61"/>
                    <a:pt x="3" y="62"/>
                  </a:cubicBezTo>
                  <a:cubicBezTo>
                    <a:pt x="6" y="65"/>
                    <a:pt x="14" y="61"/>
                    <a:pt x="18" y="58"/>
                  </a:cubicBezTo>
                  <a:cubicBezTo>
                    <a:pt x="32" y="47"/>
                    <a:pt x="35" y="43"/>
                    <a:pt x="34" y="43"/>
                  </a:cubicBezTo>
                  <a:cubicBezTo>
                    <a:pt x="36" y="42"/>
                    <a:pt x="36" y="41"/>
                    <a:pt x="37" y="40"/>
                  </a:cubicBezTo>
                  <a:cubicBezTo>
                    <a:pt x="42" y="27"/>
                    <a:pt x="41" y="24"/>
                    <a:pt x="38" y="15"/>
                  </a:cubicBezTo>
                  <a:cubicBezTo>
                    <a:pt x="36" y="6"/>
                    <a:pt x="37" y="6"/>
                    <a:pt x="35" y="4"/>
                  </a:cubicBezTo>
                  <a:cubicBezTo>
                    <a:pt x="35" y="2"/>
                    <a:pt x="33" y="0"/>
                    <a:pt x="31" y="0"/>
                  </a:cubicBezTo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0" name="任意多边形: 形状 849"/>
            <p:cNvSpPr/>
            <p:nvPr userDrawn="1"/>
          </p:nvSpPr>
          <p:spPr bwMode="auto">
            <a:xfrm>
              <a:off x="8254871" y="5588000"/>
              <a:ext cx="161925" cy="230188"/>
            </a:xfrm>
            <a:custGeom>
              <a:avLst/>
              <a:gdLst>
                <a:gd name="T0" fmla="*/ 34 w 49"/>
                <a:gd name="T1" fmla="*/ 0 h 70"/>
                <a:gd name="T2" fmla="*/ 25 w 49"/>
                <a:gd name="T3" fmla="*/ 6 h 70"/>
                <a:gd name="T4" fmla="*/ 24 w 49"/>
                <a:gd name="T5" fmla="*/ 7 h 70"/>
                <a:gd name="T6" fmla="*/ 24 w 49"/>
                <a:gd name="T7" fmla="*/ 9 h 70"/>
                <a:gd name="T8" fmla="*/ 23 w 49"/>
                <a:gd name="T9" fmla="*/ 19 h 70"/>
                <a:gd name="T10" fmla="*/ 6 w 49"/>
                <a:gd name="T11" fmla="*/ 48 h 70"/>
                <a:gd name="T12" fmla="*/ 6 w 49"/>
                <a:gd name="T13" fmla="*/ 48 h 70"/>
                <a:gd name="T14" fmla="*/ 32 w 49"/>
                <a:gd name="T15" fmla="*/ 47 h 70"/>
                <a:gd name="T16" fmla="*/ 31 w 49"/>
                <a:gd name="T17" fmla="*/ 47 h 70"/>
                <a:gd name="T18" fmla="*/ 37 w 49"/>
                <a:gd name="T19" fmla="*/ 42 h 70"/>
                <a:gd name="T20" fmla="*/ 44 w 49"/>
                <a:gd name="T21" fmla="*/ 20 h 70"/>
                <a:gd name="T22" fmla="*/ 37 w 49"/>
                <a:gd name="T23" fmla="*/ 0 h 70"/>
                <a:gd name="T24" fmla="*/ 34 w 49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70">
                  <a:moveTo>
                    <a:pt x="34" y="0"/>
                  </a:moveTo>
                  <a:cubicBezTo>
                    <a:pt x="32" y="0"/>
                    <a:pt x="26" y="2"/>
                    <a:pt x="25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9"/>
                  </a:cubicBezTo>
                  <a:cubicBezTo>
                    <a:pt x="23" y="12"/>
                    <a:pt x="23" y="15"/>
                    <a:pt x="23" y="19"/>
                  </a:cubicBezTo>
                  <a:cubicBezTo>
                    <a:pt x="21" y="29"/>
                    <a:pt x="10" y="3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0" y="61"/>
                    <a:pt x="4" y="70"/>
                    <a:pt x="32" y="47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3" y="46"/>
                    <a:pt x="34" y="45"/>
                    <a:pt x="37" y="42"/>
                  </a:cubicBezTo>
                  <a:cubicBezTo>
                    <a:pt x="45" y="34"/>
                    <a:pt x="49" y="31"/>
                    <a:pt x="44" y="20"/>
                  </a:cubicBezTo>
                  <a:cubicBezTo>
                    <a:pt x="39" y="9"/>
                    <a:pt x="42" y="3"/>
                    <a:pt x="37" y="0"/>
                  </a:cubicBezTo>
                  <a:cubicBezTo>
                    <a:pt x="36" y="0"/>
                    <a:pt x="35" y="0"/>
                    <a:pt x="34" y="0"/>
                  </a:cubicBezTo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1" name="任意多边形: 形状 850"/>
            <p:cNvSpPr/>
            <p:nvPr userDrawn="1"/>
          </p:nvSpPr>
          <p:spPr bwMode="auto">
            <a:xfrm>
              <a:off x="8394571" y="5148262"/>
              <a:ext cx="404813" cy="596900"/>
            </a:xfrm>
            <a:custGeom>
              <a:avLst/>
              <a:gdLst>
                <a:gd name="T0" fmla="*/ 95 w 123"/>
                <a:gd name="T1" fmla="*/ 0 h 181"/>
                <a:gd name="T2" fmla="*/ 85 w 123"/>
                <a:gd name="T3" fmla="*/ 5 h 181"/>
                <a:gd name="T4" fmla="*/ 83 w 123"/>
                <a:gd name="T5" fmla="*/ 11 h 181"/>
                <a:gd name="T6" fmla="*/ 39 w 123"/>
                <a:gd name="T7" fmla="*/ 51 h 181"/>
                <a:gd name="T8" fmla="*/ 8 w 123"/>
                <a:gd name="T9" fmla="*/ 139 h 181"/>
                <a:gd name="T10" fmla="*/ 0 w 123"/>
                <a:gd name="T11" fmla="*/ 169 h 181"/>
                <a:gd name="T12" fmla="*/ 6 w 123"/>
                <a:gd name="T13" fmla="*/ 179 h 181"/>
                <a:gd name="T14" fmla="*/ 20 w 123"/>
                <a:gd name="T15" fmla="*/ 180 h 181"/>
                <a:gd name="T16" fmla="*/ 26 w 123"/>
                <a:gd name="T17" fmla="*/ 178 h 181"/>
                <a:gd name="T18" fmla="*/ 33 w 123"/>
                <a:gd name="T19" fmla="*/ 150 h 181"/>
                <a:gd name="T20" fmla="*/ 57 w 123"/>
                <a:gd name="T21" fmla="*/ 95 h 181"/>
                <a:gd name="T22" fmla="*/ 72 w 123"/>
                <a:gd name="T23" fmla="*/ 69 h 181"/>
                <a:gd name="T24" fmla="*/ 79 w 123"/>
                <a:gd name="T25" fmla="*/ 64 h 181"/>
                <a:gd name="T26" fmla="*/ 108 w 123"/>
                <a:gd name="T27" fmla="*/ 47 h 181"/>
                <a:gd name="T28" fmla="*/ 121 w 123"/>
                <a:gd name="T29" fmla="*/ 25 h 181"/>
                <a:gd name="T30" fmla="*/ 114 w 123"/>
                <a:gd name="T31" fmla="*/ 14 h 181"/>
                <a:gd name="T32" fmla="*/ 107 w 123"/>
                <a:gd name="T33" fmla="*/ 7 h 181"/>
                <a:gd name="T34" fmla="*/ 98 w 123"/>
                <a:gd name="T35" fmla="*/ 0 h 181"/>
                <a:gd name="T36" fmla="*/ 95 w 123"/>
                <a:gd name="T37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81">
                  <a:moveTo>
                    <a:pt x="95" y="0"/>
                  </a:moveTo>
                  <a:cubicBezTo>
                    <a:pt x="90" y="0"/>
                    <a:pt x="88" y="2"/>
                    <a:pt x="85" y="5"/>
                  </a:cubicBezTo>
                  <a:cubicBezTo>
                    <a:pt x="83" y="6"/>
                    <a:pt x="81" y="8"/>
                    <a:pt x="83" y="11"/>
                  </a:cubicBezTo>
                  <a:cubicBezTo>
                    <a:pt x="61" y="27"/>
                    <a:pt x="42" y="47"/>
                    <a:pt x="39" y="51"/>
                  </a:cubicBezTo>
                  <a:cubicBezTo>
                    <a:pt x="31" y="62"/>
                    <a:pt x="17" y="100"/>
                    <a:pt x="8" y="139"/>
                  </a:cubicBezTo>
                  <a:cubicBezTo>
                    <a:pt x="3" y="159"/>
                    <a:pt x="1" y="163"/>
                    <a:pt x="0" y="169"/>
                  </a:cubicBezTo>
                  <a:cubicBezTo>
                    <a:pt x="0" y="173"/>
                    <a:pt x="2" y="177"/>
                    <a:pt x="6" y="179"/>
                  </a:cubicBezTo>
                  <a:cubicBezTo>
                    <a:pt x="10" y="180"/>
                    <a:pt x="12" y="180"/>
                    <a:pt x="20" y="180"/>
                  </a:cubicBezTo>
                  <a:cubicBezTo>
                    <a:pt x="23" y="180"/>
                    <a:pt x="24" y="181"/>
                    <a:pt x="26" y="178"/>
                  </a:cubicBezTo>
                  <a:cubicBezTo>
                    <a:pt x="30" y="173"/>
                    <a:pt x="31" y="157"/>
                    <a:pt x="33" y="150"/>
                  </a:cubicBezTo>
                  <a:cubicBezTo>
                    <a:pt x="38" y="135"/>
                    <a:pt x="53" y="111"/>
                    <a:pt x="57" y="95"/>
                  </a:cubicBezTo>
                  <a:cubicBezTo>
                    <a:pt x="61" y="78"/>
                    <a:pt x="57" y="77"/>
                    <a:pt x="72" y="69"/>
                  </a:cubicBezTo>
                  <a:cubicBezTo>
                    <a:pt x="76" y="66"/>
                    <a:pt x="77" y="66"/>
                    <a:pt x="79" y="64"/>
                  </a:cubicBezTo>
                  <a:cubicBezTo>
                    <a:pt x="85" y="59"/>
                    <a:pt x="103" y="51"/>
                    <a:pt x="108" y="47"/>
                  </a:cubicBezTo>
                  <a:cubicBezTo>
                    <a:pt x="115" y="42"/>
                    <a:pt x="123" y="37"/>
                    <a:pt x="121" y="25"/>
                  </a:cubicBezTo>
                  <a:cubicBezTo>
                    <a:pt x="119" y="18"/>
                    <a:pt x="117" y="17"/>
                    <a:pt x="114" y="14"/>
                  </a:cubicBezTo>
                  <a:cubicBezTo>
                    <a:pt x="110" y="10"/>
                    <a:pt x="109" y="10"/>
                    <a:pt x="107" y="7"/>
                  </a:cubicBezTo>
                  <a:cubicBezTo>
                    <a:pt x="105" y="3"/>
                    <a:pt x="103" y="1"/>
                    <a:pt x="98" y="0"/>
                  </a:cubicBezTo>
                  <a:cubicBezTo>
                    <a:pt x="97" y="0"/>
                    <a:pt x="96" y="0"/>
                    <a:pt x="95" y="0"/>
                  </a:cubicBezTo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2" name="任意多边形: 形状 851"/>
            <p:cNvSpPr/>
            <p:nvPr userDrawn="1"/>
          </p:nvSpPr>
          <p:spPr bwMode="auto">
            <a:xfrm>
              <a:off x="8294558" y="5105400"/>
              <a:ext cx="350838" cy="541338"/>
            </a:xfrm>
            <a:custGeom>
              <a:avLst/>
              <a:gdLst>
                <a:gd name="T0" fmla="*/ 86 w 106"/>
                <a:gd name="T1" fmla="*/ 0 h 164"/>
                <a:gd name="T2" fmla="*/ 64 w 106"/>
                <a:gd name="T3" fmla="*/ 10 h 164"/>
                <a:gd name="T4" fmla="*/ 42 w 106"/>
                <a:gd name="T5" fmla="*/ 25 h 164"/>
                <a:gd name="T6" fmla="*/ 8 w 106"/>
                <a:gd name="T7" fmla="*/ 53 h 164"/>
                <a:gd name="T8" fmla="*/ 1 w 106"/>
                <a:gd name="T9" fmla="*/ 76 h 164"/>
                <a:gd name="T10" fmla="*/ 5 w 106"/>
                <a:gd name="T11" fmla="*/ 145 h 164"/>
                <a:gd name="T12" fmla="*/ 11 w 106"/>
                <a:gd name="T13" fmla="*/ 162 h 164"/>
                <a:gd name="T14" fmla="*/ 15 w 106"/>
                <a:gd name="T15" fmla="*/ 163 h 164"/>
                <a:gd name="T16" fmla="*/ 27 w 106"/>
                <a:gd name="T17" fmla="*/ 161 h 164"/>
                <a:gd name="T18" fmla="*/ 34 w 106"/>
                <a:gd name="T19" fmla="*/ 134 h 164"/>
                <a:gd name="T20" fmla="*/ 37 w 106"/>
                <a:gd name="T21" fmla="*/ 88 h 164"/>
                <a:gd name="T22" fmla="*/ 35 w 106"/>
                <a:gd name="T23" fmla="*/ 70 h 164"/>
                <a:gd name="T24" fmla="*/ 38 w 106"/>
                <a:gd name="T25" fmla="*/ 66 h 164"/>
                <a:gd name="T26" fmla="*/ 55 w 106"/>
                <a:gd name="T27" fmla="*/ 56 h 164"/>
                <a:gd name="T28" fmla="*/ 65 w 106"/>
                <a:gd name="T29" fmla="*/ 49 h 164"/>
                <a:gd name="T30" fmla="*/ 65 w 106"/>
                <a:gd name="T31" fmla="*/ 49 h 164"/>
                <a:gd name="T32" fmla="*/ 65 w 106"/>
                <a:gd name="T33" fmla="*/ 49 h 164"/>
                <a:gd name="T34" fmla="*/ 65 w 106"/>
                <a:gd name="T35" fmla="*/ 49 h 164"/>
                <a:gd name="T36" fmla="*/ 65 w 106"/>
                <a:gd name="T37" fmla="*/ 49 h 164"/>
                <a:gd name="T38" fmla="*/ 65 w 106"/>
                <a:gd name="T39" fmla="*/ 49 h 164"/>
                <a:gd name="T40" fmla="*/ 74 w 106"/>
                <a:gd name="T41" fmla="*/ 43 h 164"/>
                <a:gd name="T42" fmla="*/ 106 w 106"/>
                <a:gd name="T43" fmla="*/ 19 h 164"/>
                <a:gd name="T44" fmla="*/ 103 w 106"/>
                <a:gd name="T45" fmla="*/ 12 h 164"/>
                <a:gd name="T46" fmla="*/ 96 w 106"/>
                <a:gd name="T47" fmla="*/ 5 h 164"/>
                <a:gd name="T48" fmla="*/ 86 w 106"/>
                <a:gd name="T4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" h="164">
                  <a:moveTo>
                    <a:pt x="86" y="0"/>
                  </a:moveTo>
                  <a:cubicBezTo>
                    <a:pt x="81" y="0"/>
                    <a:pt x="77" y="3"/>
                    <a:pt x="64" y="10"/>
                  </a:cubicBezTo>
                  <a:cubicBezTo>
                    <a:pt x="52" y="17"/>
                    <a:pt x="54" y="17"/>
                    <a:pt x="42" y="25"/>
                  </a:cubicBezTo>
                  <a:cubicBezTo>
                    <a:pt x="16" y="42"/>
                    <a:pt x="11" y="48"/>
                    <a:pt x="8" y="53"/>
                  </a:cubicBezTo>
                  <a:cubicBezTo>
                    <a:pt x="2" y="65"/>
                    <a:pt x="2" y="70"/>
                    <a:pt x="1" y="76"/>
                  </a:cubicBezTo>
                  <a:cubicBezTo>
                    <a:pt x="1" y="77"/>
                    <a:pt x="0" y="118"/>
                    <a:pt x="5" y="145"/>
                  </a:cubicBezTo>
                  <a:cubicBezTo>
                    <a:pt x="7" y="160"/>
                    <a:pt x="7" y="160"/>
                    <a:pt x="11" y="162"/>
                  </a:cubicBezTo>
                  <a:cubicBezTo>
                    <a:pt x="13" y="163"/>
                    <a:pt x="16" y="163"/>
                    <a:pt x="15" y="163"/>
                  </a:cubicBezTo>
                  <a:cubicBezTo>
                    <a:pt x="19" y="164"/>
                    <a:pt x="22" y="164"/>
                    <a:pt x="27" y="161"/>
                  </a:cubicBezTo>
                  <a:cubicBezTo>
                    <a:pt x="31" y="160"/>
                    <a:pt x="32" y="159"/>
                    <a:pt x="34" y="134"/>
                  </a:cubicBezTo>
                  <a:cubicBezTo>
                    <a:pt x="36" y="103"/>
                    <a:pt x="39" y="95"/>
                    <a:pt x="37" y="88"/>
                  </a:cubicBezTo>
                  <a:cubicBezTo>
                    <a:pt x="35" y="82"/>
                    <a:pt x="32" y="78"/>
                    <a:pt x="35" y="70"/>
                  </a:cubicBezTo>
                  <a:cubicBezTo>
                    <a:pt x="35" y="69"/>
                    <a:pt x="37" y="67"/>
                    <a:pt x="38" y="66"/>
                  </a:cubicBezTo>
                  <a:cubicBezTo>
                    <a:pt x="47" y="58"/>
                    <a:pt x="51" y="58"/>
                    <a:pt x="55" y="56"/>
                  </a:cubicBezTo>
                  <a:cubicBezTo>
                    <a:pt x="58" y="54"/>
                    <a:pt x="64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74" y="43"/>
                    <a:pt x="74" y="43"/>
                  </a:cubicBezTo>
                  <a:cubicBezTo>
                    <a:pt x="100" y="24"/>
                    <a:pt x="106" y="27"/>
                    <a:pt x="106" y="19"/>
                  </a:cubicBezTo>
                  <a:cubicBezTo>
                    <a:pt x="106" y="17"/>
                    <a:pt x="105" y="16"/>
                    <a:pt x="103" y="12"/>
                  </a:cubicBezTo>
                  <a:cubicBezTo>
                    <a:pt x="100" y="6"/>
                    <a:pt x="99" y="7"/>
                    <a:pt x="96" y="5"/>
                  </a:cubicBezTo>
                  <a:cubicBezTo>
                    <a:pt x="91" y="1"/>
                    <a:pt x="89" y="0"/>
                    <a:pt x="86" y="0"/>
                  </a:cubicBezTo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3" name="任意多边形: 形状 852"/>
            <p:cNvSpPr/>
            <p:nvPr userDrawn="1"/>
          </p:nvSpPr>
          <p:spPr bwMode="auto">
            <a:xfrm>
              <a:off x="8519983" y="4710112"/>
              <a:ext cx="425450" cy="593725"/>
            </a:xfrm>
            <a:custGeom>
              <a:avLst/>
              <a:gdLst>
                <a:gd name="T0" fmla="*/ 129 w 129"/>
                <a:gd name="T1" fmla="*/ 102 h 180"/>
                <a:gd name="T2" fmla="*/ 127 w 129"/>
                <a:gd name="T3" fmla="*/ 79 h 180"/>
                <a:gd name="T4" fmla="*/ 126 w 129"/>
                <a:gd name="T5" fmla="*/ 78 h 180"/>
                <a:gd name="T6" fmla="*/ 126 w 129"/>
                <a:gd name="T7" fmla="*/ 76 h 180"/>
                <a:gd name="T8" fmla="*/ 126 w 129"/>
                <a:gd name="T9" fmla="*/ 76 h 180"/>
                <a:gd name="T10" fmla="*/ 126 w 129"/>
                <a:gd name="T11" fmla="*/ 76 h 180"/>
                <a:gd name="T12" fmla="*/ 126 w 129"/>
                <a:gd name="T13" fmla="*/ 76 h 180"/>
                <a:gd name="T14" fmla="*/ 126 w 129"/>
                <a:gd name="T15" fmla="*/ 76 h 180"/>
                <a:gd name="T16" fmla="*/ 126 w 129"/>
                <a:gd name="T17" fmla="*/ 76 h 180"/>
                <a:gd name="T18" fmla="*/ 98 w 129"/>
                <a:gd name="T19" fmla="*/ 26 h 180"/>
                <a:gd name="T20" fmla="*/ 83 w 129"/>
                <a:gd name="T21" fmla="*/ 18 h 180"/>
                <a:gd name="T22" fmla="*/ 64 w 129"/>
                <a:gd name="T23" fmla="*/ 13 h 180"/>
                <a:gd name="T24" fmla="*/ 62 w 129"/>
                <a:gd name="T25" fmla="*/ 8 h 180"/>
                <a:gd name="T26" fmla="*/ 59 w 129"/>
                <a:gd name="T27" fmla="*/ 5 h 180"/>
                <a:gd name="T28" fmla="*/ 53 w 129"/>
                <a:gd name="T29" fmla="*/ 2 h 180"/>
                <a:gd name="T30" fmla="*/ 47 w 129"/>
                <a:gd name="T31" fmla="*/ 0 h 180"/>
                <a:gd name="T32" fmla="*/ 45 w 129"/>
                <a:gd name="T33" fmla="*/ 0 h 180"/>
                <a:gd name="T34" fmla="*/ 27 w 129"/>
                <a:gd name="T35" fmla="*/ 11 h 180"/>
                <a:gd name="T36" fmla="*/ 12 w 129"/>
                <a:gd name="T37" fmla="*/ 37 h 180"/>
                <a:gd name="T38" fmla="*/ 2 w 129"/>
                <a:gd name="T39" fmla="*/ 59 h 180"/>
                <a:gd name="T40" fmla="*/ 2 w 129"/>
                <a:gd name="T41" fmla="*/ 67 h 180"/>
                <a:gd name="T42" fmla="*/ 4 w 129"/>
                <a:gd name="T43" fmla="*/ 69 h 180"/>
                <a:gd name="T44" fmla="*/ 20 w 129"/>
                <a:gd name="T45" fmla="*/ 80 h 180"/>
                <a:gd name="T46" fmla="*/ 22 w 129"/>
                <a:gd name="T47" fmla="*/ 82 h 180"/>
                <a:gd name="T48" fmla="*/ 10 w 129"/>
                <a:gd name="T49" fmla="*/ 116 h 180"/>
                <a:gd name="T50" fmla="*/ 4 w 129"/>
                <a:gd name="T51" fmla="*/ 129 h 180"/>
                <a:gd name="T52" fmla="*/ 4 w 129"/>
                <a:gd name="T53" fmla="*/ 129 h 180"/>
                <a:gd name="T54" fmla="*/ 3 w 129"/>
                <a:gd name="T55" fmla="*/ 133 h 180"/>
                <a:gd name="T56" fmla="*/ 3 w 129"/>
                <a:gd name="T57" fmla="*/ 133 h 180"/>
                <a:gd name="T58" fmla="*/ 3 w 129"/>
                <a:gd name="T59" fmla="*/ 139 h 180"/>
                <a:gd name="T60" fmla="*/ 17 w 129"/>
                <a:gd name="T61" fmla="*/ 150 h 180"/>
                <a:gd name="T62" fmla="*/ 29 w 129"/>
                <a:gd name="T63" fmla="*/ 157 h 180"/>
                <a:gd name="T64" fmla="*/ 48 w 129"/>
                <a:gd name="T65" fmla="*/ 169 h 180"/>
                <a:gd name="T66" fmla="*/ 56 w 129"/>
                <a:gd name="T67" fmla="*/ 173 h 180"/>
                <a:gd name="T68" fmla="*/ 56 w 129"/>
                <a:gd name="T69" fmla="*/ 173 h 180"/>
                <a:gd name="T70" fmla="*/ 68 w 129"/>
                <a:gd name="T71" fmla="*/ 179 h 180"/>
                <a:gd name="T72" fmla="*/ 86 w 129"/>
                <a:gd name="T73" fmla="*/ 171 h 180"/>
                <a:gd name="T74" fmla="*/ 89 w 129"/>
                <a:gd name="T75" fmla="*/ 169 h 180"/>
                <a:gd name="T76" fmla="*/ 93 w 129"/>
                <a:gd name="T77" fmla="*/ 163 h 180"/>
                <a:gd name="T78" fmla="*/ 100 w 129"/>
                <a:gd name="T79" fmla="*/ 144 h 180"/>
                <a:gd name="T80" fmla="*/ 100 w 129"/>
                <a:gd name="T81" fmla="*/ 142 h 180"/>
                <a:gd name="T82" fmla="*/ 101 w 129"/>
                <a:gd name="T83" fmla="*/ 137 h 180"/>
                <a:gd name="T84" fmla="*/ 102 w 129"/>
                <a:gd name="T85" fmla="*/ 111 h 180"/>
                <a:gd name="T86" fmla="*/ 103 w 129"/>
                <a:gd name="T87" fmla="*/ 110 h 180"/>
                <a:gd name="T88" fmla="*/ 108 w 129"/>
                <a:gd name="T89" fmla="*/ 110 h 180"/>
                <a:gd name="T90" fmla="*/ 115 w 129"/>
                <a:gd name="T91" fmla="*/ 110 h 180"/>
                <a:gd name="T92" fmla="*/ 124 w 129"/>
                <a:gd name="T93" fmla="*/ 108 h 180"/>
                <a:gd name="T94" fmla="*/ 129 w 129"/>
                <a:gd name="T95" fmla="*/ 10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" h="180">
                  <a:moveTo>
                    <a:pt x="129" y="102"/>
                  </a:moveTo>
                  <a:cubicBezTo>
                    <a:pt x="129" y="98"/>
                    <a:pt x="127" y="79"/>
                    <a:pt x="127" y="79"/>
                  </a:cubicBezTo>
                  <a:cubicBezTo>
                    <a:pt x="127" y="79"/>
                    <a:pt x="126" y="78"/>
                    <a:pt x="126" y="78"/>
                  </a:cubicBezTo>
                  <a:cubicBezTo>
                    <a:pt x="126" y="77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4" y="37"/>
                    <a:pt x="116" y="41"/>
                    <a:pt x="98" y="26"/>
                  </a:cubicBezTo>
                  <a:cubicBezTo>
                    <a:pt x="92" y="22"/>
                    <a:pt x="88" y="21"/>
                    <a:pt x="83" y="18"/>
                  </a:cubicBezTo>
                  <a:cubicBezTo>
                    <a:pt x="74" y="12"/>
                    <a:pt x="67" y="25"/>
                    <a:pt x="64" y="13"/>
                  </a:cubicBezTo>
                  <a:cubicBezTo>
                    <a:pt x="65" y="11"/>
                    <a:pt x="64" y="9"/>
                    <a:pt x="62" y="8"/>
                  </a:cubicBezTo>
                  <a:cubicBezTo>
                    <a:pt x="61" y="7"/>
                    <a:pt x="60" y="6"/>
                    <a:pt x="59" y="5"/>
                  </a:cubicBezTo>
                  <a:cubicBezTo>
                    <a:pt x="56" y="4"/>
                    <a:pt x="56" y="4"/>
                    <a:pt x="53" y="2"/>
                  </a:cubicBezTo>
                  <a:cubicBezTo>
                    <a:pt x="51" y="1"/>
                    <a:pt x="49" y="1"/>
                    <a:pt x="47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38" y="0"/>
                    <a:pt x="31" y="5"/>
                    <a:pt x="27" y="11"/>
                  </a:cubicBezTo>
                  <a:cubicBezTo>
                    <a:pt x="20" y="19"/>
                    <a:pt x="20" y="23"/>
                    <a:pt x="12" y="37"/>
                  </a:cubicBezTo>
                  <a:cubicBezTo>
                    <a:pt x="4" y="51"/>
                    <a:pt x="5" y="51"/>
                    <a:pt x="2" y="59"/>
                  </a:cubicBezTo>
                  <a:cubicBezTo>
                    <a:pt x="0" y="63"/>
                    <a:pt x="1" y="65"/>
                    <a:pt x="2" y="67"/>
                  </a:cubicBezTo>
                  <a:cubicBezTo>
                    <a:pt x="2" y="67"/>
                    <a:pt x="3" y="68"/>
                    <a:pt x="4" y="69"/>
                  </a:cubicBezTo>
                  <a:cubicBezTo>
                    <a:pt x="10" y="76"/>
                    <a:pt x="16" y="79"/>
                    <a:pt x="20" y="80"/>
                  </a:cubicBezTo>
                  <a:cubicBezTo>
                    <a:pt x="21" y="81"/>
                    <a:pt x="22" y="81"/>
                    <a:pt x="22" y="82"/>
                  </a:cubicBezTo>
                  <a:cubicBezTo>
                    <a:pt x="23" y="85"/>
                    <a:pt x="12" y="109"/>
                    <a:pt x="10" y="116"/>
                  </a:cubicBezTo>
                  <a:cubicBezTo>
                    <a:pt x="8" y="120"/>
                    <a:pt x="5" y="124"/>
                    <a:pt x="4" y="129"/>
                  </a:cubicBezTo>
                  <a:cubicBezTo>
                    <a:pt x="4" y="129"/>
                    <a:pt x="4" y="129"/>
                    <a:pt x="4" y="129"/>
                  </a:cubicBezTo>
                  <a:cubicBezTo>
                    <a:pt x="3" y="130"/>
                    <a:pt x="3" y="132"/>
                    <a:pt x="3" y="133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3" y="135"/>
                    <a:pt x="3" y="137"/>
                    <a:pt x="3" y="139"/>
                  </a:cubicBezTo>
                  <a:cubicBezTo>
                    <a:pt x="4" y="144"/>
                    <a:pt x="12" y="148"/>
                    <a:pt x="17" y="150"/>
                  </a:cubicBezTo>
                  <a:cubicBezTo>
                    <a:pt x="17" y="150"/>
                    <a:pt x="22" y="153"/>
                    <a:pt x="29" y="157"/>
                  </a:cubicBezTo>
                  <a:cubicBezTo>
                    <a:pt x="35" y="161"/>
                    <a:pt x="43" y="166"/>
                    <a:pt x="48" y="169"/>
                  </a:cubicBezTo>
                  <a:cubicBezTo>
                    <a:pt x="54" y="171"/>
                    <a:pt x="56" y="173"/>
                    <a:pt x="56" y="173"/>
                  </a:cubicBezTo>
                  <a:cubicBezTo>
                    <a:pt x="56" y="173"/>
                    <a:pt x="56" y="173"/>
                    <a:pt x="56" y="173"/>
                  </a:cubicBezTo>
                  <a:cubicBezTo>
                    <a:pt x="58" y="175"/>
                    <a:pt x="67" y="179"/>
                    <a:pt x="68" y="179"/>
                  </a:cubicBezTo>
                  <a:cubicBezTo>
                    <a:pt x="72" y="180"/>
                    <a:pt x="80" y="177"/>
                    <a:pt x="86" y="171"/>
                  </a:cubicBezTo>
                  <a:cubicBezTo>
                    <a:pt x="87" y="170"/>
                    <a:pt x="88" y="169"/>
                    <a:pt x="89" y="169"/>
                  </a:cubicBezTo>
                  <a:cubicBezTo>
                    <a:pt x="91" y="167"/>
                    <a:pt x="91" y="166"/>
                    <a:pt x="93" y="163"/>
                  </a:cubicBezTo>
                  <a:cubicBezTo>
                    <a:pt x="99" y="156"/>
                    <a:pt x="100" y="148"/>
                    <a:pt x="100" y="144"/>
                  </a:cubicBezTo>
                  <a:cubicBezTo>
                    <a:pt x="100" y="143"/>
                    <a:pt x="100" y="143"/>
                    <a:pt x="100" y="142"/>
                  </a:cubicBezTo>
                  <a:cubicBezTo>
                    <a:pt x="100" y="142"/>
                    <a:pt x="101" y="137"/>
                    <a:pt x="101" y="137"/>
                  </a:cubicBezTo>
                  <a:cubicBezTo>
                    <a:pt x="103" y="117"/>
                    <a:pt x="103" y="122"/>
                    <a:pt x="102" y="111"/>
                  </a:cubicBezTo>
                  <a:cubicBezTo>
                    <a:pt x="102" y="110"/>
                    <a:pt x="102" y="109"/>
                    <a:pt x="103" y="110"/>
                  </a:cubicBezTo>
                  <a:cubicBezTo>
                    <a:pt x="104" y="110"/>
                    <a:pt x="105" y="110"/>
                    <a:pt x="108" y="110"/>
                  </a:cubicBezTo>
                  <a:cubicBezTo>
                    <a:pt x="110" y="111"/>
                    <a:pt x="113" y="110"/>
                    <a:pt x="115" y="110"/>
                  </a:cubicBezTo>
                  <a:cubicBezTo>
                    <a:pt x="119" y="109"/>
                    <a:pt x="122" y="109"/>
                    <a:pt x="124" y="108"/>
                  </a:cubicBezTo>
                  <a:cubicBezTo>
                    <a:pt x="127" y="107"/>
                    <a:pt x="129" y="106"/>
                    <a:pt x="129" y="102"/>
                  </a:cubicBezTo>
                  <a:close/>
                </a:path>
              </a:pathLst>
            </a:custGeom>
            <a:solidFill>
              <a:srgbClr val="96B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4" name="任意多边形: 形状 853"/>
            <p:cNvSpPr/>
            <p:nvPr userDrawn="1"/>
          </p:nvSpPr>
          <p:spPr bwMode="auto">
            <a:xfrm>
              <a:off x="8691433" y="4608512"/>
              <a:ext cx="125413" cy="217488"/>
            </a:xfrm>
            <a:custGeom>
              <a:avLst/>
              <a:gdLst>
                <a:gd name="T0" fmla="*/ 34 w 38"/>
                <a:gd name="T1" fmla="*/ 0 h 66"/>
                <a:gd name="T2" fmla="*/ 31 w 38"/>
                <a:gd name="T3" fmla="*/ 2 h 66"/>
                <a:gd name="T4" fmla="*/ 19 w 38"/>
                <a:gd name="T5" fmla="*/ 13 h 66"/>
                <a:gd name="T6" fmla="*/ 1 w 38"/>
                <a:gd name="T7" fmla="*/ 23 h 66"/>
                <a:gd name="T8" fmla="*/ 2 w 38"/>
                <a:gd name="T9" fmla="*/ 29 h 66"/>
                <a:gd name="T10" fmla="*/ 5 w 38"/>
                <a:gd name="T11" fmla="*/ 42 h 66"/>
                <a:gd name="T12" fmla="*/ 5 w 38"/>
                <a:gd name="T13" fmla="*/ 42 h 66"/>
                <a:gd name="T14" fmla="*/ 6 w 38"/>
                <a:gd name="T15" fmla="*/ 53 h 66"/>
                <a:gd name="T16" fmla="*/ 6 w 38"/>
                <a:gd name="T17" fmla="*/ 61 h 66"/>
                <a:gd name="T18" fmla="*/ 28 w 38"/>
                <a:gd name="T19" fmla="*/ 64 h 66"/>
                <a:gd name="T20" fmla="*/ 31 w 38"/>
                <a:gd name="T21" fmla="*/ 63 h 66"/>
                <a:gd name="T22" fmla="*/ 36 w 38"/>
                <a:gd name="T23" fmla="*/ 60 h 66"/>
                <a:gd name="T24" fmla="*/ 35 w 38"/>
                <a:gd name="T25" fmla="*/ 55 h 66"/>
                <a:gd name="T26" fmla="*/ 35 w 38"/>
                <a:gd name="T27" fmla="*/ 34 h 66"/>
                <a:gd name="T28" fmla="*/ 35 w 38"/>
                <a:gd name="T29" fmla="*/ 34 h 66"/>
                <a:gd name="T30" fmla="*/ 37 w 38"/>
                <a:gd name="T31" fmla="*/ 6 h 66"/>
                <a:gd name="T32" fmla="*/ 34 w 38"/>
                <a:gd name="T3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66">
                  <a:moveTo>
                    <a:pt x="34" y="0"/>
                  </a:moveTo>
                  <a:cubicBezTo>
                    <a:pt x="32" y="0"/>
                    <a:pt x="31" y="1"/>
                    <a:pt x="31" y="2"/>
                  </a:cubicBezTo>
                  <a:cubicBezTo>
                    <a:pt x="27" y="6"/>
                    <a:pt x="21" y="12"/>
                    <a:pt x="19" y="13"/>
                  </a:cubicBezTo>
                  <a:cubicBezTo>
                    <a:pt x="13" y="18"/>
                    <a:pt x="3" y="20"/>
                    <a:pt x="1" y="23"/>
                  </a:cubicBezTo>
                  <a:cubicBezTo>
                    <a:pt x="0" y="25"/>
                    <a:pt x="0" y="27"/>
                    <a:pt x="2" y="29"/>
                  </a:cubicBezTo>
                  <a:cubicBezTo>
                    <a:pt x="3" y="33"/>
                    <a:pt x="4" y="38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4"/>
                    <a:pt x="6" y="52"/>
                    <a:pt x="6" y="53"/>
                  </a:cubicBezTo>
                  <a:cubicBezTo>
                    <a:pt x="5" y="58"/>
                    <a:pt x="5" y="58"/>
                    <a:pt x="6" y="61"/>
                  </a:cubicBezTo>
                  <a:cubicBezTo>
                    <a:pt x="8" y="66"/>
                    <a:pt x="23" y="65"/>
                    <a:pt x="28" y="64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5" y="63"/>
                    <a:pt x="36" y="60"/>
                  </a:cubicBezTo>
                  <a:cubicBezTo>
                    <a:pt x="36" y="58"/>
                    <a:pt x="36" y="58"/>
                    <a:pt x="35" y="55"/>
                  </a:cubicBezTo>
                  <a:cubicBezTo>
                    <a:pt x="33" y="43"/>
                    <a:pt x="34" y="38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8" y="10"/>
                    <a:pt x="37" y="13"/>
                    <a:pt x="37" y="6"/>
                  </a:cubicBezTo>
                  <a:cubicBezTo>
                    <a:pt x="38" y="4"/>
                    <a:pt x="38" y="0"/>
                    <a:pt x="34" y="0"/>
                  </a:cubicBezTo>
                </a:path>
              </a:pathLst>
            </a:custGeom>
            <a:solidFill>
              <a:srgbClr val="D29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5" name="任意多边形: 形状 854"/>
            <p:cNvSpPr/>
            <p:nvPr userDrawn="1"/>
          </p:nvSpPr>
          <p:spPr bwMode="auto">
            <a:xfrm>
              <a:off x="8453308" y="4930775"/>
              <a:ext cx="131763" cy="330200"/>
            </a:xfrm>
            <a:custGeom>
              <a:avLst/>
              <a:gdLst>
                <a:gd name="T0" fmla="*/ 40 w 40"/>
                <a:gd name="T1" fmla="*/ 13 h 100"/>
                <a:gd name="T2" fmla="*/ 32 w 40"/>
                <a:gd name="T3" fmla="*/ 30 h 100"/>
                <a:gd name="T4" fmla="*/ 27 w 40"/>
                <a:gd name="T5" fmla="*/ 49 h 100"/>
                <a:gd name="T6" fmla="*/ 24 w 40"/>
                <a:gd name="T7" fmla="*/ 62 h 100"/>
                <a:gd name="T8" fmla="*/ 24 w 40"/>
                <a:gd name="T9" fmla="*/ 62 h 100"/>
                <a:gd name="T10" fmla="*/ 23 w 40"/>
                <a:gd name="T11" fmla="*/ 66 h 100"/>
                <a:gd name="T12" fmla="*/ 23 w 40"/>
                <a:gd name="T13" fmla="*/ 66 h 100"/>
                <a:gd name="T14" fmla="*/ 19 w 40"/>
                <a:gd name="T15" fmla="*/ 82 h 100"/>
                <a:gd name="T16" fmla="*/ 2 w 40"/>
                <a:gd name="T17" fmla="*/ 96 h 100"/>
                <a:gd name="T18" fmla="*/ 3 w 40"/>
                <a:gd name="T19" fmla="*/ 73 h 100"/>
                <a:gd name="T20" fmla="*/ 5 w 40"/>
                <a:gd name="T21" fmla="*/ 70 h 100"/>
                <a:gd name="T22" fmla="*/ 11 w 40"/>
                <a:gd name="T23" fmla="*/ 47 h 100"/>
                <a:gd name="T24" fmla="*/ 13 w 40"/>
                <a:gd name="T25" fmla="*/ 36 h 100"/>
                <a:gd name="T26" fmla="*/ 14 w 40"/>
                <a:gd name="T27" fmla="*/ 30 h 100"/>
                <a:gd name="T28" fmla="*/ 15 w 40"/>
                <a:gd name="T29" fmla="*/ 21 h 100"/>
                <a:gd name="T30" fmla="*/ 15 w 40"/>
                <a:gd name="T31" fmla="*/ 21 h 100"/>
                <a:gd name="T32" fmla="*/ 15 w 40"/>
                <a:gd name="T33" fmla="*/ 21 h 100"/>
                <a:gd name="T34" fmla="*/ 16 w 40"/>
                <a:gd name="T35" fmla="*/ 17 h 100"/>
                <a:gd name="T36" fmla="*/ 22 w 40"/>
                <a:gd name="T37" fmla="*/ 0 h 100"/>
                <a:gd name="T38" fmla="*/ 24 w 40"/>
                <a:gd name="T39" fmla="*/ 2 h 100"/>
                <a:gd name="T40" fmla="*/ 40 w 40"/>
                <a:gd name="T41" fmla="*/ 1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00">
                  <a:moveTo>
                    <a:pt x="40" y="13"/>
                  </a:moveTo>
                  <a:cubicBezTo>
                    <a:pt x="37" y="17"/>
                    <a:pt x="35" y="19"/>
                    <a:pt x="32" y="30"/>
                  </a:cubicBezTo>
                  <a:cubicBezTo>
                    <a:pt x="29" y="42"/>
                    <a:pt x="31" y="37"/>
                    <a:pt x="27" y="49"/>
                  </a:cubicBezTo>
                  <a:cubicBezTo>
                    <a:pt x="26" y="54"/>
                    <a:pt x="25" y="58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3" y="63"/>
                    <a:pt x="23" y="65"/>
                    <a:pt x="23" y="66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2" y="73"/>
                    <a:pt x="21" y="77"/>
                    <a:pt x="19" y="82"/>
                  </a:cubicBezTo>
                  <a:cubicBezTo>
                    <a:pt x="12" y="98"/>
                    <a:pt x="4" y="100"/>
                    <a:pt x="2" y="96"/>
                  </a:cubicBezTo>
                  <a:cubicBezTo>
                    <a:pt x="0" y="91"/>
                    <a:pt x="1" y="77"/>
                    <a:pt x="3" y="73"/>
                  </a:cubicBezTo>
                  <a:cubicBezTo>
                    <a:pt x="3" y="73"/>
                    <a:pt x="4" y="71"/>
                    <a:pt x="5" y="70"/>
                  </a:cubicBezTo>
                  <a:cubicBezTo>
                    <a:pt x="6" y="67"/>
                    <a:pt x="10" y="54"/>
                    <a:pt x="11" y="47"/>
                  </a:cubicBezTo>
                  <a:cubicBezTo>
                    <a:pt x="11" y="47"/>
                    <a:pt x="12" y="43"/>
                    <a:pt x="13" y="36"/>
                  </a:cubicBezTo>
                  <a:cubicBezTo>
                    <a:pt x="14" y="31"/>
                    <a:pt x="13" y="32"/>
                    <a:pt x="14" y="30"/>
                  </a:cubicBezTo>
                  <a:cubicBezTo>
                    <a:pt x="14" y="27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6" y="18"/>
                    <a:pt x="16" y="17"/>
                  </a:cubicBezTo>
                  <a:cubicBezTo>
                    <a:pt x="16" y="10"/>
                    <a:pt x="19" y="4"/>
                    <a:pt x="22" y="0"/>
                  </a:cubicBezTo>
                  <a:cubicBezTo>
                    <a:pt x="22" y="0"/>
                    <a:pt x="23" y="1"/>
                    <a:pt x="24" y="2"/>
                  </a:cubicBezTo>
                  <a:cubicBezTo>
                    <a:pt x="30" y="9"/>
                    <a:pt x="36" y="12"/>
                    <a:pt x="40" y="13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6" name="任意多边形: 形状 855"/>
            <p:cNvSpPr/>
            <p:nvPr userDrawn="1"/>
          </p:nvSpPr>
          <p:spPr bwMode="auto">
            <a:xfrm>
              <a:off x="8608883" y="4525962"/>
              <a:ext cx="198438" cy="280988"/>
            </a:xfrm>
            <a:custGeom>
              <a:avLst/>
              <a:gdLst>
                <a:gd name="T0" fmla="*/ 29 w 60"/>
                <a:gd name="T1" fmla="*/ 0 h 85"/>
                <a:gd name="T2" fmla="*/ 14 w 60"/>
                <a:gd name="T3" fmla="*/ 7 h 85"/>
                <a:gd name="T4" fmla="*/ 19 w 60"/>
                <a:gd name="T5" fmla="*/ 72 h 85"/>
                <a:gd name="T6" fmla="*/ 37 w 60"/>
                <a:gd name="T7" fmla="*/ 75 h 85"/>
                <a:gd name="T8" fmla="*/ 44 w 60"/>
                <a:gd name="T9" fmla="*/ 70 h 85"/>
                <a:gd name="T10" fmla="*/ 57 w 60"/>
                <a:gd name="T11" fmla="*/ 25 h 85"/>
                <a:gd name="T12" fmla="*/ 42 w 60"/>
                <a:gd name="T13" fmla="*/ 4 h 85"/>
                <a:gd name="T14" fmla="*/ 29 w 60"/>
                <a:gd name="T1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85">
                  <a:moveTo>
                    <a:pt x="29" y="0"/>
                  </a:moveTo>
                  <a:cubicBezTo>
                    <a:pt x="24" y="0"/>
                    <a:pt x="17" y="4"/>
                    <a:pt x="14" y="7"/>
                  </a:cubicBezTo>
                  <a:cubicBezTo>
                    <a:pt x="7" y="16"/>
                    <a:pt x="0" y="47"/>
                    <a:pt x="19" y="72"/>
                  </a:cubicBezTo>
                  <a:cubicBezTo>
                    <a:pt x="21" y="75"/>
                    <a:pt x="25" y="85"/>
                    <a:pt x="37" y="75"/>
                  </a:cubicBezTo>
                  <a:cubicBezTo>
                    <a:pt x="39" y="74"/>
                    <a:pt x="44" y="69"/>
                    <a:pt x="44" y="70"/>
                  </a:cubicBezTo>
                  <a:cubicBezTo>
                    <a:pt x="55" y="59"/>
                    <a:pt x="60" y="40"/>
                    <a:pt x="57" y="25"/>
                  </a:cubicBezTo>
                  <a:cubicBezTo>
                    <a:pt x="54" y="14"/>
                    <a:pt x="49" y="9"/>
                    <a:pt x="42" y="4"/>
                  </a:cubicBezTo>
                  <a:cubicBezTo>
                    <a:pt x="38" y="2"/>
                    <a:pt x="33" y="0"/>
                    <a:pt x="29" y="0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7" name="任意多边形: 形状 856"/>
            <p:cNvSpPr/>
            <p:nvPr userDrawn="1"/>
          </p:nvSpPr>
          <p:spPr bwMode="auto">
            <a:xfrm>
              <a:off x="8621583" y="4476750"/>
              <a:ext cx="241300" cy="276225"/>
            </a:xfrm>
            <a:custGeom>
              <a:avLst/>
              <a:gdLst>
                <a:gd name="T0" fmla="*/ 34 w 73"/>
                <a:gd name="T1" fmla="*/ 0 h 84"/>
                <a:gd name="T2" fmla="*/ 17 w 73"/>
                <a:gd name="T3" fmla="*/ 6 h 84"/>
                <a:gd name="T4" fmla="*/ 1 w 73"/>
                <a:gd name="T5" fmla="*/ 21 h 84"/>
                <a:gd name="T6" fmla="*/ 0 w 73"/>
                <a:gd name="T7" fmla="*/ 25 h 84"/>
                <a:gd name="T8" fmla="*/ 3 w 73"/>
                <a:gd name="T9" fmla="*/ 32 h 84"/>
                <a:gd name="T10" fmla="*/ 7 w 73"/>
                <a:gd name="T11" fmla="*/ 35 h 84"/>
                <a:gd name="T12" fmla="*/ 12 w 73"/>
                <a:gd name="T13" fmla="*/ 36 h 84"/>
                <a:gd name="T14" fmla="*/ 34 w 73"/>
                <a:gd name="T15" fmla="*/ 32 h 84"/>
                <a:gd name="T16" fmla="*/ 37 w 73"/>
                <a:gd name="T17" fmla="*/ 33 h 84"/>
                <a:gd name="T18" fmla="*/ 43 w 73"/>
                <a:gd name="T19" fmla="*/ 41 h 84"/>
                <a:gd name="T20" fmla="*/ 43 w 73"/>
                <a:gd name="T21" fmla="*/ 41 h 84"/>
                <a:gd name="T22" fmla="*/ 46 w 73"/>
                <a:gd name="T23" fmla="*/ 84 h 84"/>
                <a:gd name="T24" fmla="*/ 61 w 73"/>
                <a:gd name="T25" fmla="*/ 70 h 84"/>
                <a:gd name="T26" fmla="*/ 66 w 73"/>
                <a:gd name="T27" fmla="*/ 21 h 84"/>
                <a:gd name="T28" fmla="*/ 42 w 73"/>
                <a:gd name="T29" fmla="*/ 1 h 84"/>
                <a:gd name="T30" fmla="*/ 34 w 73"/>
                <a:gd name="T31" fmla="*/ 0 h 84"/>
                <a:gd name="T32" fmla="*/ 34 w 73"/>
                <a:gd name="T3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84">
                  <a:moveTo>
                    <a:pt x="34" y="0"/>
                  </a:moveTo>
                  <a:cubicBezTo>
                    <a:pt x="30" y="0"/>
                    <a:pt x="28" y="0"/>
                    <a:pt x="17" y="6"/>
                  </a:cubicBezTo>
                  <a:cubicBezTo>
                    <a:pt x="13" y="8"/>
                    <a:pt x="2" y="13"/>
                    <a:pt x="1" y="21"/>
                  </a:cubicBezTo>
                  <a:cubicBezTo>
                    <a:pt x="1" y="21"/>
                    <a:pt x="1" y="25"/>
                    <a:pt x="0" y="25"/>
                  </a:cubicBezTo>
                  <a:cubicBezTo>
                    <a:pt x="0" y="26"/>
                    <a:pt x="0" y="30"/>
                    <a:pt x="3" y="32"/>
                  </a:cubicBezTo>
                  <a:cubicBezTo>
                    <a:pt x="4" y="33"/>
                    <a:pt x="5" y="34"/>
                    <a:pt x="7" y="35"/>
                  </a:cubicBezTo>
                  <a:cubicBezTo>
                    <a:pt x="8" y="35"/>
                    <a:pt x="13" y="36"/>
                    <a:pt x="12" y="36"/>
                  </a:cubicBezTo>
                  <a:cubicBezTo>
                    <a:pt x="24" y="38"/>
                    <a:pt x="27" y="31"/>
                    <a:pt x="34" y="32"/>
                  </a:cubicBezTo>
                  <a:cubicBezTo>
                    <a:pt x="35" y="32"/>
                    <a:pt x="36" y="32"/>
                    <a:pt x="37" y="33"/>
                  </a:cubicBezTo>
                  <a:cubicBezTo>
                    <a:pt x="40" y="36"/>
                    <a:pt x="42" y="40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50" y="59"/>
                    <a:pt x="38" y="84"/>
                    <a:pt x="46" y="84"/>
                  </a:cubicBezTo>
                  <a:cubicBezTo>
                    <a:pt x="51" y="84"/>
                    <a:pt x="58" y="74"/>
                    <a:pt x="61" y="70"/>
                  </a:cubicBezTo>
                  <a:cubicBezTo>
                    <a:pt x="68" y="59"/>
                    <a:pt x="73" y="36"/>
                    <a:pt x="66" y="21"/>
                  </a:cubicBezTo>
                  <a:cubicBezTo>
                    <a:pt x="59" y="7"/>
                    <a:pt x="55" y="5"/>
                    <a:pt x="42" y="1"/>
                  </a:cubicBezTo>
                  <a:cubicBezTo>
                    <a:pt x="39" y="0"/>
                    <a:pt x="36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8" name="任意多边形: 形状 857"/>
            <p:cNvSpPr/>
            <p:nvPr userDrawn="1"/>
          </p:nvSpPr>
          <p:spPr bwMode="auto">
            <a:xfrm>
              <a:off x="8743821" y="4648200"/>
              <a:ext cx="49213" cy="68263"/>
            </a:xfrm>
            <a:custGeom>
              <a:avLst/>
              <a:gdLst>
                <a:gd name="T0" fmla="*/ 9 w 15"/>
                <a:gd name="T1" fmla="*/ 1 h 21"/>
                <a:gd name="T2" fmla="*/ 5 w 15"/>
                <a:gd name="T3" fmla="*/ 3 h 21"/>
                <a:gd name="T4" fmla="*/ 3 w 15"/>
                <a:gd name="T5" fmla="*/ 7 h 21"/>
                <a:gd name="T6" fmla="*/ 2 w 15"/>
                <a:gd name="T7" fmla="*/ 11 h 21"/>
                <a:gd name="T8" fmla="*/ 3 w 15"/>
                <a:gd name="T9" fmla="*/ 13 h 21"/>
                <a:gd name="T10" fmla="*/ 8 w 15"/>
                <a:gd name="T11" fmla="*/ 19 h 21"/>
                <a:gd name="T12" fmla="*/ 14 w 15"/>
                <a:gd name="T13" fmla="*/ 4 h 21"/>
                <a:gd name="T14" fmla="*/ 9 w 15"/>
                <a:gd name="T15" fmla="*/ 1 h 21"/>
                <a:gd name="T16" fmla="*/ 15 w 15"/>
                <a:gd name="T17" fmla="*/ 7 h 21"/>
                <a:gd name="T18" fmla="*/ 15 w 15"/>
                <a:gd name="T19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1">
                  <a:moveTo>
                    <a:pt x="9" y="1"/>
                  </a:moveTo>
                  <a:cubicBezTo>
                    <a:pt x="7" y="1"/>
                    <a:pt x="6" y="2"/>
                    <a:pt x="5" y="3"/>
                  </a:cubicBezTo>
                  <a:cubicBezTo>
                    <a:pt x="4" y="4"/>
                    <a:pt x="3" y="5"/>
                    <a:pt x="3" y="7"/>
                  </a:cubicBezTo>
                  <a:cubicBezTo>
                    <a:pt x="2" y="8"/>
                    <a:pt x="2" y="10"/>
                    <a:pt x="2" y="11"/>
                  </a:cubicBezTo>
                  <a:cubicBezTo>
                    <a:pt x="3" y="13"/>
                    <a:pt x="4" y="11"/>
                    <a:pt x="3" y="13"/>
                  </a:cubicBezTo>
                  <a:cubicBezTo>
                    <a:pt x="0" y="17"/>
                    <a:pt x="5" y="21"/>
                    <a:pt x="8" y="19"/>
                  </a:cubicBezTo>
                  <a:cubicBezTo>
                    <a:pt x="13" y="16"/>
                    <a:pt x="15" y="7"/>
                    <a:pt x="14" y="4"/>
                  </a:cubicBezTo>
                  <a:cubicBezTo>
                    <a:pt x="13" y="1"/>
                    <a:pt x="11" y="0"/>
                    <a:pt x="9" y="1"/>
                  </a:cubicBezTo>
                  <a:moveTo>
                    <a:pt x="15" y="7"/>
                  </a:moveTo>
                  <a:cubicBezTo>
                    <a:pt x="14" y="7"/>
                    <a:pt x="14" y="7"/>
                    <a:pt x="15" y="7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9" name="任意多边形: 形状 858"/>
            <p:cNvSpPr/>
            <p:nvPr userDrawn="1"/>
          </p:nvSpPr>
          <p:spPr bwMode="auto">
            <a:xfrm>
              <a:off x="8275508" y="5116512"/>
              <a:ext cx="517525" cy="266700"/>
            </a:xfrm>
            <a:custGeom>
              <a:avLst/>
              <a:gdLst>
                <a:gd name="T0" fmla="*/ 0 w 326"/>
                <a:gd name="T1" fmla="*/ 72 h 168"/>
                <a:gd name="T2" fmla="*/ 137 w 326"/>
                <a:gd name="T3" fmla="*/ 0 h 168"/>
                <a:gd name="T4" fmla="*/ 310 w 326"/>
                <a:gd name="T5" fmla="*/ 85 h 168"/>
                <a:gd name="T6" fmla="*/ 326 w 326"/>
                <a:gd name="T7" fmla="*/ 85 h 168"/>
                <a:gd name="T8" fmla="*/ 326 w 326"/>
                <a:gd name="T9" fmla="*/ 93 h 168"/>
                <a:gd name="T10" fmla="*/ 324 w 326"/>
                <a:gd name="T11" fmla="*/ 93 h 168"/>
                <a:gd name="T12" fmla="*/ 189 w 326"/>
                <a:gd name="T13" fmla="*/ 168 h 168"/>
                <a:gd name="T14" fmla="*/ 0 w 326"/>
                <a:gd name="T15" fmla="*/ 7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6" h="168">
                  <a:moveTo>
                    <a:pt x="0" y="72"/>
                  </a:moveTo>
                  <a:lnTo>
                    <a:pt x="137" y="0"/>
                  </a:lnTo>
                  <a:lnTo>
                    <a:pt x="310" y="85"/>
                  </a:lnTo>
                  <a:lnTo>
                    <a:pt x="326" y="85"/>
                  </a:lnTo>
                  <a:lnTo>
                    <a:pt x="326" y="93"/>
                  </a:lnTo>
                  <a:lnTo>
                    <a:pt x="324" y="93"/>
                  </a:lnTo>
                  <a:lnTo>
                    <a:pt x="189" y="168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AE7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0" name="任意多边形: 形状 859"/>
            <p:cNvSpPr/>
            <p:nvPr userDrawn="1"/>
          </p:nvSpPr>
          <p:spPr bwMode="auto">
            <a:xfrm>
              <a:off x="8275508" y="5105400"/>
              <a:ext cx="517525" cy="265113"/>
            </a:xfrm>
            <a:custGeom>
              <a:avLst/>
              <a:gdLst>
                <a:gd name="T0" fmla="*/ 189 w 326"/>
                <a:gd name="T1" fmla="*/ 167 h 167"/>
                <a:gd name="T2" fmla="*/ 326 w 326"/>
                <a:gd name="T3" fmla="*/ 92 h 167"/>
                <a:gd name="T4" fmla="*/ 137 w 326"/>
                <a:gd name="T5" fmla="*/ 0 h 167"/>
                <a:gd name="T6" fmla="*/ 0 w 326"/>
                <a:gd name="T7" fmla="*/ 71 h 167"/>
                <a:gd name="T8" fmla="*/ 189 w 326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6" h="167">
                  <a:moveTo>
                    <a:pt x="189" y="167"/>
                  </a:moveTo>
                  <a:lnTo>
                    <a:pt x="326" y="92"/>
                  </a:lnTo>
                  <a:lnTo>
                    <a:pt x="137" y="0"/>
                  </a:lnTo>
                  <a:lnTo>
                    <a:pt x="0" y="71"/>
                  </a:lnTo>
                  <a:lnTo>
                    <a:pt x="189" y="167"/>
                  </a:ln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1" name="任意多边形: 形状 860"/>
            <p:cNvSpPr/>
            <p:nvPr userDrawn="1"/>
          </p:nvSpPr>
          <p:spPr bwMode="auto">
            <a:xfrm>
              <a:off x="8159621" y="5006975"/>
              <a:ext cx="425450" cy="376238"/>
            </a:xfrm>
            <a:custGeom>
              <a:avLst/>
              <a:gdLst>
                <a:gd name="T0" fmla="*/ 0 w 268"/>
                <a:gd name="T1" fmla="*/ 4 h 237"/>
                <a:gd name="T2" fmla="*/ 6 w 268"/>
                <a:gd name="T3" fmla="*/ 0 h 237"/>
                <a:gd name="T4" fmla="*/ 193 w 268"/>
                <a:gd name="T5" fmla="*/ 98 h 237"/>
                <a:gd name="T6" fmla="*/ 268 w 268"/>
                <a:gd name="T7" fmla="*/ 233 h 237"/>
                <a:gd name="T8" fmla="*/ 262 w 268"/>
                <a:gd name="T9" fmla="*/ 237 h 237"/>
                <a:gd name="T10" fmla="*/ 245 w 268"/>
                <a:gd name="T11" fmla="*/ 227 h 237"/>
                <a:gd name="T12" fmla="*/ 250 w 268"/>
                <a:gd name="T13" fmla="*/ 224 h 237"/>
                <a:gd name="T14" fmla="*/ 79 w 268"/>
                <a:gd name="T15" fmla="*/ 137 h 237"/>
                <a:gd name="T16" fmla="*/ 15 w 268"/>
                <a:gd name="T17" fmla="*/ 17 h 237"/>
                <a:gd name="T18" fmla="*/ 13 w 268"/>
                <a:gd name="T19" fmla="*/ 19 h 237"/>
                <a:gd name="T20" fmla="*/ 0 w 268"/>
                <a:gd name="T21" fmla="*/ 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" h="237">
                  <a:moveTo>
                    <a:pt x="0" y="4"/>
                  </a:moveTo>
                  <a:lnTo>
                    <a:pt x="6" y="0"/>
                  </a:lnTo>
                  <a:lnTo>
                    <a:pt x="193" y="98"/>
                  </a:lnTo>
                  <a:lnTo>
                    <a:pt x="268" y="233"/>
                  </a:lnTo>
                  <a:lnTo>
                    <a:pt x="262" y="237"/>
                  </a:lnTo>
                  <a:lnTo>
                    <a:pt x="245" y="227"/>
                  </a:lnTo>
                  <a:lnTo>
                    <a:pt x="250" y="224"/>
                  </a:lnTo>
                  <a:lnTo>
                    <a:pt x="79" y="137"/>
                  </a:lnTo>
                  <a:lnTo>
                    <a:pt x="15" y="17"/>
                  </a:lnTo>
                  <a:lnTo>
                    <a:pt x="13" y="1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2" name="任意多边形: 形状 861"/>
            <p:cNvSpPr/>
            <p:nvPr userDrawn="1"/>
          </p:nvSpPr>
          <p:spPr bwMode="auto">
            <a:xfrm>
              <a:off x="8159621" y="5013325"/>
              <a:ext cx="415925" cy="369888"/>
            </a:xfrm>
            <a:custGeom>
              <a:avLst/>
              <a:gdLst>
                <a:gd name="T0" fmla="*/ 262 w 262"/>
                <a:gd name="T1" fmla="*/ 233 h 233"/>
                <a:gd name="T2" fmla="*/ 187 w 262"/>
                <a:gd name="T3" fmla="*/ 98 h 233"/>
                <a:gd name="T4" fmla="*/ 0 w 262"/>
                <a:gd name="T5" fmla="*/ 0 h 233"/>
                <a:gd name="T6" fmla="*/ 73 w 262"/>
                <a:gd name="T7" fmla="*/ 137 h 233"/>
                <a:gd name="T8" fmla="*/ 262 w 262"/>
                <a:gd name="T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33">
                  <a:moveTo>
                    <a:pt x="262" y="233"/>
                  </a:moveTo>
                  <a:lnTo>
                    <a:pt x="187" y="98"/>
                  </a:lnTo>
                  <a:lnTo>
                    <a:pt x="0" y="0"/>
                  </a:lnTo>
                  <a:lnTo>
                    <a:pt x="73" y="137"/>
                  </a:lnTo>
                  <a:lnTo>
                    <a:pt x="262" y="233"/>
                  </a:ln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3" name="任意多边形: 形状 862"/>
            <p:cNvSpPr/>
            <p:nvPr userDrawn="1"/>
          </p:nvSpPr>
          <p:spPr bwMode="auto">
            <a:xfrm>
              <a:off x="8502521" y="5162550"/>
              <a:ext cx="142875" cy="82550"/>
            </a:xfrm>
            <a:custGeom>
              <a:avLst/>
              <a:gdLst>
                <a:gd name="T0" fmla="*/ 3 w 43"/>
                <a:gd name="T1" fmla="*/ 13 h 25"/>
                <a:gd name="T2" fmla="*/ 21 w 43"/>
                <a:gd name="T3" fmla="*/ 23 h 25"/>
                <a:gd name="T4" fmla="*/ 28 w 43"/>
                <a:gd name="T5" fmla="*/ 24 h 25"/>
                <a:gd name="T6" fmla="*/ 41 w 43"/>
                <a:gd name="T7" fmla="*/ 16 h 25"/>
                <a:gd name="T8" fmla="*/ 41 w 43"/>
                <a:gd name="T9" fmla="*/ 12 h 25"/>
                <a:gd name="T10" fmla="*/ 22 w 43"/>
                <a:gd name="T11" fmla="*/ 1 h 25"/>
                <a:gd name="T12" fmla="*/ 15 w 43"/>
                <a:gd name="T13" fmla="*/ 1 h 25"/>
                <a:gd name="T14" fmla="*/ 2 w 43"/>
                <a:gd name="T15" fmla="*/ 9 h 25"/>
                <a:gd name="T16" fmla="*/ 3 w 43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25">
                  <a:moveTo>
                    <a:pt x="3" y="13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3" y="25"/>
                    <a:pt x="26" y="25"/>
                    <a:pt x="28" y="24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3" y="15"/>
                    <a:pt x="43" y="13"/>
                    <a:pt x="41" y="1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0" y="0"/>
                    <a:pt x="17" y="0"/>
                    <a:pt x="15" y="1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10"/>
                    <a:pt x="0" y="11"/>
                    <a:pt x="3" y="13"/>
                  </a:cubicBezTo>
                  <a:close/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4" name="任意多边形: 形状 863"/>
            <p:cNvSpPr/>
            <p:nvPr userDrawn="1"/>
          </p:nvSpPr>
          <p:spPr bwMode="auto">
            <a:xfrm>
              <a:off x="8551733" y="5067300"/>
              <a:ext cx="390525" cy="242888"/>
            </a:xfrm>
            <a:custGeom>
              <a:avLst/>
              <a:gdLst>
                <a:gd name="T0" fmla="*/ 79 w 118"/>
                <a:gd name="T1" fmla="*/ 61 h 74"/>
                <a:gd name="T2" fmla="*/ 76 w 118"/>
                <a:gd name="T3" fmla="*/ 61 h 74"/>
                <a:gd name="T4" fmla="*/ 50 w 118"/>
                <a:gd name="T5" fmla="*/ 64 h 74"/>
                <a:gd name="T6" fmla="*/ 46 w 118"/>
                <a:gd name="T7" fmla="*/ 65 h 74"/>
                <a:gd name="T8" fmla="*/ 38 w 118"/>
                <a:gd name="T9" fmla="*/ 66 h 74"/>
                <a:gd name="T10" fmla="*/ 26 w 118"/>
                <a:gd name="T11" fmla="*/ 68 h 74"/>
                <a:gd name="T12" fmla="*/ 27 w 118"/>
                <a:gd name="T13" fmla="*/ 68 h 74"/>
                <a:gd name="T14" fmla="*/ 14 w 118"/>
                <a:gd name="T15" fmla="*/ 71 h 74"/>
                <a:gd name="T16" fmla="*/ 7 w 118"/>
                <a:gd name="T17" fmla="*/ 74 h 74"/>
                <a:gd name="T18" fmla="*/ 1 w 118"/>
                <a:gd name="T19" fmla="*/ 69 h 74"/>
                <a:gd name="T20" fmla="*/ 11 w 118"/>
                <a:gd name="T21" fmla="*/ 54 h 74"/>
                <a:gd name="T22" fmla="*/ 19 w 118"/>
                <a:gd name="T23" fmla="*/ 49 h 74"/>
                <a:gd name="T24" fmla="*/ 27 w 118"/>
                <a:gd name="T25" fmla="*/ 47 h 74"/>
                <a:gd name="T26" fmla="*/ 33 w 118"/>
                <a:gd name="T27" fmla="*/ 47 h 74"/>
                <a:gd name="T28" fmla="*/ 67 w 118"/>
                <a:gd name="T29" fmla="*/ 43 h 74"/>
                <a:gd name="T30" fmla="*/ 90 w 118"/>
                <a:gd name="T31" fmla="*/ 36 h 74"/>
                <a:gd name="T32" fmla="*/ 94 w 118"/>
                <a:gd name="T33" fmla="*/ 33 h 74"/>
                <a:gd name="T34" fmla="*/ 94 w 118"/>
                <a:gd name="T35" fmla="*/ 29 h 74"/>
                <a:gd name="T36" fmla="*/ 93 w 118"/>
                <a:gd name="T37" fmla="*/ 2 h 74"/>
                <a:gd name="T38" fmla="*/ 98 w 118"/>
                <a:gd name="T39" fmla="*/ 2 h 74"/>
                <a:gd name="T40" fmla="*/ 105 w 118"/>
                <a:gd name="T41" fmla="*/ 2 h 74"/>
                <a:gd name="T42" fmla="*/ 114 w 118"/>
                <a:gd name="T43" fmla="*/ 0 h 74"/>
                <a:gd name="T44" fmla="*/ 114 w 118"/>
                <a:gd name="T45" fmla="*/ 7 h 74"/>
                <a:gd name="T46" fmla="*/ 79 w 118"/>
                <a:gd name="T47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8" h="74">
                  <a:moveTo>
                    <a:pt x="79" y="61"/>
                  </a:moveTo>
                  <a:cubicBezTo>
                    <a:pt x="78" y="61"/>
                    <a:pt x="77" y="61"/>
                    <a:pt x="76" y="61"/>
                  </a:cubicBezTo>
                  <a:cubicBezTo>
                    <a:pt x="75" y="61"/>
                    <a:pt x="64" y="61"/>
                    <a:pt x="50" y="64"/>
                  </a:cubicBezTo>
                  <a:cubicBezTo>
                    <a:pt x="48" y="65"/>
                    <a:pt x="47" y="65"/>
                    <a:pt x="46" y="65"/>
                  </a:cubicBezTo>
                  <a:cubicBezTo>
                    <a:pt x="41" y="66"/>
                    <a:pt x="40" y="66"/>
                    <a:pt x="38" y="66"/>
                  </a:cubicBezTo>
                  <a:cubicBezTo>
                    <a:pt x="31" y="65"/>
                    <a:pt x="28" y="67"/>
                    <a:pt x="26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1" y="70"/>
                    <a:pt x="18" y="70"/>
                    <a:pt x="14" y="71"/>
                  </a:cubicBezTo>
                  <a:cubicBezTo>
                    <a:pt x="12" y="73"/>
                    <a:pt x="10" y="74"/>
                    <a:pt x="7" y="74"/>
                  </a:cubicBezTo>
                  <a:cubicBezTo>
                    <a:pt x="4" y="74"/>
                    <a:pt x="0" y="72"/>
                    <a:pt x="1" y="69"/>
                  </a:cubicBezTo>
                  <a:cubicBezTo>
                    <a:pt x="1" y="68"/>
                    <a:pt x="6" y="58"/>
                    <a:pt x="11" y="54"/>
                  </a:cubicBezTo>
                  <a:cubicBezTo>
                    <a:pt x="13" y="52"/>
                    <a:pt x="16" y="51"/>
                    <a:pt x="19" y="49"/>
                  </a:cubicBezTo>
                  <a:cubicBezTo>
                    <a:pt x="22" y="48"/>
                    <a:pt x="25" y="47"/>
                    <a:pt x="27" y="47"/>
                  </a:cubicBezTo>
                  <a:cubicBezTo>
                    <a:pt x="27" y="47"/>
                    <a:pt x="30" y="47"/>
                    <a:pt x="33" y="47"/>
                  </a:cubicBezTo>
                  <a:cubicBezTo>
                    <a:pt x="44" y="49"/>
                    <a:pt x="39" y="48"/>
                    <a:pt x="67" y="43"/>
                  </a:cubicBezTo>
                  <a:cubicBezTo>
                    <a:pt x="77" y="41"/>
                    <a:pt x="85" y="38"/>
                    <a:pt x="90" y="36"/>
                  </a:cubicBezTo>
                  <a:cubicBezTo>
                    <a:pt x="92" y="35"/>
                    <a:pt x="94" y="34"/>
                    <a:pt x="94" y="33"/>
                  </a:cubicBezTo>
                  <a:cubicBezTo>
                    <a:pt x="94" y="33"/>
                    <a:pt x="94" y="32"/>
                    <a:pt x="94" y="29"/>
                  </a:cubicBezTo>
                  <a:cubicBezTo>
                    <a:pt x="94" y="18"/>
                    <a:pt x="93" y="9"/>
                    <a:pt x="93" y="2"/>
                  </a:cubicBezTo>
                  <a:cubicBezTo>
                    <a:pt x="94" y="2"/>
                    <a:pt x="95" y="2"/>
                    <a:pt x="98" y="2"/>
                  </a:cubicBezTo>
                  <a:cubicBezTo>
                    <a:pt x="100" y="3"/>
                    <a:pt x="103" y="2"/>
                    <a:pt x="105" y="2"/>
                  </a:cubicBezTo>
                  <a:cubicBezTo>
                    <a:pt x="109" y="1"/>
                    <a:pt x="112" y="1"/>
                    <a:pt x="114" y="0"/>
                  </a:cubicBezTo>
                  <a:cubicBezTo>
                    <a:pt x="114" y="2"/>
                    <a:pt x="114" y="5"/>
                    <a:pt x="114" y="7"/>
                  </a:cubicBezTo>
                  <a:cubicBezTo>
                    <a:pt x="114" y="49"/>
                    <a:pt x="118" y="58"/>
                    <a:pt x="79" y="61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grpSp>
          <p:nvGrpSpPr>
            <p:cNvPr id="9" name="组合 8"/>
            <p:cNvGrpSpPr/>
            <p:nvPr userDrawn="1"/>
          </p:nvGrpSpPr>
          <p:grpSpPr>
            <a:xfrm>
              <a:off x="7300783" y="2051050"/>
              <a:ext cx="650876" cy="603250"/>
              <a:chOff x="7300783" y="2051050"/>
              <a:chExt cx="650876" cy="603250"/>
            </a:xfrm>
          </p:grpSpPr>
          <p:sp>
            <p:nvSpPr>
              <p:cNvPr id="865" name="任意多边形: 形状 864"/>
              <p:cNvSpPr/>
              <p:nvPr userDrawn="1"/>
            </p:nvSpPr>
            <p:spPr bwMode="auto">
              <a:xfrm>
                <a:off x="7324596" y="2122487"/>
                <a:ext cx="61913" cy="39688"/>
              </a:xfrm>
              <a:custGeom>
                <a:avLst/>
                <a:gdLst>
                  <a:gd name="T0" fmla="*/ 0 w 39"/>
                  <a:gd name="T1" fmla="*/ 13 h 25"/>
                  <a:gd name="T2" fmla="*/ 23 w 39"/>
                  <a:gd name="T3" fmla="*/ 0 h 25"/>
                  <a:gd name="T4" fmla="*/ 39 w 39"/>
                  <a:gd name="T5" fmla="*/ 9 h 25"/>
                  <a:gd name="T6" fmla="*/ 12 w 39"/>
                  <a:gd name="T7" fmla="*/ 25 h 25"/>
                  <a:gd name="T8" fmla="*/ 0 w 39"/>
                  <a:gd name="T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0" y="13"/>
                    </a:moveTo>
                    <a:lnTo>
                      <a:pt x="23" y="0"/>
                    </a:lnTo>
                    <a:lnTo>
                      <a:pt x="39" y="9"/>
                    </a:lnTo>
                    <a:lnTo>
                      <a:pt x="12" y="25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EAA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66" name="任意多边形: 形状 865"/>
              <p:cNvSpPr/>
              <p:nvPr userDrawn="1"/>
            </p:nvSpPr>
            <p:spPr bwMode="auto">
              <a:xfrm>
                <a:off x="7492871" y="2089150"/>
                <a:ext cx="55563" cy="33338"/>
              </a:xfrm>
              <a:custGeom>
                <a:avLst/>
                <a:gdLst>
                  <a:gd name="T0" fmla="*/ 0 w 35"/>
                  <a:gd name="T1" fmla="*/ 15 h 21"/>
                  <a:gd name="T2" fmla="*/ 23 w 35"/>
                  <a:gd name="T3" fmla="*/ 0 h 21"/>
                  <a:gd name="T4" fmla="*/ 35 w 35"/>
                  <a:gd name="T5" fmla="*/ 9 h 21"/>
                  <a:gd name="T6" fmla="*/ 4 w 35"/>
                  <a:gd name="T7" fmla="*/ 21 h 21"/>
                  <a:gd name="T8" fmla="*/ 0 w 35"/>
                  <a:gd name="T9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1">
                    <a:moveTo>
                      <a:pt x="0" y="15"/>
                    </a:moveTo>
                    <a:lnTo>
                      <a:pt x="23" y="0"/>
                    </a:lnTo>
                    <a:lnTo>
                      <a:pt x="35" y="9"/>
                    </a:lnTo>
                    <a:lnTo>
                      <a:pt x="4" y="21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EAA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67" name="任意多边形: 形状 866"/>
              <p:cNvSpPr/>
              <p:nvPr userDrawn="1"/>
            </p:nvSpPr>
            <p:spPr bwMode="auto">
              <a:xfrm>
                <a:off x="7875458" y="2597150"/>
                <a:ext cx="46038" cy="30163"/>
              </a:xfrm>
              <a:custGeom>
                <a:avLst/>
                <a:gdLst>
                  <a:gd name="T0" fmla="*/ 6 w 29"/>
                  <a:gd name="T1" fmla="*/ 19 h 19"/>
                  <a:gd name="T2" fmla="*/ 29 w 29"/>
                  <a:gd name="T3" fmla="*/ 6 h 19"/>
                  <a:gd name="T4" fmla="*/ 25 w 29"/>
                  <a:gd name="T5" fmla="*/ 0 h 19"/>
                  <a:gd name="T6" fmla="*/ 0 w 29"/>
                  <a:gd name="T7" fmla="*/ 9 h 19"/>
                  <a:gd name="T8" fmla="*/ 6 w 29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6" y="19"/>
                    </a:moveTo>
                    <a:lnTo>
                      <a:pt x="29" y="6"/>
                    </a:lnTo>
                    <a:lnTo>
                      <a:pt x="25" y="0"/>
                    </a:lnTo>
                    <a:lnTo>
                      <a:pt x="0" y="9"/>
                    </a:ln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EAA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68" name="任意多边形: 形状 867"/>
              <p:cNvSpPr/>
              <p:nvPr userDrawn="1"/>
            </p:nvSpPr>
            <p:spPr bwMode="auto">
              <a:xfrm>
                <a:off x="7334121" y="2051050"/>
                <a:ext cx="617538" cy="582613"/>
              </a:xfrm>
              <a:custGeom>
                <a:avLst/>
                <a:gdLst>
                  <a:gd name="T0" fmla="*/ 187 w 187"/>
                  <a:gd name="T1" fmla="*/ 140 h 177"/>
                  <a:gd name="T2" fmla="*/ 187 w 187"/>
                  <a:gd name="T3" fmla="*/ 148 h 177"/>
                  <a:gd name="T4" fmla="*/ 155 w 187"/>
                  <a:gd name="T5" fmla="*/ 166 h 177"/>
                  <a:gd name="T6" fmla="*/ 125 w 187"/>
                  <a:gd name="T7" fmla="*/ 149 h 177"/>
                  <a:gd name="T8" fmla="*/ 71 w 187"/>
                  <a:gd name="T9" fmla="*/ 118 h 177"/>
                  <a:gd name="T10" fmla="*/ 32 w 187"/>
                  <a:gd name="T11" fmla="*/ 95 h 177"/>
                  <a:gd name="T12" fmla="*/ 0 w 187"/>
                  <a:gd name="T13" fmla="*/ 40 h 177"/>
                  <a:gd name="T14" fmla="*/ 0 w 187"/>
                  <a:gd name="T15" fmla="*/ 40 h 177"/>
                  <a:gd name="T16" fmla="*/ 28 w 187"/>
                  <a:gd name="T17" fmla="*/ 24 h 177"/>
                  <a:gd name="T18" fmla="*/ 44 w 187"/>
                  <a:gd name="T19" fmla="*/ 40 h 177"/>
                  <a:gd name="T20" fmla="*/ 98 w 187"/>
                  <a:gd name="T21" fmla="*/ 16 h 177"/>
                  <a:gd name="T22" fmla="*/ 150 w 187"/>
                  <a:gd name="T23" fmla="*/ 88 h 177"/>
                  <a:gd name="T24" fmla="*/ 160 w 187"/>
                  <a:gd name="T25" fmla="*/ 92 h 177"/>
                  <a:gd name="T26" fmla="*/ 187 w 187"/>
                  <a:gd name="T27" fmla="*/ 14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7" h="177">
                    <a:moveTo>
                      <a:pt x="187" y="140"/>
                    </a:moveTo>
                    <a:cubicBezTo>
                      <a:pt x="187" y="148"/>
                      <a:pt x="187" y="148"/>
                      <a:pt x="187" y="148"/>
                    </a:cubicBezTo>
                    <a:cubicBezTo>
                      <a:pt x="187" y="168"/>
                      <a:pt x="173" y="177"/>
                      <a:pt x="155" y="166"/>
                    </a:cubicBezTo>
                    <a:cubicBezTo>
                      <a:pt x="125" y="149"/>
                      <a:pt x="125" y="149"/>
                      <a:pt x="125" y="149"/>
                    </a:cubicBezTo>
                    <a:cubicBezTo>
                      <a:pt x="71" y="118"/>
                      <a:pt x="71" y="118"/>
                      <a:pt x="71" y="118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14" y="85"/>
                      <a:pt x="0" y="6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22"/>
                      <a:pt x="12" y="15"/>
                      <a:pt x="28" y="24"/>
                    </a:cubicBezTo>
                    <a:cubicBezTo>
                      <a:pt x="34" y="27"/>
                      <a:pt x="40" y="33"/>
                      <a:pt x="44" y="40"/>
                    </a:cubicBezTo>
                    <a:cubicBezTo>
                      <a:pt x="48" y="11"/>
                      <a:pt x="70" y="0"/>
                      <a:pt x="98" y="16"/>
                    </a:cubicBezTo>
                    <a:cubicBezTo>
                      <a:pt x="122" y="30"/>
                      <a:pt x="142" y="59"/>
                      <a:pt x="150" y="88"/>
                    </a:cubicBezTo>
                    <a:cubicBezTo>
                      <a:pt x="153" y="88"/>
                      <a:pt x="156" y="90"/>
                      <a:pt x="160" y="92"/>
                    </a:cubicBezTo>
                    <a:cubicBezTo>
                      <a:pt x="175" y="101"/>
                      <a:pt x="187" y="122"/>
                      <a:pt x="187" y="140"/>
                    </a:cubicBezTo>
                    <a:close/>
                  </a:path>
                </a:pathLst>
              </a:custGeom>
              <a:solidFill>
                <a:srgbClr val="EAA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69" name="任意多边形: 形状 868"/>
              <p:cNvSpPr/>
              <p:nvPr userDrawn="1"/>
            </p:nvSpPr>
            <p:spPr bwMode="auto">
              <a:xfrm>
                <a:off x="7300783" y="2070100"/>
                <a:ext cx="617538" cy="584200"/>
              </a:xfrm>
              <a:custGeom>
                <a:avLst/>
                <a:gdLst>
                  <a:gd name="T0" fmla="*/ 187 w 187"/>
                  <a:gd name="T1" fmla="*/ 140 h 177"/>
                  <a:gd name="T2" fmla="*/ 187 w 187"/>
                  <a:gd name="T3" fmla="*/ 148 h 177"/>
                  <a:gd name="T4" fmla="*/ 155 w 187"/>
                  <a:gd name="T5" fmla="*/ 166 h 177"/>
                  <a:gd name="T6" fmla="*/ 124 w 187"/>
                  <a:gd name="T7" fmla="*/ 149 h 177"/>
                  <a:gd name="T8" fmla="*/ 71 w 187"/>
                  <a:gd name="T9" fmla="*/ 118 h 177"/>
                  <a:gd name="T10" fmla="*/ 32 w 187"/>
                  <a:gd name="T11" fmla="*/ 95 h 177"/>
                  <a:gd name="T12" fmla="*/ 0 w 187"/>
                  <a:gd name="T13" fmla="*/ 40 h 177"/>
                  <a:gd name="T14" fmla="*/ 0 w 187"/>
                  <a:gd name="T15" fmla="*/ 40 h 177"/>
                  <a:gd name="T16" fmla="*/ 27 w 187"/>
                  <a:gd name="T17" fmla="*/ 24 h 177"/>
                  <a:gd name="T18" fmla="*/ 44 w 187"/>
                  <a:gd name="T19" fmla="*/ 40 h 177"/>
                  <a:gd name="T20" fmla="*/ 98 w 187"/>
                  <a:gd name="T21" fmla="*/ 16 h 177"/>
                  <a:gd name="T22" fmla="*/ 149 w 187"/>
                  <a:gd name="T23" fmla="*/ 88 h 177"/>
                  <a:gd name="T24" fmla="*/ 159 w 187"/>
                  <a:gd name="T25" fmla="*/ 92 h 177"/>
                  <a:gd name="T26" fmla="*/ 187 w 187"/>
                  <a:gd name="T27" fmla="*/ 14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7" h="177">
                    <a:moveTo>
                      <a:pt x="187" y="140"/>
                    </a:moveTo>
                    <a:cubicBezTo>
                      <a:pt x="187" y="148"/>
                      <a:pt x="187" y="148"/>
                      <a:pt x="187" y="148"/>
                    </a:cubicBezTo>
                    <a:cubicBezTo>
                      <a:pt x="187" y="168"/>
                      <a:pt x="173" y="177"/>
                      <a:pt x="155" y="166"/>
                    </a:cubicBezTo>
                    <a:cubicBezTo>
                      <a:pt x="124" y="149"/>
                      <a:pt x="124" y="149"/>
                      <a:pt x="124" y="149"/>
                    </a:cubicBezTo>
                    <a:cubicBezTo>
                      <a:pt x="71" y="118"/>
                      <a:pt x="71" y="118"/>
                      <a:pt x="71" y="118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14" y="85"/>
                      <a:pt x="0" y="6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22"/>
                      <a:pt x="12" y="15"/>
                      <a:pt x="27" y="24"/>
                    </a:cubicBezTo>
                    <a:cubicBezTo>
                      <a:pt x="33" y="27"/>
                      <a:pt x="39" y="33"/>
                      <a:pt x="44" y="40"/>
                    </a:cubicBezTo>
                    <a:cubicBezTo>
                      <a:pt x="47" y="11"/>
                      <a:pt x="70" y="0"/>
                      <a:pt x="98" y="16"/>
                    </a:cubicBezTo>
                    <a:cubicBezTo>
                      <a:pt x="122" y="30"/>
                      <a:pt x="142" y="59"/>
                      <a:pt x="149" y="88"/>
                    </a:cubicBezTo>
                    <a:cubicBezTo>
                      <a:pt x="152" y="88"/>
                      <a:pt x="156" y="90"/>
                      <a:pt x="159" y="92"/>
                    </a:cubicBezTo>
                    <a:cubicBezTo>
                      <a:pt x="175" y="101"/>
                      <a:pt x="187" y="122"/>
                      <a:pt x="187" y="140"/>
                    </a:cubicBezTo>
                    <a:close/>
                  </a:path>
                </a:pathLst>
              </a:custGeom>
              <a:solidFill>
                <a:srgbClr val="E27D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870" name="任意多边形: 形状 869"/>
            <p:cNvSpPr/>
            <p:nvPr userDrawn="1"/>
          </p:nvSpPr>
          <p:spPr bwMode="auto">
            <a:xfrm>
              <a:off x="9764583" y="2232025"/>
              <a:ext cx="68263" cy="46038"/>
            </a:xfrm>
            <a:custGeom>
              <a:avLst/>
              <a:gdLst>
                <a:gd name="T0" fmla="*/ 0 w 43"/>
                <a:gd name="T1" fmla="*/ 14 h 29"/>
                <a:gd name="T2" fmla="*/ 24 w 43"/>
                <a:gd name="T3" fmla="*/ 0 h 29"/>
                <a:gd name="T4" fmla="*/ 43 w 43"/>
                <a:gd name="T5" fmla="*/ 12 h 29"/>
                <a:gd name="T6" fmla="*/ 14 w 43"/>
                <a:gd name="T7" fmla="*/ 29 h 29"/>
                <a:gd name="T8" fmla="*/ 0 w 43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9">
                  <a:moveTo>
                    <a:pt x="0" y="14"/>
                  </a:moveTo>
                  <a:lnTo>
                    <a:pt x="24" y="0"/>
                  </a:lnTo>
                  <a:lnTo>
                    <a:pt x="43" y="12"/>
                  </a:lnTo>
                  <a:lnTo>
                    <a:pt x="14" y="29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1" name="任意多边形: 形状 870"/>
            <p:cNvSpPr/>
            <p:nvPr userDrawn="1"/>
          </p:nvSpPr>
          <p:spPr bwMode="auto">
            <a:xfrm>
              <a:off x="9951908" y="2195512"/>
              <a:ext cx="63500" cy="36513"/>
            </a:xfrm>
            <a:custGeom>
              <a:avLst/>
              <a:gdLst>
                <a:gd name="T0" fmla="*/ 0 w 40"/>
                <a:gd name="T1" fmla="*/ 17 h 23"/>
                <a:gd name="T2" fmla="*/ 27 w 40"/>
                <a:gd name="T3" fmla="*/ 0 h 23"/>
                <a:gd name="T4" fmla="*/ 40 w 40"/>
                <a:gd name="T5" fmla="*/ 10 h 23"/>
                <a:gd name="T6" fmla="*/ 6 w 40"/>
                <a:gd name="T7" fmla="*/ 23 h 23"/>
                <a:gd name="T8" fmla="*/ 0 w 40"/>
                <a:gd name="T9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0" y="17"/>
                  </a:moveTo>
                  <a:lnTo>
                    <a:pt x="27" y="0"/>
                  </a:lnTo>
                  <a:lnTo>
                    <a:pt x="40" y="10"/>
                  </a:lnTo>
                  <a:lnTo>
                    <a:pt x="6" y="23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2" name="任意多边形: 形状 871"/>
            <p:cNvSpPr/>
            <p:nvPr userDrawn="1"/>
          </p:nvSpPr>
          <p:spPr bwMode="auto">
            <a:xfrm>
              <a:off x="10383708" y="2768600"/>
              <a:ext cx="53975" cy="33338"/>
            </a:xfrm>
            <a:custGeom>
              <a:avLst/>
              <a:gdLst>
                <a:gd name="T0" fmla="*/ 9 w 34"/>
                <a:gd name="T1" fmla="*/ 21 h 21"/>
                <a:gd name="T2" fmla="*/ 34 w 34"/>
                <a:gd name="T3" fmla="*/ 6 h 21"/>
                <a:gd name="T4" fmla="*/ 30 w 34"/>
                <a:gd name="T5" fmla="*/ 0 h 21"/>
                <a:gd name="T6" fmla="*/ 0 w 34"/>
                <a:gd name="T7" fmla="*/ 9 h 21"/>
                <a:gd name="T8" fmla="*/ 9 w 3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lnTo>
                    <a:pt x="34" y="6"/>
                  </a:lnTo>
                  <a:lnTo>
                    <a:pt x="30" y="0"/>
                  </a:lnTo>
                  <a:lnTo>
                    <a:pt x="0" y="9"/>
                  </a:lnTo>
                  <a:lnTo>
                    <a:pt x="9" y="21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3" name="任意多边形: 形状 872"/>
            <p:cNvSpPr/>
            <p:nvPr userDrawn="1"/>
          </p:nvSpPr>
          <p:spPr bwMode="auto">
            <a:xfrm>
              <a:off x="9774108" y="2149475"/>
              <a:ext cx="700088" cy="658813"/>
            </a:xfrm>
            <a:custGeom>
              <a:avLst/>
              <a:gdLst>
                <a:gd name="T0" fmla="*/ 212 w 212"/>
                <a:gd name="T1" fmla="*/ 158 h 200"/>
                <a:gd name="T2" fmla="*/ 212 w 212"/>
                <a:gd name="T3" fmla="*/ 167 h 200"/>
                <a:gd name="T4" fmla="*/ 175 w 212"/>
                <a:gd name="T5" fmla="*/ 188 h 200"/>
                <a:gd name="T6" fmla="*/ 141 w 212"/>
                <a:gd name="T7" fmla="*/ 169 h 200"/>
                <a:gd name="T8" fmla="*/ 81 w 212"/>
                <a:gd name="T9" fmla="*/ 134 h 200"/>
                <a:gd name="T10" fmla="*/ 36 w 212"/>
                <a:gd name="T11" fmla="*/ 108 h 200"/>
                <a:gd name="T12" fmla="*/ 0 w 212"/>
                <a:gd name="T13" fmla="*/ 45 h 200"/>
                <a:gd name="T14" fmla="*/ 0 w 212"/>
                <a:gd name="T15" fmla="*/ 45 h 200"/>
                <a:gd name="T16" fmla="*/ 31 w 212"/>
                <a:gd name="T17" fmla="*/ 27 h 200"/>
                <a:gd name="T18" fmla="*/ 50 w 212"/>
                <a:gd name="T19" fmla="*/ 45 h 200"/>
                <a:gd name="T20" fmla="*/ 111 w 212"/>
                <a:gd name="T21" fmla="*/ 18 h 200"/>
                <a:gd name="T22" fmla="*/ 169 w 212"/>
                <a:gd name="T23" fmla="*/ 100 h 200"/>
                <a:gd name="T24" fmla="*/ 180 w 212"/>
                <a:gd name="T25" fmla="*/ 104 h 200"/>
                <a:gd name="T26" fmla="*/ 212 w 212"/>
                <a:gd name="T27" fmla="*/ 1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2" h="200">
                  <a:moveTo>
                    <a:pt x="212" y="158"/>
                  </a:moveTo>
                  <a:cubicBezTo>
                    <a:pt x="212" y="167"/>
                    <a:pt x="212" y="167"/>
                    <a:pt x="212" y="167"/>
                  </a:cubicBezTo>
                  <a:cubicBezTo>
                    <a:pt x="212" y="191"/>
                    <a:pt x="195" y="200"/>
                    <a:pt x="175" y="188"/>
                  </a:cubicBezTo>
                  <a:cubicBezTo>
                    <a:pt x="141" y="169"/>
                    <a:pt x="141" y="169"/>
                    <a:pt x="141" y="169"/>
                  </a:cubicBezTo>
                  <a:cubicBezTo>
                    <a:pt x="81" y="134"/>
                    <a:pt x="81" y="134"/>
                    <a:pt x="81" y="134"/>
                  </a:cubicBezTo>
                  <a:cubicBezTo>
                    <a:pt x="36" y="108"/>
                    <a:pt x="36" y="108"/>
                    <a:pt x="36" y="108"/>
                  </a:cubicBezTo>
                  <a:cubicBezTo>
                    <a:pt x="16" y="97"/>
                    <a:pt x="0" y="68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5"/>
                    <a:pt x="14" y="17"/>
                    <a:pt x="31" y="27"/>
                  </a:cubicBezTo>
                  <a:cubicBezTo>
                    <a:pt x="38" y="31"/>
                    <a:pt x="45" y="38"/>
                    <a:pt x="50" y="45"/>
                  </a:cubicBezTo>
                  <a:cubicBezTo>
                    <a:pt x="54" y="12"/>
                    <a:pt x="79" y="0"/>
                    <a:pt x="111" y="18"/>
                  </a:cubicBezTo>
                  <a:cubicBezTo>
                    <a:pt x="138" y="34"/>
                    <a:pt x="161" y="67"/>
                    <a:pt x="169" y="100"/>
                  </a:cubicBezTo>
                  <a:cubicBezTo>
                    <a:pt x="172" y="101"/>
                    <a:pt x="176" y="102"/>
                    <a:pt x="180" y="104"/>
                  </a:cubicBezTo>
                  <a:cubicBezTo>
                    <a:pt x="198" y="114"/>
                    <a:pt x="212" y="138"/>
                    <a:pt x="212" y="158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4" name="任意多边形: 形状 873"/>
            <p:cNvSpPr/>
            <p:nvPr userDrawn="1"/>
          </p:nvSpPr>
          <p:spPr bwMode="auto">
            <a:xfrm>
              <a:off x="9734421" y="2171700"/>
              <a:ext cx="700088" cy="660400"/>
            </a:xfrm>
            <a:custGeom>
              <a:avLst/>
              <a:gdLst>
                <a:gd name="T0" fmla="*/ 212 w 212"/>
                <a:gd name="T1" fmla="*/ 158 h 200"/>
                <a:gd name="T2" fmla="*/ 212 w 212"/>
                <a:gd name="T3" fmla="*/ 167 h 200"/>
                <a:gd name="T4" fmla="*/ 175 w 212"/>
                <a:gd name="T5" fmla="*/ 188 h 200"/>
                <a:gd name="T6" fmla="*/ 141 w 212"/>
                <a:gd name="T7" fmla="*/ 168 h 200"/>
                <a:gd name="T8" fmla="*/ 81 w 212"/>
                <a:gd name="T9" fmla="*/ 133 h 200"/>
                <a:gd name="T10" fmla="*/ 36 w 212"/>
                <a:gd name="T11" fmla="*/ 108 h 200"/>
                <a:gd name="T12" fmla="*/ 0 w 212"/>
                <a:gd name="T13" fmla="*/ 45 h 200"/>
                <a:gd name="T14" fmla="*/ 0 w 212"/>
                <a:gd name="T15" fmla="*/ 45 h 200"/>
                <a:gd name="T16" fmla="*/ 31 w 212"/>
                <a:gd name="T17" fmla="*/ 27 h 200"/>
                <a:gd name="T18" fmla="*/ 50 w 212"/>
                <a:gd name="T19" fmla="*/ 45 h 200"/>
                <a:gd name="T20" fmla="*/ 111 w 212"/>
                <a:gd name="T21" fmla="*/ 18 h 200"/>
                <a:gd name="T22" fmla="*/ 169 w 212"/>
                <a:gd name="T23" fmla="*/ 100 h 200"/>
                <a:gd name="T24" fmla="*/ 181 w 212"/>
                <a:gd name="T25" fmla="*/ 104 h 200"/>
                <a:gd name="T26" fmla="*/ 212 w 212"/>
                <a:gd name="T27" fmla="*/ 1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2" h="200">
                  <a:moveTo>
                    <a:pt x="212" y="158"/>
                  </a:moveTo>
                  <a:cubicBezTo>
                    <a:pt x="212" y="167"/>
                    <a:pt x="212" y="167"/>
                    <a:pt x="212" y="167"/>
                  </a:cubicBezTo>
                  <a:cubicBezTo>
                    <a:pt x="212" y="190"/>
                    <a:pt x="195" y="200"/>
                    <a:pt x="175" y="188"/>
                  </a:cubicBezTo>
                  <a:cubicBezTo>
                    <a:pt x="141" y="168"/>
                    <a:pt x="141" y="168"/>
                    <a:pt x="141" y="168"/>
                  </a:cubicBezTo>
                  <a:cubicBezTo>
                    <a:pt x="81" y="133"/>
                    <a:pt x="81" y="133"/>
                    <a:pt x="81" y="133"/>
                  </a:cubicBezTo>
                  <a:cubicBezTo>
                    <a:pt x="36" y="108"/>
                    <a:pt x="36" y="108"/>
                    <a:pt x="36" y="108"/>
                  </a:cubicBezTo>
                  <a:cubicBezTo>
                    <a:pt x="16" y="96"/>
                    <a:pt x="0" y="68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5"/>
                    <a:pt x="14" y="17"/>
                    <a:pt x="31" y="27"/>
                  </a:cubicBezTo>
                  <a:cubicBezTo>
                    <a:pt x="38" y="31"/>
                    <a:pt x="45" y="38"/>
                    <a:pt x="50" y="45"/>
                  </a:cubicBezTo>
                  <a:cubicBezTo>
                    <a:pt x="54" y="12"/>
                    <a:pt x="80" y="0"/>
                    <a:pt x="111" y="18"/>
                  </a:cubicBezTo>
                  <a:cubicBezTo>
                    <a:pt x="138" y="34"/>
                    <a:pt x="161" y="67"/>
                    <a:pt x="169" y="100"/>
                  </a:cubicBezTo>
                  <a:cubicBezTo>
                    <a:pt x="173" y="100"/>
                    <a:pt x="177" y="102"/>
                    <a:pt x="181" y="104"/>
                  </a:cubicBezTo>
                  <a:cubicBezTo>
                    <a:pt x="198" y="114"/>
                    <a:pt x="212" y="138"/>
                    <a:pt x="212" y="15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5" name="任意多边形: 形状 874"/>
            <p:cNvSpPr/>
            <p:nvPr userDrawn="1"/>
          </p:nvSpPr>
          <p:spPr bwMode="auto">
            <a:xfrm>
              <a:off x="9132758" y="5006975"/>
              <a:ext cx="1611313" cy="930275"/>
            </a:xfrm>
            <a:custGeom>
              <a:avLst/>
              <a:gdLst>
                <a:gd name="T0" fmla="*/ 163 w 488"/>
                <a:gd name="T1" fmla="*/ 278 h 282"/>
                <a:gd name="T2" fmla="*/ 8 w 488"/>
                <a:gd name="T3" fmla="*/ 188 h 282"/>
                <a:gd name="T4" fmla="*/ 10 w 488"/>
                <a:gd name="T5" fmla="*/ 171 h 282"/>
                <a:gd name="T6" fmla="*/ 296 w 488"/>
                <a:gd name="T7" fmla="*/ 6 h 282"/>
                <a:gd name="T8" fmla="*/ 326 w 488"/>
                <a:gd name="T9" fmla="*/ 5 h 282"/>
                <a:gd name="T10" fmla="*/ 481 w 488"/>
                <a:gd name="T11" fmla="*/ 94 h 282"/>
                <a:gd name="T12" fmla="*/ 479 w 488"/>
                <a:gd name="T13" fmla="*/ 111 h 282"/>
                <a:gd name="T14" fmla="*/ 192 w 488"/>
                <a:gd name="T15" fmla="*/ 277 h 282"/>
                <a:gd name="T16" fmla="*/ 163 w 488"/>
                <a:gd name="T17" fmla="*/ 278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282">
                  <a:moveTo>
                    <a:pt x="163" y="278"/>
                  </a:moveTo>
                  <a:cubicBezTo>
                    <a:pt x="8" y="188"/>
                    <a:pt x="8" y="188"/>
                    <a:pt x="8" y="188"/>
                  </a:cubicBezTo>
                  <a:cubicBezTo>
                    <a:pt x="0" y="184"/>
                    <a:pt x="1" y="176"/>
                    <a:pt x="10" y="171"/>
                  </a:cubicBezTo>
                  <a:cubicBezTo>
                    <a:pt x="296" y="6"/>
                    <a:pt x="296" y="6"/>
                    <a:pt x="296" y="6"/>
                  </a:cubicBezTo>
                  <a:cubicBezTo>
                    <a:pt x="305" y="1"/>
                    <a:pt x="318" y="0"/>
                    <a:pt x="326" y="5"/>
                  </a:cubicBezTo>
                  <a:cubicBezTo>
                    <a:pt x="481" y="94"/>
                    <a:pt x="481" y="94"/>
                    <a:pt x="481" y="94"/>
                  </a:cubicBezTo>
                  <a:cubicBezTo>
                    <a:pt x="488" y="99"/>
                    <a:pt x="487" y="106"/>
                    <a:pt x="479" y="111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83" y="282"/>
                    <a:pt x="170" y="282"/>
                    <a:pt x="163" y="278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6" name="矩形 875"/>
            <p:cNvSpPr/>
            <p:nvPr userDrawn="1"/>
          </p:nvSpPr>
          <p:spPr bwMode="auto">
            <a:xfrm>
              <a:off x="10698033" y="5287962"/>
              <a:ext cx="39688" cy="55563"/>
            </a:xfrm>
            <a:prstGeom prst="rect">
              <a:avLst/>
            </a:pr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7" name="矩形 876"/>
            <p:cNvSpPr/>
            <p:nvPr userDrawn="1"/>
          </p:nvSpPr>
          <p:spPr bwMode="auto">
            <a:xfrm>
              <a:off x="9143871" y="5548312"/>
              <a:ext cx="46038" cy="55563"/>
            </a:xfrm>
            <a:prstGeom prst="rect">
              <a:avLst/>
            </a:pr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8" name="任意多边形: 形状 877"/>
            <p:cNvSpPr/>
            <p:nvPr userDrawn="1"/>
          </p:nvSpPr>
          <p:spPr bwMode="auto">
            <a:xfrm>
              <a:off x="9132758" y="4954587"/>
              <a:ext cx="1611313" cy="930275"/>
            </a:xfrm>
            <a:custGeom>
              <a:avLst/>
              <a:gdLst>
                <a:gd name="T0" fmla="*/ 163 w 488"/>
                <a:gd name="T1" fmla="*/ 277 h 282"/>
                <a:gd name="T2" fmla="*/ 8 w 488"/>
                <a:gd name="T3" fmla="*/ 188 h 282"/>
                <a:gd name="T4" fmla="*/ 10 w 488"/>
                <a:gd name="T5" fmla="*/ 171 h 282"/>
                <a:gd name="T6" fmla="*/ 296 w 488"/>
                <a:gd name="T7" fmla="*/ 5 h 282"/>
                <a:gd name="T8" fmla="*/ 326 w 488"/>
                <a:gd name="T9" fmla="*/ 4 h 282"/>
                <a:gd name="T10" fmla="*/ 481 w 488"/>
                <a:gd name="T11" fmla="*/ 94 h 282"/>
                <a:gd name="T12" fmla="*/ 479 w 488"/>
                <a:gd name="T13" fmla="*/ 111 h 282"/>
                <a:gd name="T14" fmla="*/ 192 w 488"/>
                <a:gd name="T15" fmla="*/ 276 h 282"/>
                <a:gd name="T16" fmla="*/ 163 w 488"/>
                <a:gd name="T17" fmla="*/ 27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282">
                  <a:moveTo>
                    <a:pt x="163" y="277"/>
                  </a:moveTo>
                  <a:cubicBezTo>
                    <a:pt x="8" y="188"/>
                    <a:pt x="8" y="188"/>
                    <a:pt x="8" y="188"/>
                  </a:cubicBezTo>
                  <a:cubicBezTo>
                    <a:pt x="0" y="183"/>
                    <a:pt x="1" y="176"/>
                    <a:pt x="10" y="171"/>
                  </a:cubicBezTo>
                  <a:cubicBezTo>
                    <a:pt x="296" y="5"/>
                    <a:pt x="296" y="5"/>
                    <a:pt x="296" y="5"/>
                  </a:cubicBezTo>
                  <a:cubicBezTo>
                    <a:pt x="305" y="0"/>
                    <a:pt x="318" y="0"/>
                    <a:pt x="326" y="4"/>
                  </a:cubicBezTo>
                  <a:cubicBezTo>
                    <a:pt x="481" y="94"/>
                    <a:pt x="481" y="94"/>
                    <a:pt x="481" y="94"/>
                  </a:cubicBezTo>
                  <a:cubicBezTo>
                    <a:pt x="488" y="98"/>
                    <a:pt x="487" y="106"/>
                    <a:pt x="479" y="111"/>
                  </a:cubicBezTo>
                  <a:cubicBezTo>
                    <a:pt x="192" y="276"/>
                    <a:pt x="192" y="276"/>
                    <a:pt x="192" y="276"/>
                  </a:cubicBezTo>
                  <a:cubicBezTo>
                    <a:pt x="183" y="281"/>
                    <a:pt x="170" y="282"/>
                    <a:pt x="163" y="277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9" name="任意多边形: 形状 878"/>
            <p:cNvSpPr/>
            <p:nvPr userDrawn="1"/>
          </p:nvSpPr>
          <p:spPr bwMode="auto">
            <a:xfrm>
              <a:off x="9193083" y="4997450"/>
              <a:ext cx="1474788" cy="850900"/>
            </a:xfrm>
            <a:custGeom>
              <a:avLst/>
              <a:gdLst>
                <a:gd name="T0" fmla="*/ 6 w 447"/>
                <a:gd name="T1" fmla="*/ 161 h 258"/>
                <a:gd name="T2" fmla="*/ 279 w 447"/>
                <a:gd name="T3" fmla="*/ 4 h 258"/>
                <a:gd name="T4" fmla="*/ 296 w 447"/>
                <a:gd name="T5" fmla="*/ 3 h 258"/>
                <a:gd name="T6" fmla="*/ 442 w 447"/>
                <a:gd name="T7" fmla="*/ 87 h 258"/>
                <a:gd name="T8" fmla="*/ 441 w 447"/>
                <a:gd name="T9" fmla="*/ 97 h 258"/>
                <a:gd name="T10" fmla="*/ 168 w 447"/>
                <a:gd name="T11" fmla="*/ 255 h 258"/>
                <a:gd name="T12" fmla="*/ 150 w 447"/>
                <a:gd name="T13" fmla="*/ 256 h 258"/>
                <a:gd name="T14" fmla="*/ 4 w 447"/>
                <a:gd name="T15" fmla="*/ 171 h 258"/>
                <a:gd name="T16" fmla="*/ 6 w 447"/>
                <a:gd name="T17" fmla="*/ 16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7" h="258">
                  <a:moveTo>
                    <a:pt x="6" y="161"/>
                  </a:moveTo>
                  <a:cubicBezTo>
                    <a:pt x="279" y="4"/>
                    <a:pt x="279" y="4"/>
                    <a:pt x="279" y="4"/>
                  </a:cubicBezTo>
                  <a:cubicBezTo>
                    <a:pt x="284" y="1"/>
                    <a:pt x="292" y="0"/>
                    <a:pt x="296" y="3"/>
                  </a:cubicBezTo>
                  <a:cubicBezTo>
                    <a:pt x="442" y="87"/>
                    <a:pt x="442" y="87"/>
                    <a:pt x="442" y="87"/>
                  </a:cubicBezTo>
                  <a:cubicBezTo>
                    <a:pt x="447" y="90"/>
                    <a:pt x="446" y="94"/>
                    <a:pt x="441" y="97"/>
                  </a:cubicBezTo>
                  <a:cubicBezTo>
                    <a:pt x="168" y="255"/>
                    <a:pt x="168" y="255"/>
                    <a:pt x="168" y="255"/>
                  </a:cubicBezTo>
                  <a:cubicBezTo>
                    <a:pt x="163" y="258"/>
                    <a:pt x="155" y="258"/>
                    <a:pt x="150" y="256"/>
                  </a:cubicBezTo>
                  <a:cubicBezTo>
                    <a:pt x="4" y="171"/>
                    <a:pt x="4" y="171"/>
                    <a:pt x="4" y="171"/>
                  </a:cubicBezTo>
                  <a:cubicBezTo>
                    <a:pt x="0" y="169"/>
                    <a:pt x="0" y="164"/>
                    <a:pt x="6" y="161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0" name="任意多边形: 形状 879"/>
            <p:cNvSpPr/>
            <p:nvPr userDrawn="1"/>
          </p:nvSpPr>
          <p:spPr bwMode="auto">
            <a:xfrm>
              <a:off x="10394821" y="5110162"/>
              <a:ext cx="79375" cy="46038"/>
            </a:xfrm>
            <a:custGeom>
              <a:avLst/>
              <a:gdLst>
                <a:gd name="T0" fmla="*/ 6 w 24"/>
                <a:gd name="T1" fmla="*/ 1 h 14"/>
                <a:gd name="T2" fmla="*/ 23 w 24"/>
                <a:gd name="T3" fmla="*/ 11 h 14"/>
                <a:gd name="T4" fmla="*/ 23 w 24"/>
                <a:gd name="T5" fmla="*/ 13 h 14"/>
                <a:gd name="T6" fmla="*/ 23 w 24"/>
                <a:gd name="T7" fmla="*/ 13 h 14"/>
                <a:gd name="T8" fmla="*/ 19 w 24"/>
                <a:gd name="T9" fmla="*/ 13 h 14"/>
                <a:gd name="T10" fmla="*/ 1 w 24"/>
                <a:gd name="T11" fmla="*/ 3 h 14"/>
                <a:gd name="T12" fmla="*/ 1 w 24"/>
                <a:gd name="T13" fmla="*/ 1 h 14"/>
                <a:gd name="T14" fmla="*/ 1 w 24"/>
                <a:gd name="T15" fmla="*/ 1 h 14"/>
                <a:gd name="T16" fmla="*/ 6 w 24"/>
                <a:gd name="T1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4">
                  <a:moveTo>
                    <a:pt x="6" y="1"/>
                  </a:moveTo>
                  <a:cubicBezTo>
                    <a:pt x="23" y="11"/>
                    <a:pt x="23" y="11"/>
                    <a:pt x="23" y="11"/>
                  </a:cubicBezTo>
                  <a:cubicBezTo>
                    <a:pt x="24" y="11"/>
                    <a:pt x="24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1" y="14"/>
                    <a:pt x="20" y="14"/>
                    <a:pt x="19" y="1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1" name="任意多边形: 形状 880"/>
            <p:cNvSpPr/>
            <p:nvPr userDrawn="1"/>
          </p:nvSpPr>
          <p:spPr bwMode="auto">
            <a:xfrm>
              <a:off x="10520233" y="5389562"/>
              <a:ext cx="98425" cy="76200"/>
            </a:xfrm>
            <a:custGeom>
              <a:avLst/>
              <a:gdLst>
                <a:gd name="T0" fmla="*/ 0 w 30"/>
                <a:gd name="T1" fmla="*/ 20 h 23"/>
                <a:gd name="T2" fmla="*/ 0 w 30"/>
                <a:gd name="T3" fmla="*/ 20 h 23"/>
                <a:gd name="T4" fmla="*/ 3 w 30"/>
                <a:gd name="T5" fmla="*/ 22 h 23"/>
                <a:gd name="T6" fmla="*/ 28 w 30"/>
                <a:gd name="T7" fmla="*/ 7 h 23"/>
                <a:gd name="T8" fmla="*/ 30 w 30"/>
                <a:gd name="T9" fmla="*/ 3 h 23"/>
                <a:gd name="T10" fmla="*/ 30 w 30"/>
                <a:gd name="T11" fmla="*/ 3 h 23"/>
                <a:gd name="T12" fmla="*/ 28 w 30"/>
                <a:gd name="T13" fmla="*/ 1 h 23"/>
                <a:gd name="T14" fmla="*/ 3 w 30"/>
                <a:gd name="T15" fmla="*/ 15 h 23"/>
                <a:gd name="T16" fmla="*/ 0 w 30"/>
                <a:gd name="T17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3">
                  <a:moveTo>
                    <a:pt x="0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3"/>
                    <a:pt x="3" y="22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9" y="7"/>
                    <a:pt x="30" y="4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"/>
                    <a:pt x="29" y="0"/>
                    <a:pt x="28" y="1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" y="16"/>
                    <a:pt x="0" y="18"/>
                    <a:pt x="0" y="20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2" name="任意多边形: 形状 881"/>
            <p:cNvSpPr/>
            <p:nvPr userDrawn="1"/>
          </p:nvSpPr>
          <p:spPr bwMode="auto">
            <a:xfrm>
              <a:off x="10391646" y="5462587"/>
              <a:ext cx="101600" cy="76200"/>
            </a:xfrm>
            <a:custGeom>
              <a:avLst/>
              <a:gdLst>
                <a:gd name="T0" fmla="*/ 0 w 31"/>
                <a:gd name="T1" fmla="*/ 20 h 23"/>
                <a:gd name="T2" fmla="*/ 0 w 31"/>
                <a:gd name="T3" fmla="*/ 20 h 23"/>
                <a:gd name="T4" fmla="*/ 3 w 31"/>
                <a:gd name="T5" fmla="*/ 22 h 23"/>
                <a:gd name="T6" fmla="*/ 28 w 31"/>
                <a:gd name="T7" fmla="*/ 8 h 23"/>
                <a:gd name="T8" fmla="*/ 31 w 31"/>
                <a:gd name="T9" fmla="*/ 3 h 23"/>
                <a:gd name="T10" fmla="*/ 31 w 31"/>
                <a:gd name="T11" fmla="*/ 3 h 23"/>
                <a:gd name="T12" fmla="*/ 28 w 31"/>
                <a:gd name="T13" fmla="*/ 1 h 23"/>
                <a:gd name="T14" fmla="*/ 3 w 31"/>
                <a:gd name="T15" fmla="*/ 16 h 23"/>
                <a:gd name="T16" fmla="*/ 0 w 31"/>
                <a:gd name="T17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0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3"/>
                    <a:pt x="3" y="22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30" y="7"/>
                    <a:pt x="31" y="5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1"/>
                    <a:pt x="30" y="0"/>
                    <a:pt x="28" y="1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7"/>
                    <a:pt x="0" y="19"/>
                    <a:pt x="0" y="20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3" name="任意多边形: 形状 882"/>
            <p:cNvSpPr/>
            <p:nvPr userDrawn="1"/>
          </p:nvSpPr>
          <p:spPr bwMode="auto">
            <a:xfrm>
              <a:off x="9340721" y="5695950"/>
              <a:ext cx="100013" cy="73025"/>
            </a:xfrm>
            <a:custGeom>
              <a:avLst/>
              <a:gdLst>
                <a:gd name="T0" fmla="*/ 0 w 30"/>
                <a:gd name="T1" fmla="*/ 2 h 22"/>
                <a:gd name="T2" fmla="*/ 0 w 30"/>
                <a:gd name="T3" fmla="*/ 2 h 22"/>
                <a:gd name="T4" fmla="*/ 3 w 30"/>
                <a:gd name="T5" fmla="*/ 7 h 22"/>
                <a:gd name="T6" fmla="*/ 28 w 30"/>
                <a:gd name="T7" fmla="*/ 22 h 22"/>
                <a:gd name="T8" fmla="*/ 30 w 30"/>
                <a:gd name="T9" fmla="*/ 20 h 22"/>
                <a:gd name="T10" fmla="*/ 30 w 30"/>
                <a:gd name="T11" fmla="*/ 20 h 22"/>
                <a:gd name="T12" fmla="*/ 28 w 30"/>
                <a:gd name="T13" fmla="*/ 15 h 22"/>
                <a:gd name="T14" fmla="*/ 3 w 30"/>
                <a:gd name="T15" fmla="*/ 0 h 22"/>
                <a:gd name="T16" fmla="*/ 0 w 30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1" y="6"/>
                    <a:pt x="3" y="7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9" y="22"/>
                    <a:pt x="30" y="22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18"/>
                    <a:pt x="29" y="16"/>
                    <a:pt x="28" y="1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4" name="任意多边形: 形状 883"/>
            <p:cNvSpPr/>
            <p:nvPr userDrawn="1"/>
          </p:nvSpPr>
          <p:spPr bwMode="auto">
            <a:xfrm>
              <a:off x="9383583" y="5307012"/>
              <a:ext cx="39688" cy="26988"/>
            </a:xfrm>
            <a:custGeom>
              <a:avLst/>
              <a:gdLst>
                <a:gd name="T0" fmla="*/ 0 w 25"/>
                <a:gd name="T1" fmla="*/ 8 h 17"/>
                <a:gd name="T2" fmla="*/ 15 w 25"/>
                <a:gd name="T3" fmla="*/ 0 h 17"/>
                <a:gd name="T4" fmla="*/ 25 w 25"/>
                <a:gd name="T5" fmla="*/ 6 h 17"/>
                <a:gd name="T6" fmla="*/ 9 w 25"/>
                <a:gd name="T7" fmla="*/ 17 h 17"/>
                <a:gd name="T8" fmla="*/ 0 w 2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0" y="8"/>
                  </a:moveTo>
                  <a:lnTo>
                    <a:pt x="15" y="0"/>
                  </a:lnTo>
                  <a:lnTo>
                    <a:pt x="25" y="6"/>
                  </a:lnTo>
                  <a:lnTo>
                    <a:pt x="9" y="17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5" name="任意多边形: 形状 884"/>
            <p:cNvSpPr/>
            <p:nvPr userDrawn="1"/>
          </p:nvSpPr>
          <p:spPr bwMode="auto">
            <a:xfrm>
              <a:off x="9486771" y="5287962"/>
              <a:ext cx="36513" cy="19050"/>
            </a:xfrm>
            <a:custGeom>
              <a:avLst/>
              <a:gdLst>
                <a:gd name="T0" fmla="*/ 0 w 23"/>
                <a:gd name="T1" fmla="*/ 8 h 12"/>
                <a:gd name="T2" fmla="*/ 14 w 23"/>
                <a:gd name="T3" fmla="*/ 0 h 12"/>
                <a:gd name="T4" fmla="*/ 23 w 23"/>
                <a:gd name="T5" fmla="*/ 6 h 12"/>
                <a:gd name="T6" fmla="*/ 4 w 23"/>
                <a:gd name="T7" fmla="*/ 12 h 12"/>
                <a:gd name="T8" fmla="*/ 0 w 23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0" y="8"/>
                  </a:moveTo>
                  <a:lnTo>
                    <a:pt x="14" y="0"/>
                  </a:lnTo>
                  <a:lnTo>
                    <a:pt x="23" y="6"/>
                  </a:lnTo>
                  <a:lnTo>
                    <a:pt x="4" y="12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6" name="任意多边形: 形状 885"/>
            <p:cNvSpPr/>
            <p:nvPr userDrawn="1"/>
          </p:nvSpPr>
          <p:spPr bwMode="auto">
            <a:xfrm>
              <a:off x="9728071" y="5603875"/>
              <a:ext cx="25400" cy="15875"/>
            </a:xfrm>
            <a:custGeom>
              <a:avLst/>
              <a:gdLst>
                <a:gd name="T0" fmla="*/ 4 w 16"/>
                <a:gd name="T1" fmla="*/ 10 h 10"/>
                <a:gd name="T2" fmla="*/ 16 w 16"/>
                <a:gd name="T3" fmla="*/ 2 h 10"/>
                <a:gd name="T4" fmla="*/ 14 w 16"/>
                <a:gd name="T5" fmla="*/ 0 h 10"/>
                <a:gd name="T6" fmla="*/ 0 w 16"/>
                <a:gd name="T7" fmla="*/ 4 h 10"/>
                <a:gd name="T8" fmla="*/ 4 w 1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0">
                  <a:moveTo>
                    <a:pt x="4" y="10"/>
                  </a:moveTo>
                  <a:lnTo>
                    <a:pt x="16" y="2"/>
                  </a:lnTo>
                  <a:lnTo>
                    <a:pt x="14" y="0"/>
                  </a:lnTo>
                  <a:lnTo>
                    <a:pt x="0" y="4"/>
                  </a:lnTo>
                  <a:lnTo>
                    <a:pt x="4" y="10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7" name="任意多边形: 形状 886"/>
            <p:cNvSpPr/>
            <p:nvPr userDrawn="1"/>
          </p:nvSpPr>
          <p:spPr bwMode="auto">
            <a:xfrm>
              <a:off x="9391521" y="5260975"/>
              <a:ext cx="382588" cy="361950"/>
            </a:xfrm>
            <a:custGeom>
              <a:avLst/>
              <a:gdLst>
                <a:gd name="T0" fmla="*/ 116 w 116"/>
                <a:gd name="T1" fmla="*/ 87 h 110"/>
                <a:gd name="T2" fmla="*/ 116 w 116"/>
                <a:gd name="T3" fmla="*/ 92 h 110"/>
                <a:gd name="T4" fmla="*/ 96 w 116"/>
                <a:gd name="T5" fmla="*/ 104 h 110"/>
                <a:gd name="T6" fmla="*/ 77 w 116"/>
                <a:gd name="T7" fmla="*/ 93 h 110"/>
                <a:gd name="T8" fmla="*/ 44 w 116"/>
                <a:gd name="T9" fmla="*/ 74 h 110"/>
                <a:gd name="T10" fmla="*/ 20 w 116"/>
                <a:gd name="T11" fmla="*/ 60 h 110"/>
                <a:gd name="T12" fmla="*/ 0 w 116"/>
                <a:gd name="T13" fmla="*/ 25 h 110"/>
                <a:gd name="T14" fmla="*/ 0 w 116"/>
                <a:gd name="T15" fmla="*/ 25 h 110"/>
                <a:gd name="T16" fmla="*/ 17 w 116"/>
                <a:gd name="T17" fmla="*/ 15 h 110"/>
                <a:gd name="T18" fmla="*/ 27 w 116"/>
                <a:gd name="T19" fmla="*/ 25 h 110"/>
                <a:gd name="T20" fmla="*/ 61 w 116"/>
                <a:gd name="T21" fmla="*/ 10 h 110"/>
                <a:gd name="T22" fmla="*/ 93 w 116"/>
                <a:gd name="T23" fmla="*/ 55 h 110"/>
                <a:gd name="T24" fmla="*/ 99 w 116"/>
                <a:gd name="T25" fmla="*/ 58 h 110"/>
                <a:gd name="T26" fmla="*/ 116 w 116"/>
                <a:gd name="T27" fmla="*/ 8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116" y="87"/>
                  </a:moveTo>
                  <a:cubicBezTo>
                    <a:pt x="116" y="92"/>
                    <a:pt x="116" y="92"/>
                    <a:pt x="116" y="92"/>
                  </a:cubicBezTo>
                  <a:cubicBezTo>
                    <a:pt x="116" y="105"/>
                    <a:pt x="107" y="110"/>
                    <a:pt x="96" y="104"/>
                  </a:cubicBezTo>
                  <a:cubicBezTo>
                    <a:pt x="77" y="93"/>
                    <a:pt x="77" y="93"/>
                    <a:pt x="77" y="93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9" y="53"/>
                    <a:pt x="0" y="38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4"/>
                    <a:pt x="7" y="10"/>
                    <a:pt x="17" y="15"/>
                  </a:cubicBezTo>
                  <a:cubicBezTo>
                    <a:pt x="21" y="17"/>
                    <a:pt x="24" y="21"/>
                    <a:pt x="27" y="25"/>
                  </a:cubicBezTo>
                  <a:cubicBezTo>
                    <a:pt x="29" y="7"/>
                    <a:pt x="43" y="0"/>
                    <a:pt x="61" y="10"/>
                  </a:cubicBezTo>
                  <a:cubicBezTo>
                    <a:pt x="76" y="19"/>
                    <a:pt x="88" y="37"/>
                    <a:pt x="93" y="55"/>
                  </a:cubicBezTo>
                  <a:cubicBezTo>
                    <a:pt x="95" y="55"/>
                    <a:pt x="97" y="56"/>
                    <a:pt x="99" y="58"/>
                  </a:cubicBezTo>
                  <a:cubicBezTo>
                    <a:pt x="109" y="63"/>
                    <a:pt x="116" y="76"/>
                    <a:pt x="116" y="87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8" name="任意多边形: 形状 887"/>
            <p:cNvSpPr/>
            <p:nvPr userDrawn="1"/>
          </p:nvSpPr>
          <p:spPr bwMode="auto">
            <a:xfrm>
              <a:off x="9367708" y="5273675"/>
              <a:ext cx="385763" cy="363538"/>
            </a:xfrm>
            <a:custGeom>
              <a:avLst/>
              <a:gdLst>
                <a:gd name="T0" fmla="*/ 117 w 117"/>
                <a:gd name="T1" fmla="*/ 87 h 110"/>
                <a:gd name="T2" fmla="*/ 117 w 117"/>
                <a:gd name="T3" fmla="*/ 92 h 110"/>
                <a:gd name="T4" fmla="*/ 97 w 117"/>
                <a:gd name="T5" fmla="*/ 104 h 110"/>
                <a:gd name="T6" fmla="*/ 78 w 117"/>
                <a:gd name="T7" fmla="*/ 93 h 110"/>
                <a:gd name="T8" fmla="*/ 45 w 117"/>
                <a:gd name="T9" fmla="*/ 73 h 110"/>
                <a:gd name="T10" fmla="*/ 20 w 117"/>
                <a:gd name="T11" fmla="*/ 59 h 110"/>
                <a:gd name="T12" fmla="*/ 0 w 117"/>
                <a:gd name="T13" fmla="*/ 25 h 110"/>
                <a:gd name="T14" fmla="*/ 0 w 117"/>
                <a:gd name="T15" fmla="*/ 25 h 110"/>
                <a:gd name="T16" fmla="*/ 17 w 117"/>
                <a:gd name="T17" fmla="*/ 15 h 110"/>
                <a:gd name="T18" fmla="*/ 28 w 117"/>
                <a:gd name="T19" fmla="*/ 25 h 110"/>
                <a:gd name="T20" fmla="*/ 61 w 117"/>
                <a:gd name="T21" fmla="*/ 10 h 110"/>
                <a:gd name="T22" fmla="*/ 93 w 117"/>
                <a:gd name="T23" fmla="*/ 55 h 110"/>
                <a:gd name="T24" fmla="*/ 100 w 117"/>
                <a:gd name="T25" fmla="*/ 57 h 110"/>
                <a:gd name="T26" fmla="*/ 117 w 117"/>
                <a:gd name="T27" fmla="*/ 8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0">
                  <a:moveTo>
                    <a:pt x="117" y="87"/>
                  </a:moveTo>
                  <a:cubicBezTo>
                    <a:pt x="117" y="92"/>
                    <a:pt x="117" y="92"/>
                    <a:pt x="117" y="92"/>
                  </a:cubicBezTo>
                  <a:cubicBezTo>
                    <a:pt x="117" y="105"/>
                    <a:pt x="108" y="110"/>
                    <a:pt x="97" y="104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9" y="53"/>
                    <a:pt x="0" y="38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4"/>
                    <a:pt x="8" y="9"/>
                    <a:pt x="17" y="15"/>
                  </a:cubicBezTo>
                  <a:cubicBezTo>
                    <a:pt x="21" y="17"/>
                    <a:pt x="25" y="21"/>
                    <a:pt x="28" y="25"/>
                  </a:cubicBezTo>
                  <a:cubicBezTo>
                    <a:pt x="30" y="7"/>
                    <a:pt x="44" y="0"/>
                    <a:pt x="61" y="10"/>
                  </a:cubicBezTo>
                  <a:cubicBezTo>
                    <a:pt x="76" y="19"/>
                    <a:pt x="89" y="37"/>
                    <a:pt x="93" y="55"/>
                  </a:cubicBezTo>
                  <a:cubicBezTo>
                    <a:pt x="95" y="55"/>
                    <a:pt x="97" y="56"/>
                    <a:pt x="100" y="57"/>
                  </a:cubicBezTo>
                  <a:cubicBezTo>
                    <a:pt x="109" y="63"/>
                    <a:pt x="117" y="76"/>
                    <a:pt x="117" y="87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grpSp>
          <p:nvGrpSpPr>
            <p:cNvPr id="8" name="组合 7"/>
            <p:cNvGrpSpPr/>
            <p:nvPr userDrawn="1"/>
          </p:nvGrpSpPr>
          <p:grpSpPr>
            <a:xfrm>
              <a:off x="9483596" y="4786312"/>
              <a:ext cx="250825" cy="327025"/>
              <a:chOff x="9483596" y="4786312"/>
              <a:chExt cx="250825" cy="327025"/>
            </a:xfrm>
          </p:grpSpPr>
          <p:sp>
            <p:nvSpPr>
              <p:cNvPr id="889" name="任意多边形: 形状 888"/>
              <p:cNvSpPr/>
              <p:nvPr userDrawn="1"/>
            </p:nvSpPr>
            <p:spPr bwMode="auto">
              <a:xfrm>
                <a:off x="9513758" y="4786312"/>
                <a:ext cx="220663" cy="300038"/>
              </a:xfrm>
              <a:custGeom>
                <a:avLst/>
                <a:gdLst>
                  <a:gd name="T0" fmla="*/ 67 w 67"/>
                  <a:gd name="T1" fmla="*/ 64 h 91"/>
                  <a:gd name="T2" fmla="*/ 33 w 67"/>
                  <a:gd name="T3" fmla="*/ 6 h 91"/>
                  <a:gd name="T4" fmla="*/ 9 w 67"/>
                  <a:gd name="T5" fmla="*/ 3 h 91"/>
                  <a:gd name="T6" fmla="*/ 9 w 67"/>
                  <a:gd name="T7" fmla="*/ 3 h 91"/>
                  <a:gd name="T8" fmla="*/ 9 w 67"/>
                  <a:gd name="T9" fmla="*/ 3 h 91"/>
                  <a:gd name="T10" fmla="*/ 9 w 67"/>
                  <a:gd name="T11" fmla="*/ 3 h 91"/>
                  <a:gd name="T12" fmla="*/ 1 w 67"/>
                  <a:gd name="T13" fmla="*/ 8 h 91"/>
                  <a:gd name="T14" fmla="*/ 3 w 67"/>
                  <a:gd name="T15" fmla="*/ 11 h 91"/>
                  <a:gd name="T16" fmla="*/ 0 w 67"/>
                  <a:gd name="T17" fmla="*/ 25 h 91"/>
                  <a:gd name="T18" fmla="*/ 33 w 67"/>
                  <a:gd name="T19" fmla="*/ 83 h 91"/>
                  <a:gd name="T20" fmla="*/ 46 w 67"/>
                  <a:gd name="T21" fmla="*/ 88 h 91"/>
                  <a:gd name="T22" fmla="*/ 48 w 67"/>
                  <a:gd name="T23" fmla="*/ 91 h 91"/>
                  <a:gd name="T24" fmla="*/ 57 w 67"/>
                  <a:gd name="T25" fmla="*/ 85 h 91"/>
                  <a:gd name="T26" fmla="*/ 57 w 67"/>
                  <a:gd name="T27" fmla="*/ 85 h 91"/>
                  <a:gd name="T28" fmla="*/ 57 w 67"/>
                  <a:gd name="T29" fmla="*/ 85 h 91"/>
                  <a:gd name="T30" fmla="*/ 57 w 67"/>
                  <a:gd name="T31" fmla="*/ 85 h 91"/>
                  <a:gd name="T32" fmla="*/ 67 w 67"/>
                  <a:gd name="T33" fmla="*/ 6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7" h="91">
                    <a:moveTo>
                      <a:pt x="67" y="64"/>
                    </a:moveTo>
                    <a:cubicBezTo>
                      <a:pt x="67" y="42"/>
                      <a:pt x="52" y="16"/>
                      <a:pt x="33" y="6"/>
                    </a:cubicBezTo>
                    <a:cubicBezTo>
                      <a:pt x="24" y="0"/>
                      <a:pt x="16" y="0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1" y="15"/>
                      <a:pt x="0" y="19"/>
                      <a:pt x="0" y="25"/>
                    </a:cubicBezTo>
                    <a:cubicBezTo>
                      <a:pt x="0" y="46"/>
                      <a:pt x="15" y="72"/>
                      <a:pt x="33" y="83"/>
                    </a:cubicBezTo>
                    <a:cubicBezTo>
                      <a:pt x="38" y="86"/>
                      <a:pt x="42" y="87"/>
                      <a:pt x="46" y="88"/>
                    </a:cubicBezTo>
                    <a:cubicBezTo>
                      <a:pt x="48" y="91"/>
                      <a:pt x="48" y="91"/>
                      <a:pt x="48" y="91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63" y="82"/>
                      <a:pt x="67" y="74"/>
                      <a:pt x="67" y="64"/>
                    </a:cubicBezTo>
                    <a:close/>
                  </a:path>
                </a:pathLst>
              </a:custGeom>
              <a:solidFill>
                <a:srgbClr val="E27D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90" name="任意多边形: 形状 889"/>
              <p:cNvSpPr/>
              <p:nvPr userDrawn="1"/>
            </p:nvSpPr>
            <p:spPr bwMode="auto">
              <a:xfrm>
                <a:off x="9483596" y="4786312"/>
                <a:ext cx="223838" cy="327025"/>
              </a:xfrm>
              <a:custGeom>
                <a:avLst/>
                <a:gdLst>
                  <a:gd name="T0" fmla="*/ 0 w 68"/>
                  <a:gd name="T1" fmla="*/ 30 h 99"/>
                  <a:gd name="T2" fmla="*/ 34 w 68"/>
                  <a:gd name="T3" fmla="*/ 10 h 99"/>
                  <a:gd name="T4" fmla="*/ 68 w 68"/>
                  <a:gd name="T5" fmla="*/ 69 h 99"/>
                  <a:gd name="T6" fmla="*/ 34 w 68"/>
                  <a:gd name="T7" fmla="*/ 88 h 99"/>
                  <a:gd name="T8" fmla="*/ 0 w 68"/>
                  <a:gd name="T9" fmla="*/ 3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99">
                    <a:moveTo>
                      <a:pt x="0" y="30"/>
                    </a:moveTo>
                    <a:cubicBezTo>
                      <a:pt x="0" y="8"/>
                      <a:pt x="15" y="0"/>
                      <a:pt x="34" y="10"/>
                    </a:cubicBezTo>
                    <a:cubicBezTo>
                      <a:pt x="53" y="21"/>
                      <a:pt x="68" y="47"/>
                      <a:pt x="68" y="69"/>
                    </a:cubicBezTo>
                    <a:cubicBezTo>
                      <a:pt x="68" y="90"/>
                      <a:pt x="53" y="99"/>
                      <a:pt x="34" y="88"/>
                    </a:cubicBezTo>
                    <a:cubicBezTo>
                      <a:pt x="15" y="77"/>
                      <a:pt x="0" y="51"/>
                      <a:pt x="0" y="30"/>
                    </a:cubicBezTo>
                    <a:close/>
                  </a:path>
                </a:pathLst>
              </a:custGeom>
              <a:solidFill>
                <a:srgbClr val="EAA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91" name="任意多边形: 形状 890"/>
              <p:cNvSpPr/>
              <p:nvPr userDrawn="1"/>
            </p:nvSpPr>
            <p:spPr bwMode="auto">
              <a:xfrm>
                <a:off x="9562971" y="4875212"/>
                <a:ext cx="88900" cy="122238"/>
              </a:xfrm>
              <a:custGeom>
                <a:avLst/>
                <a:gdLst>
                  <a:gd name="T0" fmla="*/ 0 w 27"/>
                  <a:gd name="T1" fmla="*/ 17 h 37"/>
                  <a:gd name="T2" fmla="*/ 0 w 27"/>
                  <a:gd name="T3" fmla="*/ 2 h 37"/>
                  <a:gd name="T4" fmla="*/ 3 w 27"/>
                  <a:gd name="T5" fmla="*/ 2 h 37"/>
                  <a:gd name="T6" fmla="*/ 14 w 27"/>
                  <a:gd name="T7" fmla="*/ 16 h 37"/>
                  <a:gd name="T8" fmla="*/ 25 w 27"/>
                  <a:gd name="T9" fmla="*/ 30 h 37"/>
                  <a:gd name="T10" fmla="*/ 25 w 27"/>
                  <a:gd name="T11" fmla="*/ 34 h 37"/>
                  <a:gd name="T12" fmla="*/ 14 w 27"/>
                  <a:gd name="T13" fmla="*/ 35 h 37"/>
                  <a:gd name="T14" fmla="*/ 3 w 27"/>
                  <a:gd name="T15" fmla="*/ 37 h 37"/>
                  <a:gd name="T16" fmla="*/ 0 w 27"/>
                  <a:gd name="T17" fmla="*/ 32 h 37"/>
                  <a:gd name="T18" fmla="*/ 0 w 27"/>
                  <a:gd name="T19" fmla="*/ 1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7">
                    <a:moveTo>
                      <a:pt x="0" y="17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1" y="0"/>
                      <a:pt x="3" y="2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7" y="32"/>
                      <a:pt x="27" y="34"/>
                      <a:pt x="2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3" y="37"/>
                      <a:pt x="3" y="37"/>
                      <a:pt x="3" y="37"/>
                    </a:cubicBezTo>
                    <a:cubicBezTo>
                      <a:pt x="1" y="37"/>
                      <a:pt x="0" y="34"/>
                      <a:pt x="0" y="32"/>
                    </a:cubicBez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F5DB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892" name="任意多边形: 形状 891"/>
            <p:cNvSpPr/>
            <p:nvPr userDrawn="1"/>
          </p:nvSpPr>
          <p:spPr bwMode="auto">
            <a:xfrm>
              <a:off x="9945558" y="4770437"/>
              <a:ext cx="19050" cy="15875"/>
            </a:xfrm>
            <a:custGeom>
              <a:avLst/>
              <a:gdLst>
                <a:gd name="T0" fmla="*/ 4 w 12"/>
                <a:gd name="T1" fmla="*/ 10 h 10"/>
                <a:gd name="T2" fmla="*/ 12 w 12"/>
                <a:gd name="T3" fmla="*/ 6 h 10"/>
                <a:gd name="T4" fmla="*/ 10 w 12"/>
                <a:gd name="T5" fmla="*/ 0 h 10"/>
                <a:gd name="T6" fmla="*/ 0 w 12"/>
                <a:gd name="T7" fmla="*/ 6 h 10"/>
                <a:gd name="T8" fmla="*/ 4 w 12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4" y="10"/>
                  </a:moveTo>
                  <a:lnTo>
                    <a:pt x="12" y="6"/>
                  </a:lnTo>
                  <a:lnTo>
                    <a:pt x="10" y="0"/>
                  </a:lnTo>
                  <a:lnTo>
                    <a:pt x="0" y="6"/>
                  </a:lnTo>
                  <a:lnTo>
                    <a:pt x="4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3" name="任意多边形: 形状 892"/>
            <p:cNvSpPr/>
            <p:nvPr userDrawn="1"/>
          </p:nvSpPr>
          <p:spPr bwMode="auto">
            <a:xfrm>
              <a:off x="9747121" y="4357687"/>
              <a:ext cx="225425" cy="425450"/>
            </a:xfrm>
            <a:custGeom>
              <a:avLst/>
              <a:gdLst>
                <a:gd name="T0" fmla="*/ 68 w 68"/>
                <a:gd name="T1" fmla="*/ 29 h 129"/>
                <a:gd name="T2" fmla="*/ 68 w 68"/>
                <a:gd name="T3" fmla="*/ 124 h 129"/>
                <a:gd name="T4" fmla="*/ 62 w 68"/>
                <a:gd name="T5" fmla="*/ 127 h 129"/>
                <a:gd name="T6" fmla="*/ 6 w 68"/>
                <a:gd name="T7" fmla="*/ 95 h 129"/>
                <a:gd name="T8" fmla="*/ 0 w 68"/>
                <a:gd name="T9" fmla="*/ 85 h 129"/>
                <a:gd name="T10" fmla="*/ 0 w 68"/>
                <a:gd name="T11" fmla="*/ 18 h 129"/>
                <a:gd name="T12" fmla="*/ 30 w 68"/>
                <a:gd name="T13" fmla="*/ 0 h 129"/>
                <a:gd name="T14" fmla="*/ 62 w 68"/>
                <a:gd name="T15" fmla="*/ 19 h 129"/>
                <a:gd name="T16" fmla="*/ 68 w 68"/>
                <a:gd name="T17" fmla="*/ 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9">
                  <a:moveTo>
                    <a:pt x="68" y="29"/>
                  </a:moveTo>
                  <a:cubicBezTo>
                    <a:pt x="68" y="124"/>
                    <a:pt x="68" y="124"/>
                    <a:pt x="68" y="124"/>
                  </a:cubicBezTo>
                  <a:cubicBezTo>
                    <a:pt x="68" y="128"/>
                    <a:pt x="65" y="129"/>
                    <a:pt x="62" y="127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3" y="93"/>
                    <a:pt x="0" y="88"/>
                    <a:pt x="0" y="8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5" y="21"/>
                    <a:pt x="68" y="25"/>
                    <a:pt x="68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4" name="任意多边形: 形状 893"/>
            <p:cNvSpPr/>
            <p:nvPr userDrawn="1"/>
          </p:nvSpPr>
          <p:spPr bwMode="auto">
            <a:xfrm>
              <a:off x="9734421" y="4367212"/>
              <a:ext cx="220663" cy="425450"/>
            </a:xfrm>
            <a:custGeom>
              <a:avLst/>
              <a:gdLst>
                <a:gd name="T0" fmla="*/ 67 w 67"/>
                <a:gd name="T1" fmla="*/ 29 h 129"/>
                <a:gd name="T2" fmla="*/ 67 w 67"/>
                <a:gd name="T3" fmla="*/ 124 h 129"/>
                <a:gd name="T4" fmla="*/ 61 w 67"/>
                <a:gd name="T5" fmla="*/ 127 h 129"/>
                <a:gd name="T6" fmla="*/ 5 w 67"/>
                <a:gd name="T7" fmla="*/ 95 h 129"/>
                <a:gd name="T8" fmla="*/ 0 w 67"/>
                <a:gd name="T9" fmla="*/ 85 h 129"/>
                <a:gd name="T10" fmla="*/ 0 w 67"/>
                <a:gd name="T11" fmla="*/ 18 h 129"/>
                <a:gd name="T12" fmla="*/ 30 w 67"/>
                <a:gd name="T13" fmla="*/ 0 h 129"/>
                <a:gd name="T14" fmla="*/ 61 w 67"/>
                <a:gd name="T15" fmla="*/ 19 h 129"/>
                <a:gd name="T16" fmla="*/ 67 w 67"/>
                <a:gd name="T17" fmla="*/ 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129">
                  <a:moveTo>
                    <a:pt x="67" y="29"/>
                  </a:moveTo>
                  <a:cubicBezTo>
                    <a:pt x="67" y="124"/>
                    <a:pt x="67" y="124"/>
                    <a:pt x="67" y="124"/>
                  </a:cubicBezTo>
                  <a:cubicBezTo>
                    <a:pt x="67" y="127"/>
                    <a:pt x="65" y="129"/>
                    <a:pt x="61" y="127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2" y="93"/>
                    <a:pt x="0" y="88"/>
                    <a:pt x="0" y="8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5" y="20"/>
                    <a:pt x="67" y="25"/>
                    <a:pt x="67" y="29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5" name="任意多边形: 形状 894"/>
            <p:cNvSpPr/>
            <p:nvPr userDrawn="1"/>
          </p:nvSpPr>
          <p:spPr bwMode="auto">
            <a:xfrm>
              <a:off x="9737596" y="4367212"/>
              <a:ext cx="98425" cy="112713"/>
            </a:xfrm>
            <a:custGeom>
              <a:avLst/>
              <a:gdLst>
                <a:gd name="T0" fmla="*/ 30 w 30"/>
                <a:gd name="T1" fmla="*/ 1 h 34"/>
                <a:gd name="T2" fmla="*/ 30 w 30"/>
                <a:gd name="T3" fmla="*/ 29 h 34"/>
                <a:gd name="T4" fmla="*/ 24 w 30"/>
                <a:gd name="T5" fmla="*/ 33 h 34"/>
                <a:gd name="T6" fmla="*/ 0 w 30"/>
                <a:gd name="T7" fmla="*/ 19 h 34"/>
                <a:gd name="T8" fmla="*/ 29 w 30"/>
                <a:gd name="T9" fmla="*/ 0 h 34"/>
                <a:gd name="T10" fmla="*/ 30 w 30"/>
                <a:gd name="T11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4">
                  <a:moveTo>
                    <a:pt x="30" y="1"/>
                  </a:moveTo>
                  <a:cubicBezTo>
                    <a:pt x="30" y="29"/>
                    <a:pt x="30" y="29"/>
                    <a:pt x="30" y="29"/>
                  </a:cubicBezTo>
                  <a:cubicBezTo>
                    <a:pt x="30" y="33"/>
                    <a:pt x="28" y="34"/>
                    <a:pt x="24" y="3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30" y="1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6" name="任意多边形: 形状 895"/>
            <p:cNvSpPr/>
            <p:nvPr userDrawn="1"/>
          </p:nvSpPr>
          <p:spPr bwMode="auto">
            <a:xfrm>
              <a:off x="9734421" y="4367212"/>
              <a:ext cx="98425" cy="109538"/>
            </a:xfrm>
            <a:custGeom>
              <a:avLst/>
              <a:gdLst>
                <a:gd name="T0" fmla="*/ 30 w 30"/>
                <a:gd name="T1" fmla="*/ 0 h 33"/>
                <a:gd name="T2" fmla="*/ 30 w 30"/>
                <a:gd name="T3" fmla="*/ 28 h 33"/>
                <a:gd name="T4" fmla="*/ 24 w 30"/>
                <a:gd name="T5" fmla="*/ 32 h 33"/>
                <a:gd name="T6" fmla="*/ 0 w 30"/>
                <a:gd name="T7" fmla="*/ 18 h 33"/>
                <a:gd name="T8" fmla="*/ 30 w 30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3">
                  <a:moveTo>
                    <a:pt x="30" y="0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30" y="32"/>
                    <a:pt x="27" y="33"/>
                    <a:pt x="24" y="32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7" name="直接连接符 896"/>
            <p:cNvSpPr/>
            <p:nvPr userDrawn="1"/>
          </p:nvSpPr>
          <p:spPr bwMode="auto">
            <a:xfrm>
              <a:off x="9767758" y="4492625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8" name="直接连接符 897"/>
            <p:cNvSpPr/>
            <p:nvPr userDrawn="1"/>
          </p:nvSpPr>
          <p:spPr bwMode="auto">
            <a:xfrm>
              <a:off x="9767758" y="4529137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9" name="直接连接符 898"/>
            <p:cNvSpPr/>
            <p:nvPr userDrawn="1"/>
          </p:nvSpPr>
          <p:spPr bwMode="auto">
            <a:xfrm>
              <a:off x="9767758" y="4565650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00" name="直接连接符 899"/>
            <p:cNvSpPr/>
            <p:nvPr userDrawn="1"/>
          </p:nvSpPr>
          <p:spPr bwMode="auto">
            <a:xfrm>
              <a:off x="9767758" y="4602162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grpSp>
          <p:nvGrpSpPr>
            <p:cNvPr id="7" name="组合 6"/>
            <p:cNvGrpSpPr/>
            <p:nvPr userDrawn="1"/>
          </p:nvGrpSpPr>
          <p:grpSpPr>
            <a:xfrm>
              <a:off x="10018583" y="5126037"/>
              <a:ext cx="236538" cy="309563"/>
              <a:chOff x="10018583" y="5126037"/>
              <a:chExt cx="236538" cy="309563"/>
            </a:xfrm>
          </p:grpSpPr>
          <p:sp>
            <p:nvSpPr>
              <p:cNvPr id="901" name="任意多边形: 形状 900"/>
              <p:cNvSpPr/>
              <p:nvPr userDrawn="1"/>
            </p:nvSpPr>
            <p:spPr bwMode="auto">
              <a:xfrm>
                <a:off x="10031283" y="5126037"/>
                <a:ext cx="223838" cy="306388"/>
              </a:xfrm>
              <a:custGeom>
                <a:avLst/>
                <a:gdLst>
                  <a:gd name="T0" fmla="*/ 20 w 68"/>
                  <a:gd name="T1" fmla="*/ 0 h 93"/>
                  <a:gd name="T2" fmla="*/ 20 w 68"/>
                  <a:gd name="T3" fmla="*/ 50 h 93"/>
                  <a:gd name="T4" fmla="*/ 16 w 68"/>
                  <a:gd name="T5" fmla="*/ 46 h 93"/>
                  <a:gd name="T6" fmla="*/ 15 w 68"/>
                  <a:gd name="T7" fmla="*/ 46 h 93"/>
                  <a:gd name="T8" fmla="*/ 15 w 68"/>
                  <a:gd name="T9" fmla="*/ 45 h 93"/>
                  <a:gd name="T10" fmla="*/ 15 w 68"/>
                  <a:gd name="T11" fmla="*/ 53 h 93"/>
                  <a:gd name="T12" fmla="*/ 9 w 68"/>
                  <a:gd name="T13" fmla="*/ 49 h 93"/>
                  <a:gd name="T14" fmla="*/ 0 w 68"/>
                  <a:gd name="T15" fmla="*/ 48 h 93"/>
                  <a:gd name="T16" fmla="*/ 2 w 68"/>
                  <a:gd name="T17" fmla="*/ 50 h 93"/>
                  <a:gd name="T18" fmla="*/ 1 w 68"/>
                  <a:gd name="T19" fmla="*/ 53 h 93"/>
                  <a:gd name="T20" fmla="*/ 4 w 68"/>
                  <a:gd name="T21" fmla="*/ 64 h 93"/>
                  <a:gd name="T22" fmla="*/ 13 w 68"/>
                  <a:gd name="T23" fmla="*/ 73 h 93"/>
                  <a:gd name="T24" fmla="*/ 15 w 68"/>
                  <a:gd name="T25" fmla="*/ 74 h 93"/>
                  <a:gd name="T26" fmla="*/ 17 w 68"/>
                  <a:gd name="T27" fmla="*/ 77 h 93"/>
                  <a:gd name="T28" fmla="*/ 17 w 68"/>
                  <a:gd name="T29" fmla="*/ 77 h 93"/>
                  <a:gd name="T30" fmla="*/ 22 w 68"/>
                  <a:gd name="T31" fmla="*/ 74 h 93"/>
                  <a:gd name="T32" fmla="*/ 22 w 68"/>
                  <a:gd name="T33" fmla="*/ 73 h 93"/>
                  <a:gd name="T34" fmla="*/ 26 w 68"/>
                  <a:gd name="T35" fmla="*/ 65 h 93"/>
                  <a:gd name="T36" fmla="*/ 26 w 68"/>
                  <a:gd name="T37" fmla="*/ 65 h 93"/>
                  <a:gd name="T38" fmla="*/ 26 w 68"/>
                  <a:gd name="T39" fmla="*/ 22 h 93"/>
                  <a:gd name="T40" fmla="*/ 62 w 68"/>
                  <a:gd name="T41" fmla="*/ 36 h 93"/>
                  <a:gd name="T42" fmla="*/ 62 w 68"/>
                  <a:gd name="T43" fmla="*/ 66 h 93"/>
                  <a:gd name="T44" fmla="*/ 58 w 68"/>
                  <a:gd name="T45" fmla="*/ 62 h 93"/>
                  <a:gd name="T46" fmla="*/ 57 w 68"/>
                  <a:gd name="T47" fmla="*/ 61 h 93"/>
                  <a:gd name="T48" fmla="*/ 56 w 68"/>
                  <a:gd name="T49" fmla="*/ 61 h 93"/>
                  <a:gd name="T50" fmla="*/ 56 w 68"/>
                  <a:gd name="T51" fmla="*/ 69 h 93"/>
                  <a:gd name="T52" fmla="*/ 51 w 68"/>
                  <a:gd name="T53" fmla="*/ 65 h 93"/>
                  <a:gd name="T54" fmla="*/ 42 w 68"/>
                  <a:gd name="T55" fmla="*/ 64 h 93"/>
                  <a:gd name="T56" fmla="*/ 44 w 68"/>
                  <a:gd name="T57" fmla="*/ 66 h 93"/>
                  <a:gd name="T58" fmla="*/ 43 w 68"/>
                  <a:gd name="T59" fmla="*/ 69 h 93"/>
                  <a:gd name="T60" fmla="*/ 46 w 68"/>
                  <a:gd name="T61" fmla="*/ 78 h 93"/>
                  <a:gd name="T62" fmla="*/ 55 w 68"/>
                  <a:gd name="T63" fmla="*/ 89 h 93"/>
                  <a:gd name="T64" fmla="*/ 56 w 68"/>
                  <a:gd name="T65" fmla="*/ 90 h 93"/>
                  <a:gd name="T66" fmla="*/ 58 w 68"/>
                  <a:gd name="T67" fmla="*/ 93 h 93"/>
                  <a:gd name="T68" fmla="*/ 58 w 68"/>
                  <a:gd name="T69" fmla="*/ 93 h 93"/>
                  <a:gd name="T70" fmla="*/ 58 w 68"/>
                  <a:gd name="T71" fmla="*/ 93 h 93"/>
                  <a:gd name="T72" fmla="*/ 64 w 68"/>
                  <a:gd name="T73" fmla="*/ 90 h 93"/>
                  <a:gd name="T74" fmla="*/ 64 w 68"/>
                  <a:gd name="T75" fmla="*/ 90 h 93"/>
                  <a:gd name="T76" fmla="*/ 64 w 68"/>
                  <a:gd name="T77" fmla="*/ 89 h 93"/>
                  <a:gd name="T78" fmla="*/ 68 w 68"/>
                  <a:gd name="T79" fmla="*/ 81 h 93"/>
                  <a:gd name="T80" fmla="*/ 68 w 68"/>
                  <a:gd name="T81" fmla="*/ 80 h 93"/>
                  <a:gd name="T82" fmla="*/ 68 w 68"/>
                  <a:gd name="T83" fmla="*/ 18 h 93"/>
                  <a:gd name="T84" fmla="*/ 20 w 68"/>
                  <a:gd name="T85" fmla="*/ 0 h 93"/>
                  <a:gd name="T86" fmla="*/ 56 w 68"/>
                  <a:gd name="T87" fmla="*/ 27 h 93"/>
                  <a:gd name="T88" fmla="*/ 26 w 68"/>
                  <a:gd name="T89" fmla="*/ 16 h 93"/>
                  <a:gd name="T90" fmla="*/ 26 w 68"/>
                  <a:gd name="T91" fmla="*/ 9 h 93"/>
                  <a:gd name="T92" fmla="*/ 62 w 68"/>
                  <a:gd name="T93" fmla="*/ 23 h 93"/>
                  <a:gd name="T94" fmla="*/ 62 w 68"/>
                  <a:gd name="T95" fmla="*/ 29 h 93"/>
                  <a:gd name="T96" fmla="*/ 56 w 68"/>
                  <a:gd name="T97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8" h="93">
                    <a:moveTo>
                      <a:pt x="20" y="0"/>
                    </a:moveTo>
                    <a:cubicBezTo>
                      <a:pt x="20" y="50"/>
                      <a:pt x="20" y="50"/>
                      <a:pt x="20" y="50"/>
                    </a:cubicBezTo>
                    <a:cubicBezTo>
                      <a:pt x="19" y="49"/>
                      <a:pt x="18" y="47"/>
                      <a:pt x="16" y="46"/>
                    </a:cubicBezTo>
                    <a:cubicBezTo>
                      <a:pt x="16" y="46"/>
                      <a:pt x="15" y="46"/>
                      <a:pt x="15" y="46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3" y="52"/>
                      <a:pt x="11" y="50"/>
                      <a:pt x="9" y="49"/>
                    </a:cubicBezTo>
                    <a:cubicBezTo>
                      <a:pt x="6" y="47"/>
                      <a:pt x="3" y="47"/>
                      <a:pt x="0" y="48"/>
                    </a:cubicBezTo>
                    <a:cubicBezTo>
                      <a:pt x="2" y="50"/>
                      <a:pt x="2" y="50"/>
                      <a:pt x="2" y="50"/>
                    </a:cubicBezTo>
                    <a:cubicBezTo>
                      <a:pt x="2" y="51"/>
                      <a:pt x="1" y="52"/>
                      <a:pt x="1" y="53"/>
                    </a:cubicBezTo>
                    <a:cubicBezTo>
                      <a:pt x="1" y="57"/>
                      <a:pt x="3" y="61"/>
                      <a:pt x="4" y="64"/>
                    </a:cubicBezTo>
                    <a:cubicBezTo>
                      <a:pt x="6" y="68"/>
                      <a:pt x="9" y="71"/>
                      <a:pt x="13" y="73"/>
                    </a:cubicBezTo>
                    <a:cubicBezTo>
                      <a:pt x="13" y="73"/>
                      <a:pt x="14" y="74"/>
                      <a:pt x="15" y="74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22" y="74"/>
                      <a:pt x="22" y="74"/>
                      <a:pt x="22" y="74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5" y="72"/>
                      <a:pt x="26" y="69"/>
                      <a:pt x="26" y="65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62" y="66"/>
                      <a:pt x="62" y="66"/>
                      <a:pt x="62" y="66"/>
                    </a:cubicBezTo>
                    <a:cubicBezTo>
                      <a:pt x="61" y="64"/>
                      <a:pt x="60" y="63"/>
                      <a:pt x="58" y="62"/>
                    </a:cubicBezTo>
                    <a:cubicBezTo>
                      <a:pt x="58" y="62"/>
                      <a:pt x="57" y="62"/>
                      <a:pt x="57" y="61"/>
                    </a:cubicBezTo>
                    <a:cubicBezTo>
                      <a:pt x="57" y="61"/>
                      <a:pt x="57" y="61"/>
                      <a:pt x="56" y="61"/>
                    </a:cubicBezTo>
                    <a:cubicBezTo>
                      <a:pt x="56" y="69"/>
                      <a:pt x="56" y="69"/>
                      <a:pt x="56" y="69"/>
                    </a:cubicBezTo>
                    <a:cubicBezTo>
                      <a:pt x="55" y="67"/>
                      <a:pt x="53" y="66"/>
                      <a:pt x="51" y="65"/>
                    </a:cubicBezTo>
                    <a:cubicBezTo>
                      <a:pt x="48" y="63"/>
                      <a:pt x="44" y="62"/>
                      <a:pt x="42" y="64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3" y="67"/>
                      <a:pt x="43" y="68"/>
                      <a:pt x="43" y="69"/>
                    </a:cubicBezTo>
                    <a:cubicBezTo>
                      <a:pt x="43" y="72"/>
                      <a:pt x="44" y="75"/>
                      <a:pt x="46" y="78"/>
                    </a:cubicBezTo>
                    <a:cubicBezTo>
                      <a:pt x="48" y="83"/>
                      <a:pt x="51" y="87"/>
                      <a:pt x="55" y="89"/>
                    </a:cubicBezTo>
                    <a:cubicBezTo>
                      <a:pt x="55" y="89"/>
                      <a:pt x="56" y="89"/>
                      <a:pt x="56" y="90"/>
                    </a:cubicBezTo>
                    <a:cubicBezTo>
                      <a:pt x="58" y="93"/>
                      <a:pt x="58" y="93"/>
                      <a:pt x="58" y="93"/>
                    </a:cubicBezTo>
                    <a:cubicBezTo>
                      <a:pt x="58" y="93"/>
                      <a:pt x="58" y="93"/>
                      <a:pt x="58" y="93"/>
                    </a:cubicBezTo>
                    <a:cubicBezTo>
                      <a:pt x="58" y="93"/>
                      <a:pt x="58" y="93"/>
                      <a:pt x="58" y="93"/>
                    </a:cubicBezTo>
                    <a:cubicBezTo>
                      <a:pt x="64" y="90"/>
                      <a:pt x="64" y="90"/>
                      <a:pt x="64" y="90"/>
                    </a:cubicBezTo>
                    <a:cubicBezTo>
                      <a:pt x="64" y="90"/>
                      <a:pt x="64" y="90"/>
                      <a:pt x="64" y="90"/>
                    </a:cubicBezTo>
                    <a:cubicBezTo>
                      <a:pt x="64" y="90"/>
                      <a:pt x="64" y="89"/>
                      <a:pt x="64" y="89"/>
                    </a:cubicBezTo>
                    <a:cubicBezTo>
                      <a:pt x="67" y="88"/>
                      <a:pt x="68" y="85"/>
                      <a:pt x="68" y="81"/>
                    </a:cubicBezTo>
                    <a:cubicBezTo>
                      <a:pt x="68" y="81"/>
                      <a:pt x="68" y="80"/>
                      <a:pt x="68" y="80"/>
                    </a:cubicBezTo>
                    <a:cubicBezTo>
                      <a:pt x="68" y="18"/>
                      <a:pt x="68" y="18"/>
                      <a:pt x="68" y="18"/>
                    </a:cubicBezTo>
                    <a:lnTo>
                      <a:pt x="20" y="0"/>
                    </a:lnTo>
                    <a:close/>
                    <a:moveTo>
                      <a:pt x="56" y="27"/>
                    </a:move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62" y="23"/>
                      <a:pt x="62" y="23"/>
                      <a:pt x="62" y="23"/>
                    </a:cubicBezTo>
                    <a:cubicBezTo>
                      <a:pt x="62" y="29"/>
                      <a:pt x="62" y="29"/>
                      <a:pt x="62" y="29"/>
                    </a:cubicBezTo>
                    <a:lnTo>
                      <a:pt x="56" y="27"/>
                    </a:lnTo>
                    <a:close/>
                  </a:path>
                </a:pathLst>
              </a:custGeom>
              <a:solidFill>
                <a:srgbClr val="6FA4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02" name="任意多边形: 形状 901"/>
              <p:cNvSpPr/>
              <p:nvPr userDrawn="1"/>
            </p:nvSpPr>
            <p:spPr bwMode="auto">
              <a:xfrm>
                <a:off x="10018583" y="5138737"/>
                <a:ext cx="217488" cy="296863"/>
              </a:xfrm>
              <a:custGeom>
                <a:avLst/>
                <a:gdLst>
                  <a:gd name="T0" fmla="*/ 24 w 66"/>
                  <a:gd name="T1" fmla="*/ 2 h 90"/>
                  <a:gd name="T2" fmla="*/ 19 w 66"/>
                  <a:gd name="T3" fmla="*/ 0 h 90"/>
                  <a:gd name="T4" fmla="*/ 19 w 66"/>
                  <a:gd name="T5" fmla="*/ 49 h 90"/>
                  <a:gd name="T6" fmla="*/ 13 w 66"/>
                  <a:gd name="T7" fmla="*/ 45 h 90"/>
                  <a:gd name="T8" fmla="*/ 4 w 66"/>
                  <a:gd name="T9" fmla="*/ 44 h 90"/>
                  <a:gd name="T10" fmla="*/ 4 w 66"/>
                  <a:gd name="T11" fmla="*/ 44 h 90"/>
                  <a:gd name="T12" fmla="*/ 0 w 66"/>
                  <a:gd name="T13" fmla="*/ 53 h 90"/>
                  <a:gd name="T14" fmla="*/ 1 w 66"/>
                  <a:gd name="T15" fmla="*/ 60 h 90"/>
                  <a:gd name="T16" fmla="*/ 11 w 66"/>
                  <a:gd name="T17" fmla="*/ 72 h 90"/>
                  <a:gd name="T18" fmla="*/ 17 w 66"/>
                  <a:gd name="T19" fmla="*/ 74 h 90"/>
                  <a:gd name="T20" fmla="*/ 20 w 66"/>
                  <a:gd name="T21" fmla="*/ 73 h 90"/>
                  <a:gd name="T22" fmla="*/ 21 w 66"/>
                  <a:gd name="T23" fmla="*/ 73 h 90"/>
                  <a:gd name="T24" fmla="*/ 25 w 66"/>
                  <a:gd name="T25" fmla="*/ 64 h 90"/>
                  <a:gd name="T26" fmla="*/ 25 w 66"/>
                  <a:gd name="T27" fmla="*/ 64 h 90"/>
                  <a:gd name="T28" fmla="*/ 25 w 66"/>
                  <a:gd name="T29" fmla="*/ 21 h 90"/>
                  <a:gd name="T30" fmla="*/ 30 w 66"/>
                  <a:gd name="T31" fmla="*/ 23 h 90"/>
                  <a:gd name="T32" fmla="*/ 60 w 66"/>
                  <a:gd name="T33" fmla="*/ 35 h 90"/>
                  <a:gd name="T34" fmla="*/ 60 w 66"/>
                  <a:gd name="T35" fmla="*/ 65 h 90"/>
                  <a:gd name="T36" fmla="*/ 55 w 66"/>
                  <a:gd name="T37" fmla="*/ 61 h 90"/>
                  <a:gd name="T38" fmla="*/ 46 w 66"/>
                  <a:gd name="T39" fmla="*/ 60 h 90"/>
                  <a:gd name="T40" fmla="*/ 46 w 66"/>
                  <a:gd name="T41" fmla="*/ 60 h 90"/>
                  <a:gd name="T42" fmla="*/ 41 w 66"/>
                  <a:gd name="T43" fmla="*/ 69 h 90"/>
                  <a:gd name="T44" fmla="*/ 42 w 66"/>
                  <a:gd name="T45" fmla="*/ 74 h 90"/>
                  <a:gd name="T46" fmla="*/ 53 w 66"/>
                  <a:gd name="T47" fmla="*/ 88 h 90"/>
                  <a:gd name="T48" fmla="*/ 58 w 66"/>
                  <a:gd name="T49" fmla="*/ 90 h 90"/>
                  <a:gd name="T50" fmla="*/ 62 w 66"/>
                  <a:gd name="T51" fmla="*/ 89 h 90"/>
                  <a:gd name="T52" fmla="*/ 62 w 66"/>
                  <a:gd name="T53" fmla="*/ 89 h 90"/>
                  <a:gd name="T54" fmla="*/ 66 w 66"/>
                  <a:gd name="T55" fmla="*/ 80 h 90"/>
                  <a:gd name="T56" fmla="*/ 66 w 66"/>
                  <a:gd name="T57" fmla="*/ 80 h 90"/>
                  <a:gd name="T58" fmla="*/ 66 w 66"/>
                  <a:gd name="T59" fmla="*/ 18 h 90"/>
                  <a:gd name="T60" fmla="*/ 24 w 66"/>
                  <a:gd name="T61" fmla="*/ 2 h 90"/>
                  <a:gd name="T62" fmla="*/ 25 w 66"/>
                  <a:gd name="T63" fmla="*/ 15 h 90"/>
                  <a:gd name="T64" fmla="*/ 25 w 66"/>
                  <a:gd name="T65" fmla="*/ 8 h 90"/>
                  <a:gd name="T66" fmla="*/ 30 w 66"/>
                  <a:gd name="T67" fmla="*/ 11 h 90"/>
                  <a:gd name="T68" fmla="*/ 60 w 66"/>
                  <a:gd name="T69" fmla="*/ 22 h 90"/>
                  <a:gd name="T70" fmla="*/ 60 w 66"/>
                  <a:gd name="T71" fmla="*/ 28 h 90"/>
                  <a:gd name="T72" fmla="*/ 25 w 66"/>
                  <a:gd name="T73" fmla="*/ 1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" h="90">
                    <a:moveTo>
                      <a:pt x="24" y="2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7" y="48"/>
                      <a:pt x="15" y="46"/>
                      <a:pt x="13" y="45"/>
                    </a:cubicBezTo>
                    <a:cubicBezTo>
                      <a:pt x="10" y="43"/>
                      <a:pt x="7" y="43"/>
                      <a:pt x="4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1" y="46"/>
                      <a:pt x="0" y="49"/>
                      <a:pt x="0" y="53"/>
                    </a:cubicBezTo>
                    <a:cubicBezTo>
                      <a:pt x="0" y="55"/>
                      <a:pt x="0" y="58"/>
                      <a:pt x="1" y="60"/>
                    </a:cubicBezTo>
                    <a:cubicBezTo>
                      <a:pt x="3" y="65"/>
                      <a:pt x="7" y="70"/>
                      <a:pt x="11" y="72"/>
                    </a:cubicBezTo>
                    <a:cubicBezTo>
                      <a:pt x="13" y="73"/>
                      <a:pt x="15" y="74"/>
                      <a:pt x="17" y="74"/>
                    </a:cubicBezTo>
                    <a:cubicBezTo>
                      <a:pt x="18" y="74"/>
                      <a:pt x="19" y="74"/>
                      <a:pt x="20" y="73"/>
                    </a:cubicBezTo>
                    <a:cubicBezTo>
                      <a:pt x="20" y="73"/>
                      <a:pt x="20" y="73"/>
                      <a:pt x="21" y="73"/>
                    </a:cubicBezTo>
                    <a:cubicBezTo>
                      <a:pt x="23" y="71"/>
                      <a:pt x="25" y="68"/>
                      <a:pt x="25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65"/>
                      <a:pt x="60" y="65"/>
                      <a:pt x="60" y="65"/>
                    </a:cubicBezTo>
                    <a:cubicBezTo>
                      <a:pt x="59" y="63"/>
                      <a:pt x="57" y="62"/>
                      <a:pt x="55" y="61"/>
                    </a:cubicBezTo>
                    <a:cubicBezTo>
                      <a:pt x="52" y="59"/>
                      <a:pt x="48" y="58"/>
                      <a:pt x="46" y="60"/>
                    </a:cubicBezTo>
                    <a:cubicBezTo>
                      <a:pt x="46" y="60"/>
                      <a:pt x="46" y="60"/>
                      <a:pt x="46" y="60"/>
                    </a:cubicBezTo>
                    <a:cubicBezTo>
                      <a:pt x="43" y="61"/>
                      <a:pt x="41" y="65"/>
                      <a:pt x="41" y="69"/>
                    </a:cubicBezTo>
                    <a:cubicBezTo>
                      <a:pt x="41" y="70"/>
                      <a:pt x="42" y="72"/>
                      <a:pt x="42" y="74"/>
                    </a:cubicBezTo>
                    <a:cubicBezTo>
                      <a:pt x="44" y="80"/>
                      <a:pt x="48" y="85"/>
                      <a:pt x="53" y="88"/>
                    </a:cubicBezTo>
                    <a:cubicBezTo>
                      <a:pt x="55" y="89"/>
                      <a:pt x="57" y="90"/>
                      <a:pt x="58" y="90"/>
                    </a:cubicBezTo>
                    <a:cubicBezTo>
                      <a:pt x="60" y="90"/>
                      <a:pt x="61" y="89"/>
                      <a:pt x="62" y="89"/>
                    </a:cubicBezTo>
                    <a:cubicBezTo>
                      <a:pt x="62" y="89"/>
                      <a:pt x="62" y="89"/>
                      <a:pt x="62" y="89"/>
                    </a:cubicBezTo>
                    <a:cubicBezTo>
                      <a:pt x="65" y="87"/>
                      <a:pt x="66" y="84"/>
                      <a:pt x="66" y="80"/>
                    </a:cubicBezTo>
                    <a:cubicBezTo>
                      <a:pt x="66" y="80"/>
                      <a:pt x="66" y="80"/>
                      <a:pt x="66" y="80"/>
                    </a:cubicBezTo>
                    <a:cubicBezTo>
                      <a:pt x="66" y="18"/>
                      <a:pt x="66" y="18"/>
                      <a:pt x="66" y="18"/>
                    </a:cubicBezTo>
                    <a:lnTo>
                      <a:pt x="24" y="2"/>
                    </a:lnTo>
                    <a:close/>
                    <a:moveTo>
                      <a:pt x="25" y="15"/>
                    </a:moveTo>
                    <a:cubicBezTo>
                      <a:pt x="25" y="8"/>
                      <a:pt x="25" y="8"/>
                      <a:pt x="25" y="8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60" y="28"/>
                      <a:pt x="60" y="28"/>
                      <a:pt x="60" y="28"/>
                    </a:cubicBezTo>
                    <a:lnTo>
                      <a:pt x="25" y="15"/>
                    </a:lnTo>
                    <a:close/>
                  </a:path>
                </a:pathLst>
              </a:custGeom>
              <a:solidFill>
                <a:srgbClr val="3F6E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03" name="任意多边形: 形状 902"/>
              <p:cNvSpPr/>
              <p:nvPr userDrawn="1"/>
            </p:nvSpPr>
            <p:spPr bwMode="auto">
              <a:xfrm>
                <a:off x="10080496" y="5126037"/>
                <a:ext cx="174625" cy="73025"/>
              </a:xfrm>
              <a:custGeom>
                <a:avLst/>
                <a:gdLst>
                  <a:gd name="T0" fmla="*/ 0 w 110"/>
                  <a:gd name="T1" fmla="*/ 8 h 46"/>
                  <a:gd name="T2" fmla="*/ 11 w 110"/>
                  <a:gd name="T3" fmla="*/ 0 h 46"/>
                  <a:gd name="T4" fmla="*/ 110 w 110"/>
                  <a:gd name="T5" fmla="*/ 37 h 46"/>
                  <a:gd name="T6" fmla="*/ 98 w 110"/>
                  <a:gd name="T7" fmla="*/ 46 h 46"/>
                  <a:gd name="T8" fmla="*/ 0 w 110"/>
                  <a:gd name="T9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46">
                    <a:moveTo>
                      <a:pt x="0" y="8"/>
                    </a:moveTo>
                    <a:lnTo>
                      <a:pt x="11" y="0"/>
                    </a:lnTo>
                    <a:lnTo>
                      <a:pt x="110" y="37"/>
                    </a:lnTo>
                    <a:lnTo>
                      <a:pt x="98" y="46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04" name="任意多边形: 形状 903"/>
              <p:cNvSpPr/>
              <p:nvPr userDrawn="1"/>
            </p:nvSpPr>
            <p:spPr bwMode="auto">
              <a:xfrm>
                <a:off x="10031283" y="5267325"/>
                <a:ext cx="49213" cy="33338"/>
              </a:xfrm>
              <a:custGeom>
                <a:avLst/>
                <a:gdLst>
                  <a:gd name="T0" fmla="*/ 15 w 15"/>
                  <a:gd name="T1" fmla="*/ 10 h 10"/>
                  <a:gd name="T2" fmla="*/ 9 w 15"/>
                  <a:gd name="T3" fmla="*/ 6 h 10"/>
                  <a:gd name="T4" fmla="*/ 0 w 15"/>
                  <a:gd name="T5" fmla="*/ 5 h 10"/>
                  <a:gd name="T6" fmla="*/ 5 w 15"/>
                  <a:gd name="T7" fmla="*/ 2 h 10"/>
                  <a:gd name="T8" fmla="*/ 5 w 15"/>
                  <a:gd name="T9" fmla="*/ 2 h 10"/>
                  <a:gd name="T10" fmla="*/ 6 w 15"/>
                  <a:gd name="T11" fmla="*/ 2 h 10"/>
                  <a:gd name="T12" fmla="*/ 15 w 15"/>
                  <a:gd name="T13" fmla="*/ 2 h 10"/>
                  <a:gd name="T14" fmla="*/ 15 w 15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0">
                    <a:moveTo>
                      <a:pt x="15" y="10"/>
                    </a:moveTo>
                    <a:cubicBezTo>
                      <a:pt x="13" y="9"/>
                      <a:pt x="11" y="7"/>
                      <a:pt x="9" y="6"/>
                    </a:cubicBezTo>
                    <a:cubicBezTo>
                      <a:pt x="6" y="4"/>
                      <a:pt x="3" y="4"/>
                      <a:pt x="0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6" y="2"/>
                      <a:pt x="6" y="2"/>
                    </a:cubicBezTo>
                    <a:cubicBezTo>
                      <a:pt x="8" y="0"/>
                      <a:pt x="11" y="1"/>
                      <a:pt x="15" y="2"/>
                    </a:cubicBezTo>
                    <a:lnTo>
                      <a:pt x="15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05" name="任意多边形: 形状 904"/>
              <p:cNvSpPr/>
              <p:nvPr userDrawn="1"/>
            </p:nvSpPr>
            <p:spPr bwMode="auto">
              <a:xfrm>
                <a:off x="10169396" y="5319712"/>
                <a:ext cx="46038" cy="33338"/>
              </a:xfrm>
              <a:custGeom>
                <a:avLst/>
                <a:gdLst>
                  <a:gd name="T0" fmla="*/ 14 w 14"/>
                  <a:gd name="T1" fmla="*/ 2 h 10"/>
                  <a:gd name="T2" fmla="*/ 14 w 14"/>
                  <a:gd name="T3" fmla="*/ 10 h 10"/>
                  <a:gd name="T4" fmla="*/ 9 w 14"/>
                  <a:gd name="T5" fmla="*/ 6 h 10"/>
                  <a:gd name="T6" fmla="*/ 0 w 14"/>
                  <a:gd name="T7" fmla="*/ 5 h 10"/>
                  <a:gd name="T8" fmla="*/ 5 w 14"/>
                  <a:gd name="T9" fmla="*/ 2 h 10"/>
                  <a:gd name="T10" fmla="*/ 5 w 14"/>
                  <a:gd name="T11" fmla="*/ 2 h 10"/>
                  <a:gd name="T12" fmla="*/ 5 w 14"/>
                  <a:gd name="T13" fmla="*/ 2 h 10"/>
                  <a:gd name="T14" fmla="*/ 14 w 14"/>
                  <a:gd name="T1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0">
                    <a:moveTo>
                      <a:pt x="14" y="2"/>
                    </a:moveTo>
                    <a:cubicBezTo>
                      <a:pt x="14" y="10"/>
                      <a:pt x="14" y="10"/>
                      <a:pt x="14" y="10"/>
                    </a:cubicBezTo>
                    <a:cubicBezTo>
                      <a:pt x="13" y="8"/>
                      <a:pt x="11" y="7"/>
                      <a:pt x="9" y="6"/>
                    </a:cubicBezTo>
                    <a:cubicBezTo>
                      <a:pt x="6" y="4"/>
                      <a:pt x="2" y="3"/>
                      <a:pt x="0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8" y="0"/>
                      <a:pt x="11" y="0"/>
                      <a:pt x="14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906" name="任意多边形: 形状 905"/>
            <p:cNvSpPr/>
            <p:nvPr userDrawn="1"/>
          </p:nvSpPr>
          <p:spPr bwMode="auto">
            <a:xfrm>
              <a:off x="6297483" y="3260725"/>
              <a:ext cx="1327150" cy="763588"/>
            </a:xfrm>
            <a:custGeom>
              <a:avLst/>
              <a:gdLst>
                <a:gd name="T0" fmla="*/ 396 w 402"/>
                <a:gd name="T1" fmla="*/ 139 h 232"/>
                <a:gd name="T2" fmla="*/ 234 w 402"/>
                <a:gd name="T3" fmla="*/ 232 h 232"/>
                <a:gd name="T4" fmla="*/ 0 w 402"/>
                <a:gd name="T5" fmla="*/ 97 h 232"/>
                <a:gd name="T6" fmla="*/ 161 w 402"/>
                <a:gd name="T7" fmla="*/ 3 h 232"/>
                <a:gd name="T8" fmla="*/ 184 w 402"/>
                <a:gd name="T9" fmla="*/ 4 h 232"/>
                <a:gd name="T10" fmla="*/ 394 w 402"/>
                <a:gd name="T11" fmla="*/ 126 h 232"/>
                <a:gd name="T12" fmla="*/ 396 w 402"/>
                <a:gd name="T13" fmla="*/ 13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232">
                  <a:moveTo>
                    <a:pt x="396" y="139"/>
                  </a:moveTo>
                  <a:cubicBezTo>
                    <a:pt x="234" y="232"/>
                    <a:pt x="234" y="232"/>
                    <a:pt x="234" y="232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7" y="0"/>
                    <a:pt x="177" y="0"/>
                    <a:pt x="184" y="4"/>
                  </a:cubicBezTo>
                  <a:cubicBezTo>
                    <a:pt x="394" y="126"/>
                    <a:pt x="394" y="126"/>
                    <a:pt x="394" y="126"/>
                  </a:cubicBezTo>
                  <a:cubicBezTo>
                    <a:pt x="401" y="129"/>
                    <a:pt x="402" y="135"/>
                    <a:pt x="396" y="139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07" name="任意多边形: 形状 906"/>
            <p:cNvSpPr/>
            <p:nvPr userDrawn="1"/>
          </p:nvSpPr>
          <p:spPr bwMode="auto">
            <a:xfrm>
              <a:off x="7067421" y="3527425"/>
              <a:ext cx="508000" cy="457200"/>
            </a:xfrm>
            <a:custGeom>
              <a:avLst/>
              <a:gdLst>
                <a:gd name="T0" fmla="*/ 0 w 320"/>
                <a:gd name="T1" fmla="*/ 288 h 288"/>
                <a:gd name="T2" fmla="*/ 0 w 320"/>
                <a:gd name="T3" fmla="*/ 183 h 288"/>
                <a:gd name="T4" fmla="*/ 320 w 320"/>
                <a:gd name="T5" fmla="*/ 0 h 288"/>
                <a:gd name="T6" fmla="*/ 320 w 320"/>
                <a:gd name="T7" fmla="*/ 104 h 288"/>
                <a:gd name="T8" fmla="*/ 0 w 320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288">
                  <a:moveTo>
                    <a:pt x="0" y="288"/>
                  </a:moveTo>
                  <a:lnTo>
                    <a:pt x="0" y="183"/>
                  </a:lnTo>
                  <a:lnTo>
                    <a:pt x="320" y="0"/>
                  </a:lnTo>
                  <a:lnTo>
                    <a:pt x="320" y="104"/>
                  </a:lnTo>
                  <a:lnTo>
                    <a:pt x="0" y="288"/>
                  </a:ln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08" name="任意多边形: 形状 907"/>
            <p:cNvSpPr/>
            <p:nvPr userDrawn="1"/>
          </p:nvSpPr>
          <p:spPr bwMode="auto">
            <a:xfrm>
              <a:off x="6294308" y="3411537"/>
              <a:ext cx="776288" cy="612775"/>
            </a:xfrm>
            <a:custGeom>
              <a:avLst/>
              <a:gdLst>
                <a:gd name="T0" fmla="*/ 2 w 489"/>
                <a:gd name="T1" fmla="*/ 106 h 386"/>
                <a:gd name="T2" fmla="*/ 0 w 489"/>
                <a:gd name="T3" fmla="*/ 0 h 386"/>
                <a:gd name="T4" fmla="*/ 489 w 489"/>
                <a:gd name="T5" fmla="*/ 283 h 386"/>
                <a:gd name="T6" fmla="*/ 489 w 489"/>
                <a:gd name="T7" fmla="*/ 386 h 386"/>
                <a:gd name="T8" fmla="*/ 2 w 489"/>
                <a:gd name="T9" fmla="*/ 10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386">
                  <a:moveTo>
                    <a:pt x="2" y="106"/>
                  </a:moveTo>
                  <a:lnTo>
                    <a:pt x="0" y="0"/>
                  </a:lnTo>
                  <a:lnTo>
                    <a:pt x="489" y="283"/>
                  </a:lnTo>
                  <a:lnTo>
                    <a:pt x="489" y="386"/>
                  </a:lnTo>
                  <a:lnTo>
                    <a:pt x="2" y="106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09" name="任意多边形: 形状 908"/>
            <p:cNvSpPr/>
            <p:nvPr userDrawn="1"/>
          </p:nvSpPr>
          <p:spPr bwMode="auto">
            <a:xfrm>
              <a:off x="6297483" y="3095625"/>
              <a:ext cx="1327150" cy="765175"/>
            </a:xfrm>
            <a:custGeom>
              <a:avLst/>
              <a:gdLst>
                <a:gd name="T0" fmla="*/ 396 w 402"/>
                <a:gd name="T1" fmla="*/ 138 h 232"/>
                <a:gd name="T2" fmla="*/ 234 w 402"/>
                <a:gd name="T3" fmla="*/ 232 h 232"/>
                <a:gd name="T4" fmla="*/ 0 w 402"/>
                <a:gd name="T5" fmla="*/ 96 h 232"/>
                <a:gd name="T6" fmla="*/ 161 w 402"/>
                <a:gd name="T7" fmla="*/ 3 h 232"/>
                <a:gd name="T8" fmla="*/ 184 w 402"/>
                <a:gd name="T9" fmla="*/ 4 h 232"/>
                <a:gd name="T10" fmla="*/ 394 w 402"/>
                <a:gd name="T11" fmla="*/ 125 h 232"/>
                <a:gd name="T12" fmla="*/ 396 w 402"/>
                <a:gd name="T13" fmla="*/ 13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232">
                  <a:moveTo>
                    <a:pt x="396" y="138"/>
                  </a:moveTo>
                  <a:cubicBezTo>
                    <a:pt x="234" y="232"/>
                    <a:pt x="234" y="232"/>
                    <a:pt x="234" y="23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7" y="0"/>
                    <a:pt x="177" y="0"/>
                    <a:pt x="184" y="4"/>
                  </a:cubicBezTo>
                  <a:cubicBezTo>
                    <a:pt x="394" y="125"/>
                    <a:pt x="394" y="125"/>
                    <a:pt x="394" y="125"/>
                  </a:cubicBezTo>
                  <a:cubicBezTo>
                    <a:pt x="401" y="129"/>
                    <a:pt x="402" y="135"/>
                    <a:pt x="396" y="138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0" name="任意多边形: 形状 909"/>
            <p:cNvSpPr/>
            <p:nvPr userDrawn="1"/>
          </p:nvSpPr>
          <p:spPr bwMode="auto">
            <a:xfrm>
              <a:off x="6333996" y="2957512"/>
              <a:ext cx="1327150" cy="763588"/>
            </a:xfrm>
            <a:custGeom>
              <a:avLst/>
              <a:gdLst>
                <a:gd name="T0" fmla="*/ 396 w 402"/>
                <a:gd name="T1" fmla="*/ 138 h 232"/>
                <a:gd name="T2" fmla="*/ 235 w 402"/>
                <a:gd name="T3" fmla="*/ 232 h 232"/>
                <a:gd name="T4" fmla="*/ 0 w 402"/>
                <a:gd name="T5" fmla="*/ 97 h 232"/>
                <a:gd name="T6" fmla="*/ 162 w 402"/>
                <a:gd name="T7" fmla="*/ 3 h 232"/>
                <a:gd name="T8" fmla="*/ 185 w 402"/>
                <a:gd name="T9" fmla="*/ 4 h 232"/>
                <a:gd name="T10" fmla="*/ 395 w 402"/>
                <a:gd name="T11" fmla="*/ 125 h 232"/>
                <a:gd name="T12" fmla="*/ 396 w 402"/>
                <a:gd name="T13" fmla="*/ 13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232">
                  <a:moveTo>
                    <a:pt x="396" y="138"/>
                  </a:moveTo>
                  <a:cubicBezTo>
                    <a:pt x="235" y="232"/>
                    <a:pt x="235" y="232"/>
                    <a:pt x="235" y="232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62" y="3"/>
                    <a:pt x="162" y="3"/>
                    <a:pt x="162" y="3"/>
                  </a:cubicBezTo>
                  <a:cubicBezTo>
                    <a:pt x="168" y="0"/>
                    <a:pt x="178" y="0"/>
                    <a:pt x="185" y="4"/>
                  </a:cubicBezTo>
                  <a:cubicBezTo>
                    <a:pt x="395" y="125"/>
                    <a:pt x="395" y="125"/>
                    <a:pt x="395" y="125"/>
                  </a:cubicBezTo>
                  <a:cubicBezTo>
                    <a:pt x="401" y="129"/>
                    <a:pt x="402" y="135"/>
                    <a:pt x="396" y="138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1" name="任意多边形: 形状 910"/>
            <p:cNvSpPr/>
            <p:nvPr userDrawn="1"/>
          </p:nvSpPr>
          <p:spPr bwMode="auto">
            <a:xfrm>
              <a:off x="7107108" y="3221037"/>
              <a:ext cx="504825" cy="460375"/>
            </a:xfrm>
            <a:custGeom>
              <a:avLst/>
              <a:gdLst>
                <a:gd name="T0" fmla="*/ 0 w 318"/>
                <a:gd name="T1" fmla="*/ 290 h 290"/>
                <a:gd name="T2" fmla="*/ 0 w 318"/>
                <a:gd name="T3" fmla="*/ 185 h 290"/>
                <a:gd name="T4" fmla="*/ 318 w 318"/>
                <a:gd name="T5" fmla="*/ 0 h 290"/>
                <a:gd name="T6" fmla="*/ 318 w 318"/>
                <a:gd name="T7" fmla="*/ 106 h 290"/>
                <a:gd name="T8" fmla="*/ 0 w 318"/>
                <a:gd name="T9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290">
                  <a:moveTo>
                    <a:pt x="0" y="290"/>
                  </a:moveTo>
                  <a:lnTo>
                    <a:pt x="0" y="185"/>
                  </a:lnTo>
                  <a:lnTo>
                    <a:pt x="318" y="0"/>
                  </a:lnTo>
                  <a:lnTo>
                    <a:pt x="318" y="106"/>
                  </a:lnTo>
                  <a:lnTo>
                    <a:pt x="0" y="290"/>
                  </a:ln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2" name="任意多边形: 形状 911"/>
            <p:cNvSpPr/>
            <p:nvPr userDrawn="1"/>
          </p:nvSpPr>
          <p:spPr bwMode="auto">
            <a:xfrm>
              <a:off x="6333996" y="3108325"/>
              <a:ext cx="776288" cy="612775"/>
            </a:xfrm>
            <a:custGeom>
              <a:avLst/>
              <a:gdLst>
                <a:gd name="T0" fmla="*/ 0 w 489"/>
                <a:gd name="T1" fmla="*/ 106 h 386"/>
                <a:gd name="T2" fmla="*/ 0 w 489"/>
                <a:gd name="T3" fmla="*/ 0 h 386"/>
                <a:gd name="T4" fmla="*/ 487 w 489"/>
                <a:gd name="T5" fmla="*/ 280 h 386"/>
                <a:gd name="T6" fmla="*/ 489 w 489"/>
                <a:gd name="T7" fmla="*/ 386 h 386"/>
                <a:gd name="T8" fmla="*/ 0 w 489"/>
                <a:gd name="T9" fmla="*/ 10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386">
                  <a:moveTo>
                    <a:pt x="0" y="106"/>
                  </a:moveTo>
                  <a:lnTo>
                    <a:pt x="0" y="0"/>
                  </a:lnTo>
                  <a:lnTo>
                    <a:pt x="487" y="280"/>
                  </a:lnTo>
                  <a:lnTo>
                    <a:pt x="489" y="386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3" name="任意多边形: 形状 912"/>
            <p:cNvSpPr/>
            <p:nvPr userDrawn="1"/>
          </p:nvSpPr>
          <p:spPr bwMode="auto">
            <a:xfrm>
              <a:off x="6333996" y="2789237"/>
              <a:ext cx="1327150" cy="763588"/>
            </a:xfrm>
            <a:custGeom>
              <a:avLst/>
              <a:gdLst>
                <a:gd name="T0" fmla="*/ 396 w 402"/>
                <a:gd name="T1" fmla="*/ 139 h 232"/>
                <a:gd name="T2" fmla="*/ 235 w 402"/>
                <a:gd name="T3" fmla="*/ 232 h 232"/>
                <a:gd name="T4" fmla="*/ 0 w 402"/>
                <a:gd name="T5" fmla="*/ 97 h 232"/>
                <a:gd name="T6" fmla="*/ 162 w 402"/>
                <a:gd name="T7" fmla="*/ 4 h 232"/>
                <a:gd name="T8" fmla="*/ 185 w 402"/>
                <a:gd name="T9" fmla="*/ 5 h 232"/>
                <a:gd name="T10" fmla="*/ 395 w 402"/>
                <a:gd name="T11" fmla="*/ 126 h 232"/>
                <a:gd name="T12" fmla="*/ 396 w 402"/>
                <a:gd name="T13" fmla="*/ 13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232">
                  <a:moveTo>
                    <a:pt x="396" y="139"/>
                  </a:moveTo>
                  <a:cubicBezTo>
                    <a:pt x="235" y="232"/>
                    <a:pt x="235" y="232"/>
                    <a:pt x="235" y="232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68" y="0"/>
                    <a:pt x="178" y="1"/>
                    <a:pt x="185" y="5"/>
                  </a:cubicBezTo>
                  <a:cubicBezTo>
                    <a:pt x="395" y="126"/>
                    <a:pt x="395" y="126"/>
                    <a:pt x="395" y="126"/>
                  </a:cubicBezTo>
                  <a:cubicBezTo>
                    <a:pt x="401" y="130"/>
                    <a:pt x="402" y="136"/>
                    <a:pt x="396" y="139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4" name="任意多边形: 形状 913"/>
            <p:cNvSpPr/>
            <p:nvPr userDrawn="1"/>
          </p:nvSpPr>
          <p:spPr bwMode="auto">
            <a:xfrm>
              <a:off x="6927721" y="2568575"/>
              <a:ext cx="125413" cy="187325"/>
            </a:xfrm>
            <a:custGeom>
              <a:avLst/>
              <a:gdLst>
                <a:gd name="T0" fmla="*/ 4 w 38"/>
                <a:gd name="T1" fmla="*/ 44 h 57"/>
                <a:gd name="T2" fmla="*/ 4 w 38"/>
                <a:gd name="T3" fmla="*/ 49 h 57"/>
                <a:gd name="T4" fmla="*/ 7 w 38"/>
                <a:gd name="T5" fmla="*/ 51 h 57"/>
                <a:gd name="T6" fmla="*/ 34 w 38"/>
                <a:gd name="T7" fmla="*/ 51 h 57"/>
                <a:gd name="T8" fmla="*/ 37 w 38"/>
                <a:gd name="T9" fmla="*/ 47 h 57"/>
                <a:gd name="T10" fmla="*/ 36 w 38"/>
                <a:gd name="T11" fmla="*/ 42 h 57"/>
                <a:gd name="T12" fmla="*/ 25 w 38"/>
                <a:gd name="T13" fmla="*/ 0 h 57"/>
                <a:gd name="T14" fmla="*/ 15 w 38"/>
                <a:gd name="T15" fmla="*/ 7 h 57"/>
                <a:gd name="T16" fmla="*/ 5 w 38"/>
                <a:gd name="T17" fmla="*/ 14 h 57"/>
                <a:gd name="T18" fmla="*/ 0 w 38"/>
                <a:gd name="T19" fmla="*/ 20 h 57"/>
                <a:gd name="T20" fmla="*/ 3 w 38"/>
                <a:gd name="T21" fmla="*/ 30 h 57"/>
                <a:gd name="T22" fmla="*/ 4 w 38"/>
                <a:gd name="T23" fmla="*/ 4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57">
                  <a:moveTo>
                    <a:pt x="4" y="44"/>
                  </a:moveTo>
                  <a:cubicBezTo>
                    <a:pt x="4" y="45"/>
                    <a:pt x="4" y="47"/>
                    <a:pt x="4" y="49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15" y="57"/>
                    <a:pt x="27" y="56"/>
                    <a:pt x="34" y="51"/>
                  </a:cubicBezTo>
                  <a:cubicBezTo>
                    <a:pt x="36" y="50"/>
                    <a:pt x="37" y="49"/>
                    <a:pt x="37" y="47"/>
                  </a:cubicBezTo>
                  <a:cubicBezTo>
                    <a:pt x="38" y="45"/>
                    <a:pt x="37" y="43"/>
                    <a:pt x="36" y="42"/>
                  </a:cubicBezTo>
                  <a:cubicBezTo>
                    <a:pt x="30" y="29"/>
                    <a:pt x="27" y="14"/>
                    <a:pt x="25" y="0"/>
                  </a:cubicBezTo>
                  <a:cubicBezTo>
                    <a:pt x="25" y="1"/>
                    <a:pt x="16" y="6"/>
                    <a:pt x="15" y="7"/>
                  </a:cubicBezTo>
                  <a:cubicBezTo>
                    <a:pt x="12" y="9"/>
                    <a:pt x="8" y="12"/>
                    <a:pt x="5" y="14"/>
                  </a:cubicBezTo>
                  <a:cubicBezTo>
                    <a:pt x="2" y="16"/>
                    <a:pt x="0" y="17"/>
                    <a:pt x="0" y="20"/>
                  </a:cubicBezTo>
                  <a:cubicBezTo>
                    <a:pt x="0" y="24"/>
                    <a:pt x="2" y="27"/>
                    <a:pt x="3" y="30"/>
                  </a:cubicBezTo>
                  <a:cubicBezTo>
                    <a:pt x="4" y="34"/>
                    <a:pt x="4" y="39"/>
                    <a:pt x="4" y="44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5" name="任意多边形: 形状 914"/>
            <p:cNvSpPr/>
            <p:nvPr userDrawn="1"/>
          </p:nvSpPr>
          <p:spPr bwMode="auto">
            <a:xfrm>
              <a:off x="7107108" y="2863850"/>
              <a:ext cx="85725" cy="271463"/>
            </a:xfrm>
            <a:custGeom>
              <a:avLst/>
              <a:gdLst>
                <a:gd name="T0" fmla="*/ 9 w 26"/>
                <a:gd name="T1" fmla="*/ 0 h 82"/>
                <a:gd name="T2" fmla="*/ 4 w 26"/>
                <a:gd name="T3" fmla="*/ 6 h 82"/>
                <a:gd name="T4" fmla="*/ 0 w 26"/>
                <a:gd name="T5" fmla="*/ 48 h 82"/>
                <a:gd name="T6" fmla="*/ 1 w 26"/>
                <a:gd name="T7" fmla="*/ 70 h 82"/>
                <a:gd name="T8" fmla="*/ 2 w 26"/>
                <a:gd name="T9" fmla="*/ 78 h 82"/>
                <a:gd name="T10" fmla="*/ 2 w 26"/>
                <a:gd name="T11" fmla="*/ 78 h 82"/>
                <a:gd name="T12" fmla="*/ 15 w 26"/>
                <a:gd name="T13" fmla="*/ 80 h 82"/>
                <a:gd name="T14" fmla="*/ 20 w 26"/>
                <a:gd name="T15" fmla="*/ 80 h 82"/>
                <a:gd name="T16" fmla="*/ 22 w 26"/>
                <a:gd name="T17" fmla="*/ 33 h 82"/>
                <a:gd name="T18" fmla="*/ 13 w 26"/>
                <a:gd name="T19" fmla="*/ 1 h 82"/>
                <a:gd name="T20" fmla="*/ 9 w 26"/>
                <a:gd name="T2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82">
                  <a:moveTo>
                    <a:pt x="9" y="0"/>
                  </a:moveTo>
                  <a:cubicBezTo>
                    <a:pt x="4" y="0"/>
                    <a:pt x="3" y="4"/>
                    <a:pt x="4" y="6"/>
                  </a:cubicBezTo>
                  <a:cubicBezTo>
                    <a:pt x="2" y="9"/>
                    <a:pt x="2" y="12"/>
                    <a:pt x="0" y="48"/>
                  </a:cubicBezTo>
                  <a:cubicBezTo>
                    <a:pt x="0" y="56"/>
                    <a:pt x="1" y="64"/>
                    <a:pt x="1" y="70"/>
                  </a:cubicBezTo>
                  <a:cubicBezTo>
                    <a:pt x="1" y="72"/>
                    <a:pt x="1" y="76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6" y="81"/>
                    <a:pt x="13" y="79"/>
                    <a:pt x="15" y="80"/>
                  </a:cubicBezTo>
                  <a:cubicBezTo>
                    <a:pt x="17" y="82"/>
                    <a:pt x="19" y="81"/>
                    <a:pt x="20" y="80"/>
                  </a:cubicBezTo>
                  <a:cubicBezTo>
                    <a:pt x="23" y="78"/>
                    <a:pt x="22" y="50"/>
                    <a:pt x="22" y="33"/>
                  </a:cubicBezTo>
                  <a:cubicBezTo>
                    <a:pt x="22" y="4"/>
                    <a:pt x="26" y="6"/>
                    <a:pt x="13" y="1"/>
                  </a:cubicBezTo>
                  <a:cubicBezTo>
                    <a:pt x="12" y="1"/>
                    <a:pt x="11" y="0"/>
                    <a:pt x="9" y="0"/>
                  </a:cubicBezTo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6" name="任意多边形: 形状 915"/>
            <p:cNvSpPr/>
            <p:nvPr userDrawn="1"/>
          </p:nvSpPr>
          <p:spPr bwMode="auto">
            <a:xfrm>
              <a:off x="6618158" y="2949575"/>
              <a:ext cx="639763" cy="284163"/>
            </a:xfrm>
            <a:custGeom>
              <a:avLst/>
              <a:gdLst>
                <a:gd name="T0" fmla="*/ 11 w 194"/>
                <a:gd name="T1" fmla="*/ 0 h 86"/>
                <a:gd name="T2" fmla="*/ 1 w 194"/>
                <a:gd name="T3" fmla="*/ 7 h 86"/>
                <a:gd name="T4" fmla="*/ 5 w 194"/>
                <a:gd name="T5" fmla="*/ 17 h 86"/>
                <a:gd name="T6" fmla="*/ 59 w 194"/>
                <a:gd name="T7" fmla="*/ 61 h 86"/>
                <a:gd name="T8" fmla="*/ 96 w 194"/>
                <a:gd name="T9" fmla="*/ 75 h 86"/>
                <a:gd name="T10" fmla="*/ 139 w 194"/>
                <a:gd name="T11" fmla="*/ 84 h 86"/>
                <a:gd name="T12" fmla="*/ 187 w 194"/>
                <a:gd name="T13" fmla="*/ 83 h 86"/>
                <a:gd name="T14" fmla="*/ 189 w 194"/>
                <a:gd name="T15" fmla="*/ 70 h 86"/>
                <a:gd name="T16" fmla="*/ 185 w 194"/>
                <a:gd name="T17" fmla="*/ 67 h 86"/>
                <a:gd name="T18" fmla="*/ 179 w 194"/>
                <a:gd name="T19" fmla="*/ 59 h 86"/>
                <a:gd name="T20" fmla="*/ 153 w 194"/>
                <a:gd name="T21" fmla="*/ 39 h 86"/>
                <a:gd name="T22" fmla="*/ 129 w 194"/>
                <a:gd name="T23" fmla="*/ 33 h 86"/>
                <a:gd name="T24" fmla="*/ 130 w 194"/>
                <a:gd name="T25" fmla="*/ 33 h 86"/>
                <a:gd name="T26" fmla="*/ 100 w 194"/>
                <a:gd name="T27" fmla="*/ 32 h 86"/>
                <a:gd name="T28" fmla="*/ 71 w 194"/>
                <a:gd name="T29" fmla="*/ 14 h 86"/>
                <a:gd name="T30" fmla="*/ 11 w 194"/>
                <a:gd name="T3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86">
                  <a:moveTo>
                    <a:pt x="11" y="0"/>
                  </a:moveTo>
                  <a:cubicBezTo>
                    <a:pt x="6" y="0"/>
                    <a:pt x="3" y="2"/>
                    <a:pt x="1" y="7"/>
                  </a:cubicBezTo>
                  <a:cubicBezTo>
                    <a:pt x="0" y="13"/>
                    <a:pt x="6" y="19"/>
                    <a:pt x="5" y="17"/>
                  </a:cubicBezTo>
                  <a:cubicBezTo>
                    <a:pt x="31" y="50"/>
                    <a:pt x="43" y="51"/>
                    <a:pt x="59" y="61"/>
                  </a:cubicBezTo>
                  <a:cubicBezTo>
                    <a:pt x="83" y="76"/>
                    <a:pt x="80" y="70"/>
                    <a:pt x="96" y="75"/>
                  </a:cubicBezTo>
                  <a:cubicBezTo>
                    <a:pt x="117" y="81"/>
                    <a:pt x="120" y="83"/>
                    <a:pt x="139" y="84"/>
                  </a:cubicBezTo>
                  <a:cubicBezTo>
                    <a:pt x="145" y="84"/>
                    <a:pt x="179" y="86"/>
                    <a:pt x="187" y="83"/>
                  </a:cubicBezTo>
                  <a:cubicBezTo>
                    <a:pt x="194" y="81"/>
                    <a:pt x="192" y="74"/>
                    <a:pt x="189" y="70"/>
                  </a:cubicBezTo>
                  <a:cubicBezTo>
                    <a:pt x="188" y="69"/>
                    <a:pt x="185" y="66"/>
                    <a:pt x="185" y="67"/>
                  </a:cubicBezTo>
                  <a:cubicBezTo>
                    <a:pt x="183" y="64"/>
                    <a:pt x="181" y="61"/>
                    <a:pt x="179" y="59"/>
                  </a:cubicBezTo>
                  <a:cubicBezTo>
                    <a:pt x="174" y="53"/>
                    <a:pt x="161" y="43"/>
                    <a:pt x="153" y="39"/>
                  </a:cubicBezTo>
                  <a:cubicBezTo>
                    <a:pt x="146" y="35"/>
                    <a:pt x="137" y="33"/>
                    <a:pt x="129" y="33"/>
                  </a:cubicBezTo>
                  <a:cubicBezTo>
                    <a:pt x="130" y="33"/>
                    <a:pt x="130" y="33"/>
                    <a:pt x="130" y="33"/>
                  </a:cubicBezTo>
                  <a:cubicBezTo>
                    <a:pt x="122" y="32"/>
                    <a:pt x="107" y="31"/>
                    <a:pt x="100" y="32"/>
                  </a:cubicBezTo>
                  <a:cubicBezTo>
                    <a:pt x="93" y="27"/>
                    <a:pt x="86" y="20"/>
                    <a:pt x="71" y="14"/>
                  </a:cubicBezTo>
                  <a:cubicBezTo>
                    <a:pt x="47" y="4"/>
                    <a:pt x="21" y="0"/>
                    <a:pt x="11" y="0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7" name="任意多边形: 形状 916"/>
            <p:cNvSpPr/>
            <p:nvPr userDrawn="1"/>
          </p:nvSpPr>
          <p:spPr bwMode="auto">
            <a:xfrm>
              <a:off x="6562596" y="2946400"/>
              <a:ext cx="425450" cy="511175"/>
            </a:xfrm>
            <a:custGeom>
              <a:avLst/>
              <a:gdLst>
                <a:gd name="T0" fmla="*/ 27 w 129"/>
                <a:gd name="T1" fmla="*/ 0 h 155"/>
                <a:gd name="T2" fmla="*/ 22 w 129"/>
                <a:gd name="T3" fmla="*/ 47 h 155"/>
                <a:gd name="T4" fmla="*/ 68 w 129"/>
                <a:gd name="T5" fmla="*/ 101 h 155"/>
                <a:gd name="T6" fmla="*/ 78 w 129"/>
                <a:gd name="T7" fmla="*/ 109 h 155"/>
                <a:gd name="T8" fmla="*/ 98 w 129"/>
                <a:gd name="T9" fmla="*/ 138 h 155"/>
                <a:gd name="T10" fmla="*/ 104 w 129"/>
                <a:gd name="T11" fmla="*/ 142 h 155"/>
                <a:gd name="T12" fmla="*/ 124 w 129"/>
                <a:gd name="T13" fmla="*/ 130 h 155"/>
                <a:gd name="T14" fmla="*/ 110 w 129"/>
                <a:gd name="T15" fmla="*/ 105 h 155"/>
                <a:gd name="T16" fmla="*/ 110 w 129"/>
                <a:gd name="T17" fmla="*/ 105 h 155"/>
                <a:gd name="T18" fmla="*/ 90 w 129"/>
                <a:gd name="T19" fmla="*/ 73 h 155"/>
                <a:gd name="T20" fmla="*/ 90 w 129"/>
                <a:gd name="T21" fmla="*/ 74 h 155"/>
                <a:gd name="T22" fmla="*/ 63 w 129"/>
                <a:gd name="T23" fmla="*/ 26 h 155"/>
                <a:gd name="T24" fmla="*/ 64 w 129"/>
                <a:gd name="T25" fmla="*/ 26 h 155"/>
                <a:gd name="T26" fmla="*/ 61 w 129"/>
                <a:gd name="T27" fmla="*/ 23 h 155"/>
                <a:gd name="T28" fmla="*/ 61 w 129"/>
                <a:gd name="T29" fmla="*/ 23 h 155"/>
                <a:gd name="T30" fmla="*/ 47 w 129"/>
                <a:gd name="T31" fmla="*/ 7 h 155"/>
                <a:gd name="T32" fmla="*/ 31 w 129"/>
                <a:gd name="T33" fmla="*/ 1 h 155"/>
                <a:gd name="T34" fmla="*/ 27 w 129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55">
                  <a:moveTo>
                    <a:pt x="27" y="0"/>
                  </a:moveTo>
                  <a:cubicBezTo>
                    <a:pt x="14" y="0"/>
                    <a:pt x="0" y="19"/>
                    <a:pt x="22" y="47"/>
                  </a:cubicBezTo>
                  <a:cubicBezTo>
                    <a:pt x="31" y="58"/>
                    <a:pt x="66" y="99"/>
                    <a:pt x="68" y="101"/>
                  </a:cubicBezTo>
                  <a:cubicBezTo>
                    <a:pt x="73" y="106"/>
                    <a:pt x="75" y="106"/>
                    <a:pt x="78" y="109"/>
                  </a:cubicBezTo>
                  <a:cubicBezTo>
                    <a:pt x="79" y="111"/>
                    <a:pt x="91" y="132"/>
                    <a:pt x="98" y="138"/>
                  </a:cubicBezTo>
                  <a:cubicBezTo>
                    <a:pt x="99" y="139"/>
                    <a:pt x="103" y="142"/>
                    <a:pt x="104" y="142"/>
                  </a:cubicBezTo>
                  <a:cubicBezTo>
                    <a:pt x="120" y="155"/>
                    <a:pt x="129" y="143"/>
                    <a:pt x="124" y="130"/>
                  </a:cubicBezTo>
                  <a:cubicBezTo>
                    <a:pt x="121" y="121"/>
                    <a:pt x="117" y="121"/>
                    <a:pt x="110" y="105"/>
                  </a:cubicBezTo>
                  <a:cubicBezTo>
                    <a:pt x="110" y="105"/>
                    <a:pt x="110" y="105"/>
                    <a:pt x="110" y="105"/>
                  </a:cubicBezTo>
                  <a:cubicBezTo>
                    <a:pt x="102" y="86"/>
                    <a:pt x="97" y="90"/>
                    <a:pt x="90" y="73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82" y="54"/>
                    <a:pt x="78" y="45"/>
                    <a:pt x="63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3" y="26"/>
                    <a:pt x="62" y="24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8" y="19"/>
                    <a:pt x="49" y="9"/>
                    <a:pt x="47" y="7"/>
                  </a:cubicBezTo>
                  <a:cubicBezTo>
                    <a:pt x="39" y="0"/>
                    <a:pt x="34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</a:path>
              </a:pathLst>
            </a:custGeom>
            <a:solidFill>
              <a:srgbClr val="619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8" name="任意多边形: 形状 917"/>
            <p:cNvSpPr/>
            <p:nvPr userDrawn="1"/>
          </p:nvSpPr>
          <p:spPr bwMode="auto">
            <a:xfrm>
              <a:off x="6575296" y="3135312"/>
              <a:ext cx="679450" cy="239713"/>
            </a:xfrm>
            <a:custGeom>
              <a:avLst/>
              <a:gdLst>
                <a:gd name="T0" fmla="*/ 174 w 206"/>
                <a:gd name="T1" fmla="*/ 0 h 73"/>
                <a:gd name="T2" fmla="*/ 174 w 206"/>
                <a:gd name="T3" fmla="*/ 0 h 73"/>
                <a:gd name="T4" fmla="*/ 149 w 206"/>
                <a:gd name="T5" fmla="*/ 8 h 73"/>
                <a:gd name="T6" fmla="*/ 149 w 206"/>
                <a:gd name="T7" fmla="*/ 8 h 73"/>
                <a:gd name="T8" fmla="*/ 138 w 206"/>
                <a:gd name="T9" fmla="*/ 13 h 73"/>
                <a:gd name="T10" fmla="*/ 130 w 206"/>
                <a:gd name="T11" fmla="*/ 16 h 73"/>
                <a:gd name="T12" fmla="*/ 130 w 206"/>
                <a:gd name="T13" fmla="*/ 16 h 73"/>
                <a:gd name="T14" fmla="*/ 122 w 206"/>
                <a:gd name="T15" fmla="*/ 19 h 73"/>
                <a:gd name="T16" fmla="*/ 113 w 206"/>
                <a:gd name="T17" fmla="*/ 23 h 73"/>
                <a:gd name="T18" fmla="*/ 113 w 206"/>
                <a:gd name="T19" fmla="*/ 23 h 73"/>
                <a:gd name="T20" fmla="*/ 109 w 206"/>
                <a:gd name="T21" fmla="*/ 25 h 73"/>
                <a:gd name="T22" fmla="*/ 109 w 206"/>
                <a:gd name="T23" fmla="*/ 25 h 73"/>
                <a:gd name="T24" fmla="*/ 108 w 206"/>
                <a:gd name="T25" fmla="*/ 26 h 73"/>
                <a:gd name="T26" fmla="*/ 108 w 206"/>
                <a:gd name="T27" fmla="*/ 26 h 73"/>
                <a:gd name="T28" fmla="*/ 81 w 206"/>
                <a:gd name="T29" fmla="*/ 33 h 73"/>
                <a:gd name="T30" fmla="*/ 63 w 206"/>
                <a:gd name="T31" fmla="*/ 36 h 73"/>
                <a:gd name="T32" fmla="*/ 58 w 206"/>
                <a:gd name="T33" fmla="*/ 35 h 73"/>
                <a:gd name="T34" fmla="*/ 55 w 206"/>
                <a:gd name="T35" fmla="*/ 34 h 73"/>
                <a:gd name="T36" fmla="*/ 44 w 206"/>
                <a:gd name="T37" fmla="*/ 32 h 73"/>
                <a:gd name="T38" fmla="*/ 32 w 206"/>
                <a:gd name="T39" fmla="*/ 38 h 73"/>
                <a:gd name="T40" fmla="*/ 23 w 206"/>
                <a:gd name="T41" fmla="*/ 44 h 73"/>
                <a:gd name="T42" fmla="*/ 9 w 206"/>
                <a:gd name="T43" fmla="*/ 53 h 73"/>
                <a:gd name="T44" fmla="*/ 0 w 206"/>
                <a:gd name="T45" fmla="*/ 64 h 73"/>
                <a:gd name="T46" fmla="*/ 2 w 206"/>
                <a:gd name="T47" fmla="*/ 69 h 73"/>
                <a:gd name="T48" fmla="*/ 19 w 206"/>
                <a:gd name="T49" fmla="*/ 73 h 73"/>
                <a:gd name="T50" fmla="*/ 37 w 206"/>
                <a:gd name="T51" fmla="*/ 69 h 73"/>
                <a:gd name="T52" fmla="*/ 59 w 206"/>
                <a:gd name="T53" fmla="*/ 64 h 73"/>
                <a:gd name="T54" fmla="*/ 129 w 206"/>
                <a:gd name="T55" fmla="*/ 59 h 73"/>
                <a:gd name="T56" fmla="*/ 177 w 206"/>
                <a:gd name="T57" fmla="*/ 47 h 73"/>
                <a:gd name="T58" fmla="*/ 195 w 206"/>
                <a:gd name="T59" fmla="*/ 38 h 73"/>
                <a:gd name="T60" fmla="*/ 201 w 206"/>
                <a:gd name="T61" fmla="*/ 33 h 73"/>
                <a:gd name="T62" fmla="*/ 205 w 206"/>
                <a:gd name="T63" fmla="*/ 22 h 73"/>
                <a:gd name="T64" fmla="*/ 174 w 206"/>
                <a:gd name="T65" fmla="*/ 0 h 73"/>
                <a:gd name="T66" fmla="*/ 108 w 206"/>
                <a:gd name="T67" fmla="*/ 26 h 73"/>
                <a:gd name="T68" fmla="*/ 108 w 206"/>
                <a:gd name="T69" fmla="*/ 25 h 73"/>
                <a:gd name="T70" fmla="*/ 108 w 206"/>
                <a:gd name="T71" fmla="*/ 26 h 73"/>
                <a:gd name="T72" fmla="*/ 6 w 206"/>
                <a:gd name="T73" fmla="*/ 64 h 73"/>
                <a:gd name="T74" fmla="*/ 6 w 206"/>
                <a:gd name="T75" fmla="*/ 64 h 73"/>
                <a:gd name="T76" fmla="*/ 7 w 206"/>
                <a:gd name="T77" fmla="*/ 65 h 73"/>
                <a:gd name="T78" fmla="*/ 6 w 206"/>
                <a:gd name="T79" fmla="*/ 6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6" h="73">
                  <a:moveTo>
                    <a:pt x="174" y="0"/>
                  </a:moveTo>
                  <a:cubicBezTo>
                    <a:pt x="174" y="0"/>
                    <a:pt x="174" y="0"/>
                    <a:pt x="174" y="0"/>
                  </a:cubicBezTo>
                  <a:cubicBezTo>
                    <a:pt x="165" y="0"/>
                    <a:pt x="155" y="5"/>
                    <a:pt x="149" y="8"/>
                  </a:cubicBezTo>
                  <a:cubicBezTo>
                    <a:pt x="149" y="8"/>
                    <a:pt x="149" y="8"/>
                    <a:pt x="149" y="8"/>
                  </a:cubicBezTo>
                  <a:cubicBezTo>
                    <a:pt x="138" y="13"/>
                    <a:pt x="138" y="13"/>
                    <a:pt x="138" y="13"/>
                  </a:cubicBezTo>
                  <a:cubicBezTo>
                    <a:pt x="136" y="14"/>
                    <a:pt x="133" y="15"/>
                    <a:pt x="130" y="16"/>
                  </a:cubicBezTo>
                  <a:cubicBezTo>
                    <a:pt x="130" y="16"/>
                    <a:pt x="130" y="16"/>
                    <a:pt x="130" y="16"/>
                  </a:cubicBezTo>
                  <a:cubicBezTo>
                    <a:pt x="130" y="16"/>
                    <a:pt x="122" y="19"/>
                    <a:pt x="122" y="19"/>
                  </a:cubicBezTo>
                  <a:cubicBezTo>
                    <a:pt x="122" y="19"/>
                    <a:pt x="113" y="23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23"/>
                    <a:pt x="109" y="25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5"/>
                    <a:pt x="108" y="26"/>
                    <a:pt x="108" y="26"/>
                  </a:cubicBezTo>
                  <a:cubicBezTo>
                    <a:pt x="108" y="26"/>
                    <a:pt x="108" y="26"/>
                    <a:pt x="108" y="26"/>
                  </a:cubicBezTo>
                  <a:cubicBezTo>
                    <a:pt x="94" y="32"/>
                    <a:pt x="88" y="31"/>
                    <a:pt x="81" y="33"/>
                  </a:cubicBezTo>
                  <a:cubicBezTo>
                    <a:pt x="79" y="33"/>
                    <a:pt x="67" y="36"/>
                    <a:pt x="63" y="36"/>
                  </a:cubicBezTo>
                  <a:cubicBezTo>
                    <a:pt x="61" y="36"/>
                    <a:pt x="60" y="36"/>
                    <a:pt x="58" y="35"/>
                  </a:cubicBezTo>
                  <a:cubicBezTo>
                    <a:pt x="57" y="35"/>
                    <a:pt x="55" y="34"/>
                    <a:pt x="55" y="34"/>
                  </a:cubicBezTo>
                  <a:cubicBezTo>
                    <a:pt x="48" y="31"/>
                    <a:pt x="44" y="32"/>
                    <a:pt x="44" y="32"/>
                  </a:cubicBezTo>
                  <a:cubicBezTo>
                    <a:pt x="44" y="32"/>
                    <a:pt x="39" y="33"/>
                    <a:pt x="32" y="38"/>
                  </a:cubicBezTo>
                  <a:cubicBezTo>
                    <a:pt x="27" y="42"/>
                    <a:pt x="26" y="42"/>
                    <a:pt x="23" y="44"/>
                  </a:cubicBezTo>
                  <a:cubicBezTo>
                    <a:pt x="14" y="50"/>
                    <a:pt x="16" y="48"/>
                    <a:pt x="9" y="53"/>
                  </a:cubicBezTo>
                  <a:cubicBezTo>
                    <a:pt x="4" y="58"/>
                    <a:pt x="0" y="60"/>
                    <a:pt x="0" y="64"/>
                  </a:cubicBezTo>
                  <a:cubicBezTo>
                    <a:pt x="0" y="66"/>
                    <a:pt x="0" y="68"/>
                    <a:pt x="2" y="69"/>
                  </a:cubicBezTo>
                  <a:cubicBezTo>
                    <a:pt x="5" y="71"/>
                    <a:pt x="15" y="73"/>
                    <a:pt x="19" y="73"/>
                  </a:cubicBezTo>
                  <a:cubicBezTo>
                    <a:pt x="27" y="73"/>
                    <a:pt x="33" y="71"/>
                    <a:pt x="37" y="69"/>
                  </a:cubicBezTo>
                  <a:cubicBezTo>
                    <a:pt x="45" y="67"/>
                    <a:pt x="49" y="65"/>
                    <a:pt x="59" y="64"/>
                  </a:cubicBezTo>
                  <a:cubicBezTo>
                    <a:pt x="66" y="63"/>
                    <a:pt x="122" y="60"/>
                    <a:pt x="129" y="59"/>
                  </a:cubicBezTo>
                  <a:cubicBezTo>
                    <a:pt x="130" y="59"/>
                    <a:pt x="161" y="54"/>
                    <a:pt x="177" y="47"/>
                  </a:cubicBezTo>
                  <a:cubicBezTo>
                    <a:pt x="186" y="43"/>
                    <a:pt x="188" y="43"/>
                    <a:pt x="195" y="38"/>
                  </a:cubicBezTo>
                  <a:cubicBezTo>
                    <a:pt x="197" y="37"/>
                    <a:pt x="201" y="34"/>
                    <a:pt x="201" y="33"/>
                  </a:cubicBezTo>
                  <a:cubicBezTo>
                    <a:pt x="205" y="28"/>
                    <a:pt x="206" y="26"/>
                    <a:pt x="205" y="22"/>
                  </a:cubicBezTo>
                  <a:cubicBezTo>
                    <a:pt x="204" y="8"/>
                    <a:pt x="189" y="0"/>
                    <a:pt x="174" y="0"/>
                  </a:cubicBezTo>
                  <a:moveTo>
                    <a:pt x="108" y="26"/>
                  </a:moveTo>
                  <a:cubicBezTo>
                    <a:pt x="108" y="25"/>
                    <a:pt x="108" y="25"/>
                    <a:pt x="108" y="25"/>
                  </a:cubicBezTo>
                  <a:cubicBezTo>
                    <a:pt x="108" y="25"/>
                    <a:pt x="108" y="26"/>
                    <a:pt x="108" y="26"/>
                  </a:cubicBezTo>
                  <a:moveTo>
                    <a:pt x="6" y="64"/>
                  </a:moveTo>
                  <a:cubicBezTo>
                    <a:pt x="6" y="64"/>
                    <a:pt x="6" y="64"/>
                    <a:pt x="6" y="64"/>
                  </a:cubicBezTo>
                  <a:cubicBezTo>
                    <a:pt x="6" y="64"/>
                    <a:pt x="7" y="64"/>
                    <a:pt x="7" y="65"/>
                  </a:cubicBezTo>
                  <a:cubicBezTo>
                    <a:pt x="7" y="64"/>
                    <a:pt x="6" y="64"/>
                    <a:pt x="6" y="64"/>
                  </a:cubicBezTo>
                </a:path>
              </a:pathLst>
            </a:custGeom>
            <a:solidFill>
              <a:srgbClr val="96B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9" name="任意多边形: 形状 918"/>
            <p:cNvSpPr/>
            <p:nvPr userDrawn="1"/>
          </p:nvSpPr>
          <p:spPr bwMode="auto">
            <a:xfrm>
              <a:off x="6618158" y="2709862"/>
              <a:ext cx="171450" cy="171450"/>
            </a:xfrm>
            <a:custGeom>
              <a:avLst/>
              <a:gdLst>
                <a:gd name="T0" fmla="*/ 27 w 52"/>
                <a:gd name="T1" fmla="*/ 2 h 52"/>
                <a:gd name="T2" fmla="*/ 3 w 52"/>
                <a:gd name="T3" fmla="*/ 0 h 52"/>
                <a:gd name="T4" fmla="*/ 1 w 52"/>
                <a:gd name="T5" fmla="*/ 1 h 52"/>
                <a:gd name="T6" fmla="*/ 1 w 52"/>
                <a:gd name="T7" fmla="*/ 1 h 52"/>
                <a:gd name="T8" fmla="*/ 0 w 52"/>
                <a:gd name="T9" fmla="*/ 3 h 52"/>
                <a:gd name="T10" fmla="*/ 1 w 52"/>
                <a:gd name="T11" fmla="*/ 4 h 52"/>
                <a:gd name="T12" fmla="*/ 1 w 52"/>
                <a:gd name="T13" fmla="*/ 4 h 52"/>
                <a:gd name="T14" fmla="*/ 20 w 52"/>
                <a:gd name="T15" fmla="*/ 45 h 52"/>
                <a:gd name="T16" fmla="*/ 26 w 52"/>
                <a:gd name="T17" fmla="*/ 49 h 52"/>
                <a:gd name="T18" fmla="*/ 49 w 52"/>
                <a:gd name="T19" fmla="*/ 51 h 52"/>
                <a:gd name="T20" fmla="*/ 49 w 52"/>
                <a:gd name="T21" fmla="*/ 51 h 52"/>
                <a:gd name="T22" fmla="*/ 50 w 52"/>
                <a:gd name="T23" fmla="*/ 52 h 52"/>
                <a:gd name="T24" fmla="*/ 52 w 52"/>
                <a:gd name="T25" fmla="*/ 50 h 52"/>
                <a:gd name="T26" fmla="*/ 52 w 52"/>
                <a:gd name="T27" fmla="*/ 50 h 52"/>
                <a:gd name="T28" fmla="*/ 51 w 52"/>
                <a:gd name="T29" fmla="*/ 47 h 52"/>
                <a:gd name="T30" fmla="*/ 32 w 52"/>
                <a:gd name="T31" fmla="*/ 7 h 52"/>
                <a:gd name="T32" fmla="*/ 27 w 52"/>
                <a:gd name="T33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52">
                  <a:moveTo>
                    <a:pt x="27" y="2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7"/>
                    <a:pt x="24" y="49"/>
                    <a:pt x="26" y="49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50"/>
                    <a:pt x="52" y="49"/>
                    <a:pt x="51" y="4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5"/>
                    <a:pt x="29" y="3"/>
                    <a:pt x="27" y="2"/>
                  </a:cubicBezTo>
                  <a:close/>
                </a:path>
              </a:pathLst>
            </a:custGeom>
            <a:solidFill>
              <a:srgbClr val="D29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0" name="任意多边形: 形状 919"/>
            <p:cNvSpPr/>
            <p:nvPr userDrawn="1"/>
          </p:nvSpPr>
          <p:spPr bwMode="auto">
            <a:xfrm>
              <a:off x="6614983" y="2716212"/>
              <a:ext cx="171450" cy="168275"/>
            </a:xfrm>
            <a:custGeom>
              <a:avLst/>
              <a:gdLst>
                <a:gd name="T0" fmla="*/ 49 w 52"/>
                <a:gd name="T1" fmla="*/ 51 h 51"/>
                <a:gd name="T2" fmla="*/ 26 w 52"/>
                <a:gd name="T3" fmla="*/ 49 h 51"/>
                <a:gd name="T4" fmla="*/ 20 w 52"/>
                <a:gd name="T5" fmla="*/ 44 h 51"/>
                <a:gd name="T6" fmla="*/ 1 w 52"/>
                <a:gd name="T7" fmla="*/ 4 h 51"/>
                <a:gd name="T8" fmla="*/ 3 w 52"/>
                <a:gd name="T9" fmla="*/ 0 h 51"/>
                <a:gd name="T10" fmla="*/ 26 w 52"/>
                <a:gd name="T11" fmla="*/ 2 h 51"/>
                <a:gd name="T12" fmla="*/ 32 w 52"/>
                <a:gd name="T13" fmla="*/ 6 h 51"/>
                <a:gd name="T14" fmla="*/ 51 w 52"/>
                <a:gd name="T15" fmla="*/ 47 h 51"/>
                <a:gd name="T16" fmla="*/ 49 w 52"/>
                <a:gd name="T1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1">
                  <a:moveTo>
                    <a:pt x="49" y="51"/>
                  </a:moveTo>
                  <a:cubicBezTo>
                    <a:pt x="26" y="49"/>
                    <a:pt x="26" y="49"/>
                    <a:pt x="26" y="49"/>
                  </a:cubicBezTo>
                  <a:cubicBezTo>
                    <a:pt x="24" y="49"/>
                    <a:pt x="21" y="47"/>
                    <a:pt x="20" y="4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2"/>
                    <a:pt x="31" y="4"/>
                    <a:pt x="32" y="6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2" y="49"/>
                    <a:pt x="52" y="51"/>
                    <a:pt x="49" y="51"/>
                  </a:cubicBezTo>
                  <a:close/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1" name="任意多边形: 形状 920"/>
            <p:cNvSpPr/>
            <p:nvPr userDrawn="1"/>
          </p:nvSpPr>
          <p:spPr bwMode="auto">
            <a:xfrm>
              <a:off x="6661021" y="2765425"/>
              <a:ext cx="207963" cy="287338"/>
            </a:xfrm>
            <a:custGeom>
              <a:avLst/>
              <a:gdLst>
                <a:gd name="T0" fmla="*/ 16 w 63"/>
                <a:gd name="T1" fmla="*/ 0 h 87"/>
                <a:gd name="T2" fmla="*/ 13 w 63"/>
                <a:gd name="T3" fmla="*/ 1 h 87"/>
                <a:gd name="T4" fmla="*/ 10 w 63"/>
                <a:gd name="T5" fmla="*/ 4 h 87"/>
                <a:gd name="T6" fmla="*/ 10 w 63"/>
                <a:gd name="T7" fmla="*/ 4 h 87"/>
                <a:gd name="T8" fmla="*/ 3 w 63"/>
                <a:gd name="T9" fmla="*/ 15 h 87"/>
                <a:gd name="T10" fmla="*/ 9 w 63"/>
                <a:gd name="T11" fmla="*/ 44 h 87"/>
                <a:gd name="T12" fmla="*/ 9 w 63"/>
                <a:gd name="T13" fmla="*/ 44 h 87"/>
                <a:gd name="T14" fmla="*/ 26 w 63"/>
                <a:gd name="T15" fmla="*/ 70 h 87"/>
                <a:gd name="T16" fmla="*/ 37 w 63"/>
                <a:gd name="T17" fmla="*/ 80 h 87"/>
                <a:gd name="T18" fmla="*/ 40 w 63"/>
                <a:gd name="T19" fmla="*/ 82 h 87"/>
                <a:gd name="T20" fmla="*/ 59 w 63"/>
                <a:gd name="T21" fmla="*/ 47 h 87"/>
                <a:gd name="T22" fmla="*/ 59 w 63"/>
                <a:gd name="T23" fmla="*/ 25 h 87"/>
                <a:gd name="T24" fmla="*/ 55 w 63"/>
                <a:gd name="T25" fmla="*/ 8 h 87"/>
                <a:gd name="T26" fmla="*/ 53 w 63"/>
                <a:gd name="T27" fmla="*/ 0 h 87"/>
                <a:gd name="T28" fmla="*/ 47 w 63"/>
                <a:gd name="T29" fmla="*/ 17 h 87"/>
                <a:gd name="T30" fmla="*/ 44 w 63"/>
                <a:gd name="T31" fmla="*/ 35 h 87"/>
                <a:gd name="T32" fmla="*/ 38 w 63"/>
                <a:gd name="T33" fmla="*/ 57 h 87"/>
                <a:gd name="T34" fmla="*/ 24 w 63"/>
                <a:gd name="T35" fmla="*/ 38 h 87"/>
                <a:gd name="T36" fmla="*/ 23 w 63"/>
                <a:gd name="T37" fmla="*/ 36 h 87"/>
                <a:gd name="T38" fmla="*/ 23 w 63"/>
                <a:gd name="T39" fmla="*/ 32 h 87"/>
                <a:gd name="T40" fmla="*/ 23 w 63"/>
                <a:gd name="T41" fmla="*/ 15 h 87"/>
                <a:gd name="T42" fmla="*/ 16 w 63"/>
                <a:gd name="T4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87">
                  <a:moveTo>
                    <a:pt x="16" y="0"/>
                  </a:moveTo>
                  <a:cubicBezTo>
                    <a:pt x="15" y="0"/>
                    <a:pt x="14" y="0"/>
                    <a:pt x="13" y="1"/>
                  </a:cubicBezTo>
                  <a:cubicBezTo>
                    <a:pt x="12" y="1"/>
                    <a:pt x="11" y="3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8" y="7"/>
                    <a:pt x="5" y="12"/>
                    <a:pt x="3" y="15"/>
                  </a:cubicBezTo>
                  <a:cubicBezTo>
                    <a:pt x="0" y="23"/>
                    <a:pt x="6" y="40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3" y="57"/>
                    <a:pt x="9" y="55"/>
                    <a:pt x="26" y="70"/>
                  </a:cubicBezTo>
                  <a:cubicBezTo>
                    <a:pt x="29" y="73"/>
                    <a:pt x="32" y="77"/>
                    <a:pt x="37" y="80"/>
                  </a:cubicBezTo>
                  <a:cubicBezTo>
                    <a:pt x="39" y="80"/>
                    <a:pt x="39" y="81"/>
                    <a:pt x="40" y="82"/>
                  </a:cubicBezTo>
                  <a:cubicBezTo>
                    <a:pt x="51" y="87"/>
                    <a:pt x="57" y="58"/>
                    <a:pt x="59" y="47"/>
                  </a:cubicBezTo>
                  <a:cubicBezTo>
                    <a:pt x="61" y="34"/>
                    <a:pt x="63" y="33"/>
                    <a:pt x="59" y="25"/>
                  </a:cubicBezTo>
                  <a:cubicBezTo>
                    <a:pt x="57" y="22"/>
                    <a:pt x="56" y="12"/>
                    <a:pt x="55" y="8"/>
                  </a:cubicBezTo>
                  <a:cubicBezTo>
                    <a:pt x="54" y="3"/>
                    <a:pt x="55" y="0"/>
                    <a:pt x="53" y="0"/>
                  </a:cubicBezTo>
                  <a:cubicBezTo>
                    <a:pt x="49" y="0"/>
                    <a:pt x="48" y="13"/>
                    <a:pt x="47" y="17"/>
                  </a:cubicBezTo>
                  <a:cubicBezTo>
                    <a:pt x="47" y="26"/>
                    <a:pt x="45" y="32"/>
                    <a:pt x="44" y="35"/>
                  </a:cubicBezTo>
                  <a:cubicBezTo>
                    <a:pt x="43" y="40"/>
                    <a:pt x="41" y="52"/>
                    <a:pt x="38" y="57"/>
                  </a:cubicBezTo>
                  <a:cubicBezTo>
                    <a:pt x="36" y="55"/>
                    <a:pt x="24" y="39"/>
                    <a:pt x="24" y="38"/>
                  </a:cubicBezTo>
                  <a:cubicBezTo>
                    <a:pt x="24" y="38"/>
                    <a:pt x="23" y="36"/>
                    <a:pt x="23" y="36"/>
                  </a:cubicBezTo>
                  <a:cubicBezTo>
                    <a:pt x="23" y="36"/>
                    <a:pt x="23" y="32"/>
                    <a:pt x="23" y="32"/>
                  </a:cubicBezTo>
                  <a:cubicBezTo>
                    <a:pt x="24" y="17"/>
                    <a:pt x="23" y="25"/>
                    <a:pt x="23" y="15"/>
                  </a:cubicBezTo>
                  <a:cubicBezTo>
                    <a:pt x="23" y="8"/>
                    <a:pt x="24" y="0"/>
                    <a:pt x="16" y="0"/>
                  </a:cubicBezTo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2" name="任意多边形: 形状 921"/>
            <p:cNvSpPr/>
            <p:nvPr userDrawn="1"/>
          </p:nvSpPr>
          <p:spPr bwMode="auto">
            <a:xfrm>
              <a:off x="6795958" y="2643187"/>
              <a:ext cx="415925" cy="449263"/>
            </a:xfrm>
            <a:custGeom>
              <a:avLst/>
              <a:gdLst>
                <a:gd name="T0" fmla="*/ 28 w 126"/>
                <a:gd name="T1" fmla="*/ 0 h 136"/>
                <a:gd name="T2" fmla="*/ 6 w 126"/>
                <a:gd name="T3" fmla="*/ 26 h 136"/>
                <a:gd name="T4" fmla="*/ 6 w 126"/>
                <a:gd name="T5" fmla="*/ 26 h 136"/>
                <a:gd name="T6" fmla="*/ 2 w 126"/>
                <a:gd name="T7" fmla="*/ 41 h 136"/>
                <a:gd name="T8" fmla="*/ 2 w 126"/>
                <a:gd name="T9" fmla="*/ 50 h 136"/>
                <a:gd name="T10" fmla="*/ 14 w 126"/>
                <a:gd name="T11" fmla="*/ 65 h 136"/>
                <a:gd name="T12" fmla="*/ 15 w 126"/>
                <a:gd name="T13" fmla="*/ 80 h 136"/>
                <a:gd name="T14" fmla="*/ 14 w 126"/>
                <a:gd name="T15" fmla="*/ 97 h 136"/>
                <a:gd name="T16" fmla="*/ 14 w 126"/>
                <a:gd name="T17" fmla="*/ 97 h 136"/>
                <a:gd name="T18" fmla="*/ 27 w 126"/>
                <a:gd name="T19" fmla="*/ 121 h 136"/>
                <a:gd name="T20" fmla="*/ 30 w 126"/>
                <a:gd name="T21" fmla="*/ 123 h 136"/>
                <a:gd name="T22" fmla="*/ 35 w 126"/>
                <a:gd name="T23" fmla="*/ 127 h 136"/>
                <a:gd name="T24" fmla="*/ 55 w 126"/>
                <a:gd name="T25" fmla="*/ 135 h 136"/>
                <a:gd name="T26" fmla="*/ 94 w 126"/>
                <a:gd name="T27" fmla="*/ 133 h 136"/>
                <a:gd name="T28" fmla="*/ 99 w 126"/>
                <a:gd name="T29" fmla="*/ 110 h 136"/>
                <a:gd name="T30" fmla="*/ 99 w 126"/>
                <a:gd name="T31" fmla="*/ 96 h 136"/>
                <a:gd name="T32" fmla="*/ 123 w 126"/>
                <a:gd name="T33" fmla="*/ 97 h 136"/>
                <a:gd name="T34" fmla="*/ 125 w 126"/>
                <a:gd name="T35" fmla="*/ 65 h 136"/>
                <a:gd name="T36" fmla="*/ 123 w 126"/>
                <a:gd name="T37" fmla="*/ 54 h 136"/>
                <a:gd name="T38" fmla="*/ 113 w 126"/>
                <a:gd name="T39" fmla="*/ 34 h 136"/>
                <a:gd name="T40" fmla="*/ 109 w 126"/>
                <a:gd name="T41" fmla="*/ 32 h 136"/>
                <a:gd name="T42" fmla="*/ 103 w 126"/>
                <a:gd name="T43" fmla="*/ 29 h 136"/>
                <a:gd name="T44" fmla="*/ 90 w 126"/>
                <a:gd name="T45" fmla="*/ 24 h 136"/>
                <a:gd name="T46" fmla="*/ 82 w 126"/>
                <a:gd name="T47" fmla="*/ 18 h 136"/>
                <a:gd name="T48" fmla="*/ 75 w 126"/>
                <a:gd name="T49" fmla="*/ 16 h 136"/>
                <a:gd name="T50" fmla="*/ 56 w 126"/>
                <a:gd name="T51" fmla="*/ 23 h 136"/>
                <a:gd name="T52" fmla="*/ 47 w 126"/>
                <a:gd name="T53" fmla="*/ 14 h 136"/>
                <a:gd name="T54" fmla="*/ 43 w 126"/>
                <a:gd name="T55" fmla="*/ 5 h 136"/>
                <a:gd name="T56" fmla="*/ 42 w 126"/>
                <a:gd name="T57" fmla="*/ 4 h 136"/>
                <a:gd name="T58" fmla="*/ 28 w 126"/>
                <a:gd name="T59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6" h="136">
                  <a:moveTo>
                    <a:pt x="28" y="0"/>
                  </a:moveTo>
                  <a:cubicBezTo>
                    <a:pt x="9" y="0"/>
                    <a:pt x="9" y="18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31"/>
                    <a:pt x="2" y="38"/>
                    <a:pt x="2" y="41"/>
                  </a:cubicBezTo>
                  <a:cubicBezTo>
                    <a:pt x="1" y="44"/>
                    <a:pt x="0" y="48"/>
                    <a:pt x="2" y="50"/>
                  </a:cubicBezTo>
                  <a:cubicBezTo>
                    <a:pt x="7" y="54"/>
                    <a:pt x="9" y="49"/>
                    <a:pt x="14" y="65"/>
                  </a:cubicBezTo>
                  <a:cubicBezTo>
                    <a:pt x="15" y="71"/>
                    <a:pt x="15" y="69"/>
                    <a:pt x="15" y="80"/>
                  </a:cubicBezTo>
                  <a:cubicBezTo>
                    <a:pt x="15" y="86"/>
                    <a:pt x="15" y="89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1" y="115"/>
                    <a:pt x="9" y="108"/>
                    <a:pt x="27" y="121"/>
                  </a:cubicBezTo>
                  <a:cubicBezTo>
                    <a:pt x="28" y="122"/>
                    <a:pt x="29" y="122"/>
                    <a:pt x="30" y="123"/>
                  </a:cubicBezTo>
                  <a:cubicBezTo>
                    <a:pt x="32" y="125"/>
                    <a:pt x="32" y="125"/>
                    <a:pt x="35" y="127"/>
                  </a:cubicBezTo>
                  <a:cubicBezTo>
                    <a:pt x="46" y="134"/>
                    <a:pt x="44" y="134"/>
                    <a:pt x="55" y="135"/>
                  </a:cubicBezTo>
                  <a:cubicBezTo>
                    <a:pt x="58" y="136"/>
                    <a:pt x="85" y="135"/>
                    <a:pt x="94" y="133"/>
                  </a:cubicBezTo>
                  <a:cubicBezTo>
                    <a:pt x="100" y="132"/>
                    <a:pt x="97" y="125"/>
                    <a:pt x="99" y="110"/>
                  </a:cubicBezTo>
                  <a:cubicBezTo>
                    <a:pt x="99" y="110"/>
                    <a:pt x="99" y="99"/>
                    <a:pt x="99" y="96"/>
                  </a:cubicBezTo>
                  <a:cubicBezTo>
                    <a:pt x="114" y="99"/>
                    <a:pt x="120" y="100"/>
                    <a:pt x="123" y="97"/>
                  </a:cubicBezTo>
                  <a:cubicBezTo>
                    <a:pt x="123" y="96"/>
                    <a:pt x="126" y="74"/>
                    <a:pt x="125" y="65"/>
                  </a:cubicBezTo>
                  <a:cubicBezTo>
                    <a:pt x="125" y="63"/>
                    <a:pt x="123" y="53"/>
                    <a:pt x="123" y="54"/>
                  </a:cubicBezTo>
                  <a:cubicBezTo>
                    <a:pt x="122" y="47"/>
                    <a:pt x="119" y="37"/>
                    <a:pt x="113" y="34"/>
                  </a:cubicBezTo>
                  <a:cubicBezTo>
                    <a:pt x="112" y="33"/>
                    <a:pt x="108" y="32"/>
                    <a:pt x="109" y="32"/>
                  </a:cubicBezTo>
                  <a:cubicBezTo>
                    <a:pt x="107" y="31"/>
                    <a:pt x="108" y="31"/>
                    <a:pt x="103" y="29"/>
                  </a:cubicBezTo>
                  <a:cubicBezTo>
                    <a:pt x="96" y="26"/>
                    <a:pt x="95" y="27"/>
                    <a:pt x="90" y="24"/>
                  </a:cubicBezTo>
                  <a:cubicBezTo>
                    <a:pt x="85" y="20"/>
                    <a:pt x="85" y="20"/>
                    <a:pt x="82" y="18"/>
                  </a:cubicBezTo>
                  <a:cubicBezTo>
                    <a:pt x="81" y="18"/>
                    <a:pt x="78" y="16"/>
                    <a:pt x="75" y="16"/>
                  </a:cubicBezTo>
                  <a:cubicBezTo>
                    <a:pt x="69" y="16"/>
                    <a:pt x="72" y="25"/>
                    <a:pt x="56" y="23"/>
                  </a:cubicBezTo>
                  <a:cubicBezTo>
                    <a:pt x="51" y="22"/>
                    <a:pt x="48" y="19"/>
                    <a:pt x="47" y="14"/>
                  </a:cubicBezTo>
                  <a:cubicBezTo>
                    <a:pt x="50" y="11"/>
                    <a:pt x="48" y="6"/>
                    <a:pt x="43" y="5"/>
                  </a:cubicBezTo>
                  <a:cubicBezTo>
                    <a:pt x="43" y="5"/>
                    <a:pt x="42" y="4"/>
                    <a:pt x="42" y="4"/>
                  </a:cubicBezTo>
                  <a:cubicBezTo>
                    <a:pt x="37" y="1"/>
                    <a:pt x="30" y="0"/>
                    <a:pt x="28" y="0"/>
                  </a:cubicBezTo>
                </a:path>
              </a:pathLst>
            </a:custGeom>
            <a:solidFill>
              <a:srgbClr val="68AB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3" name="任意多边形: 形状 922"/>
            <p:cNvSpPr/>
            <p:nvPr userDrawn="1"/>
          </p:nvSpPr>
          <p:spPr bwMode="auto">
            <a:xfrm>
              <a:off x="6841996" y="2465387"/>
              <a:ext cx="173038" cy="247650"/>
            </a:xfrm>
            <a:custGeom>
              <a:avLst/>
              <a:gdLst>
                <a:gd name="T0" fmla="*/ 24 w 52"/>
                <a:gd name="T1" fmla="*/ 0 h 75"/>
                <a:gd name="T2" fmla="*/ 13 w 52"/>
                <a:gd name="T3" fmla="*/ 4 h 75"/>
                <a:gd name="T4" fmla="*/ 4 w 52"/>
                <a:gd name="T5" fmla="*/ 39 h 75"/>
                <a:gd name="T6" fmla="*/ 26 w 52"/>
                <a:gd name="T7" fmla="*/ 75 h 75"/>
                <a:gd name="T8" fmla="*/ 42 w 52"/>
                <a:gd name="T9" fmla="*/ 57 h 75"/>
                <a:gd name="T10" fmla="*/ 44 w 52"/>
                <a:gd name="T11" fmla="*/ 14 h 75"/>
                <a:gd name="T12" fmla="*/ 29 w 52"/>
                <a:gd name="T13" fmla="*/ 1 h 75"/>
                <a:gd name="T14" fmla="*/ 24 w 52"/>
                <a:gd name="T1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75">
                  <a:moveTo>
                    <a:pt x="24" y="0"/>
                  </a:moveTo>
                  <a:cubicBezTo>
                    <a:pt x="21" y="0"/>
                    <a:pt x="18" y="1"/>
                    <a:pt x="13" y="4"/>
                  </a:cubicBezTo>
                  <a:cubicBezTo>
                    <a:pt x="1" y="9"/>
                    <a:pt x="0" y="28"/>
                    <a:pt x="4" y="39"/>
                  </a:cubicBezTo>
                  <a:cubicBezTo>
                    <a:pt x="7" y="47"/>
                    <a:pt x="17" y="75"/>
                    <a:pt x="26" y="75"/>
                  </a:cubicBezTo>
                  <a:cubicBezTo>
                    <a:pt x="33" y="75"/>
                    <a:pt x="40" y="65"/>
                    <a:pt x="42" y="57"/>
                  </a:cubicBezTo>
                  <a:cubicBezTo>
                    <a:pt x="45" y="47"/>
                    <a:pt x="52" y="31"/>
                    <a:pt x="44" y="14"/>
                  </a:cubicBezTo>
                  <a:cubicBezTo>
                    <a:pt x="42" y="10"/>
                    <a:pt x="34" y="2"/>
                    <a:pt x="29" y="1"/>
                  </a:cubicBezTo>
                  <a:cubicBezTo>
                    <a:pt x="27" y="0"/>
                    <a:pt x="25" y="0"/>
                    <a:pt x="24" y="0"/>
                  </a:cubicBezTo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4" name="任意多边形: 形状 923"/>
            <p:cNvSpPr/>
            <p:nvPr userDrawn="1"/>
          </p:nvSpPr>
          <p:spPr bwMode="auto">
            <a:xfrm>
              <a:off x="6826121" y="2406650"/>
              <a:ext cx="241300" cy="257175"/>
            </a:xfrm>
            <a:custGeom>
              <a:avLst/>
              <a:gdLst>
                <a:gd name="T0" fmla="*/ 35 w 73"/>
                <a:gd name="T1" fmla="*/ 0 h 78"/>
                <a:gd name="T2" fmla="*/ 27 w 73"/>
                <a:gd name="T3" fmla="*/ 1 h 78"/>
                <a:gd name="T4" fmla="*/ 11 w 73"/>
                <a:gd name="T5" fmla="*/ 11 h 78"/>
                <a:gd name="T6" fmla="*/ 5 w 73"/>
                <a:gd name="T7" fmla="*/ 35 h 78"/>
                <a:gd name="T8" fmla="*/ 23 w 73"/>
                <a:gd name="T9" fmla="*/ 35 h 78"/>
                <a:gd name="T10" fmla="*/ 23 w 73"/>
                <a:gd name="T11" fmla="*/ 35 h 78"/>
                <a:gd name="T12" fmla="*/ 27 w 73"/>
                <a:gd name="T13" fmla="*/ 34 h 78"/>
                <a:gd name="T14" fmla="*/ 44 w 73"/>
                <a:gd name="T15" fmla="*/ 51 h 78"/>
                <a:gd name="T16" fmla="*/ 45 w 73"/>
                <a:gd name="T17" fmla="*/ 65 h 78"/>
                <a:gd name="T18" fmla="*/ 56 w 73"/>
                <a:gd name="T19" fmla="*/ 72 h 78"/>
                <a:gd name="T20" fmla="*/ 59 w 73"/>
                <a:gd name="T21" fmla="*/ 68 h 78"/>
                <a:gd name="T22" fmla="*/ 59 w 73"/>
                <a:gd name="T23" fmla="*/ 69 h 78"/>
                <a:gd name="T24" fmla="*/ 58 w 73"/>
                <a:gd name="T25" fmla="*/ 10 h 78"/>
                <a:gd name="T26" fmla="*/ 42 w 73"/>
                <a:gd name="T27" fmla="*/ 1 h 78"/>
                <a:gd name="T28" fmla="*/ 35 w 73"/>
                <a:gd name="T29" fmla="*/ 0 h 78"/>
                <a:gd name="T30" fmla="*/ 35 w 73"/>
                <a:gd name="T3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3" h="78">
                  <a:moveTo>
                    <a:pt x="35" y="0"/>
                  </a:moveTo>
                  <a:cubicBezTo>
                    <a:pt x="33" y="0"/>
                    <a:pt x="28" y="1"/>
                    <a:pt x="27" y="1"/>
                  </a:cubicBezTo>
                  <a:cubicBezTo>
                    <a:pt x="17" y="1"/>
                    <a:pt x="17" y="5"/>
                    <a:pt x="11" y="11"/>
                  </a:cubicBezTo>
                  <a:cubicBezTo>
                    <a:pt x="4" y="18"/>
                    <a:pt x="0" y="31"/>
                    <a:pt x="5" y="35"/>
                  </a:cubicBezTo>
                  <a:cubicBezTo>
                    <a:pt x="10" y="38"/>
                    <a:pt x="13" y="36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5" y="34"/>
                    <a:pt x="25" y="34"/>
                    <a:pt x="27" y="34"/>
                  </a:cubicBezTo>
                  <a:cubicBezTo>
                    <a:pt x="35" y="34"/>
                    <a:pt x="42" y="40"/>
                    <a:pt x="44" y="51"/>
                  </a:cubicBezTo>
                  <a:cubicBezTo>
                    <a:pt x="45" y="55"/>
                    <a:pt x="45" y="62"/>
                    <a:pt x="45" y="65"/>
                  </a:cubicBezTo>
                  <a:cubicBezTo>
                    <a:pt x="45" y="76"/>
                    <a:pt x="51" y="78"/>
                    <a:pt x="56" y="72"/>
                  </a:cubicBezTo>
                  <a:cubicBezTo>
                    <a:pt x="57" y="71"/>
                    <a:pt x="58" y="70"/>
                    <a:pt x="59" y="68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69" y="56"/>
                    <a:pt x="73" y="27"/>
                    <a:pt x="58" y="10"/>
                  </a:cubicBezTo>
                  <a:cubicBezTo>
                    <a:pt x="50" y="3"/>
                    <a:pt x="53" y="5"/>
                    <a:pt x="42" y="1"/>
                  </a:cubicBezTo>
                  <a:cubicBezTo>
                    <a:pt x="40" y="0"/>
                    <a:pt x="37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5" name="任意多边形: 形状 924"/>
            <p:cNvSpPr/>
            <p:nvPr userDrawn="1"/>
          </p:nvSpPr>
          <p:spPr bwMode="auto">
            <a:xfrm>
              <a:off x="6954708" y="2560637"/>
              <a:ext cx="52388" cy="73025"/>
            </a:xfrm>
            <a:custGeom>
              <a:avLst/>
              <a:gdLst>
                <a:gd name="T0" fmla="*/ 9 w 16"/>
                <a:gd name="T1" fmla="*/ 0 h 22"/>
                <a:gd name="T2" fmla="*/ 5 w 16"/>
                <a:gd name="T3" fmla="*/ 3 h 22"/>
                <a:gd name="T4" fmla="*/ 2 w 16"/>
                <a:gd name="T5" fmla="*/ 7 h 22"/>
                <a:gd name="T6" fmla="*/ 2 w 16"/>
                <a:gd name="T7" fmla="*/ 12 h 22"/>
                <a:gd name="T8" fmla="*/ 3 w 16"/>
                <a:gd name="T9" fmla="*/ 14 h 22"/>
                <a:gd name="T10" fmla="*/ 8 w 16"/>
                <a:gd name="T11" fmla="*/ 20 h 22"/>
                <a:gd name="T12" fmla="*/ 15 w 16"/>
                <a:gd name="T13" fmla="*/ 5 h 22"/>
                <a:gd name="T14" fmla="*/ 9 w 16"/>
                <a:gd name="T15" fmla="*/ 0 h 22"/>
                <a:gd name="T16" fmla="*/ 15 w 16"/>
                <a:gd name="T17" fmla="*/ 7 h 22"/>
                <a:gd name="T18" fmla="*/ 15 w 16"/>
                <a:gd name="T1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2">
                  <a:moveTo>
                    <a:pt x="9" y="0"/>
                  </a:moveTo>
                  <a:cubicBezTo>
                    <a:pt x="7" y="0"/>
                    <a:pt x="6" y="2"/>
                    <a:pt x="5" y="3"/>
                  </a:cubicBezTo>
                  <a:cubicBezTo>
                    <a:pt x="3" y="4"/>
                    <a:pt x="3" y="6"/>
                    <a:pt x="2" y="7"/>
                  </a:cubicBezTo>
                  <a:cubicBezTo>
                    <a:pt x="2" y="9"/>
                    <a:pt x="1" y="11"/>
                    <a:pt x="2" y="12"/>
                  </a:cubicBezTo>
                  <a:cubicBezTo>
                    <a:pt x="3" y="14"/>
                    <a:pt x="3" y="12"/>
                    <a:pt x="3" y="14"/>
                  </a:cubicBezTo>
                  <a:cubicBezTo>
                    <a:pt x="0" y="18"/>
                    <a:pt x="5" y="22"/>
                    <a:pt x="8" y="20"/>
                  </a:cubicBezTo>
                  <a:cubicBezTo>
                    <a:pt x="13" y="17"/>
                    <a:pt x="16" y="7"/>
                    <a:pt x="15" y="5"/>
                  </a:cubicBezTo>
                  <a:cubicBezTo>
                    <a:pt x="14" y="1"/>
                    <a:pt x="11" y="0"/>
                    <a:pt x="9" y="0"/>
                  </a:cubicBezTo>
                  <a:moveTo>
                    <a:pt x="15" y="7"/>
                  </a:moveTo>
                  <a:cubicBezTo>
                    <a:pt x="15" y="8"/>
                    <a:pt x="15" y="8"/>
                    <a:pt x="15" y="7"/>
                  </a:cubicBezTo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936" name="组合 935"/>
          <p:cNvGrpSpPr/>
          <p:nvPr userDrawn="1"/>
        </p:nvGrpSpPr>
        <p:grpSpPr>
          <a:xfrm>
            <a:off x="4124384" y="4749800"/>
            <a:ext cx="771337" cy="1009467"/>
            <a:chOff x="10018583" y="5126037"/>
            <a:chExt cx="236538" cy="309563"/>
          </a:xfrm>
        </p:grpSpPr>
        <p:sp>
          <p:nvSpPr>
            <p:cNvPr id="937" name="任意多边形: 形状 936"/>
            <p:cNvSpPr/>
            <p:nvPr userDrawn="1"/>
          </p:nvSpPr>
          <p:spPr bwMode="auto">
            <a:xfrm>
              <a:off x="10031283" y="5126037"/>
              <a:ext cx="223838" cy="306388"/>
            </a:xfrm>
            <a:custGeom>
              <a:avLst/>
              <a:gdLst>
                <a:gd name="T0" fmla="*/ 20 w 68"/>
                <a:gd name="T1" fmla="*/ 0 h 93"/>
                <a:gd name="T2" fmla="*/ 20 w 68"/>
                <a:gd name="T3" fmla="*/ 50 h 93"/>
                <a:gd name="T4" fmla="*/ 16 w 68"/>
                <a:gd name="T5" fmla="*/ 46 h 93"/>
                <a:gd name="T6" fmla="*/ 15 w 68"/>
                <a:gd name="T7" fmla="*/ 46 h 93"/>
                <a:gd name="T8" fmla="*/ 15 w 68"/>
                <a:gd name="T9" fmla="*/ 45 h 93"/>
                <a:gd name="T10" fmla="*/ 15 w 68"/>
                <a:gd name="T11" fmla="*/ 53 h 93"/>
                <a:gd name="T12" fmla="*/ 9 w 68"/>
                <a:gd name="T13" fmla="*/ 49 h 93"/>
                <a:gd name="T14" fmla="*/ 0 w 68"/>
                <a:gd name="T15" fmla="*/ 48 h 93"/>
                <a:gd name="T16" fmla="*/ 2 w 68"/>
                <a:gd name="T17" fmla="*/ 50 h 93"/>
                <a:gd name="T18" fmla="*/ 1 w 68"/>
                <a:gd name="T19" fmla="*/ 53 h 93"/>
                <a:gd name="T20" fmla="*/ 4 w 68"/>
                <a:gd name="T21" fmla="*/ 64 h 93"/>
                <a:gd name="T22" fmla="*/ 13 w 68"/>
                <a:gd name="T23" fmla="*/ 73 h 93"/>
                <a:gd name="T24" fmla="*/ 15 w 68"/>
                <a:gd name="T25" fmla="*/ 74 h 93"/>
                <a:gd name="T26" fmla="*/ 17 w 68"/>
                <a:gd name="T27" fmla="*/ 77 h 93"/>
                <a:gd name="T28" fmla="*/ 17 w 68"/>
                <a:gd name="T29" fmla="*/ 77 h 93"/>
                <a:gd name="T30" fmla="*/ 22 w 68"/>
                <a:gd name="T31" fmla="*/ 74 h 93"/>
                <a:gd name="T32" fmla="*/ 22 w 68"/>
                <a:gd name="T33" fmla="*/ 73 h 93"/>
                <a:gd name="T34" fmla="*/ 26 w 68"/>
                <a:gd name="T35" fmla="*/ 65 h 93"/>
                <a:gd name="T36" fmla="*/ 26 w 68"/>
                <a:gd name="T37" fmla="*/ 65 h 93"/>
                <a:gd name="T38" fmla="*/ 26 w 68"/>
                <a:gd name="T39" fmla="*/ 22 h 93"/>
                <a:gd name="T40" fmla="*/ 62 w 68"/>
                <a:gd name="T41" fmla="*/ 36 h 93"/>
                <a:gd name="T42" fmla="*/ 62 w 68"/>
                <a:gd name="T43" fmla="*/ 66 h 93"/>
                <a:gd name="T44" fmla="*/ 58 w 68"/>
                <a:gd name="T45" fmla="*/ 62 h 93"/>
                <a:gd name="T46" fmla="*/ 57 w 68"/>
                <a:gd name="T47" fmla="*/ 61 h 93"/>
                <a:gd name="T48" fmla="*/ 56 w 68"/>
                <a:gd name="T49" fmla="*/ 61 h 93"/>
                <a:gd name="T50" fmla="*/ 56 w 68"/>
                <a:gd name="T51" fmla="*/ 69 h 93"/>
                <a:gd name="T52" fmla="*/ 51 w 68"/>
                <a:gd name="T53" fmla="*/ 65 h 93"/>
                <a:gd name="T54" fmla="*/ 42 w 68"/>
                <a:gd name="T55" fmla="*/ 64 h 93"/>
                <a:gd name="T56" fmla="*/ 44 w 68"/>
                <a:gd name="T57" fmla="*/ 66 h 93"/>
                <a:gd name="T58" fmla="*/ 43 w 68"/>
                <a:gd name="T59" fmla="*/ 69 h 93"/>
                <a:gd name="T60" fmla="*/ 46 w 68"/>
                <a:gd name="T61" fmla="*/ 78 h 93"/>
                <a:gd name="T62" fmla="*/ 55 w 68"/>
                <a:gd name="T63" fmla="*/ 89 h 93"/>
                <a:gd name="T64" fmla="*/ 56 w 68"/>
                <a:gd name="T65" fmla="*/ 90 h 93"/>
                <a:gd name="T66" fmla="*/ 58 w 68"/>
                <a:gd name="T67" fmla="*/ 93 h 93"/>
                <a:gd name="T68" fmla="*/ 58 w 68"/>
                <a:gd name="T69" fmla="*/ 93 h 93"/>
                <a:gd name="T70" fmla="*/ 58 w 68"/>
                <a:gd name="T71" fmla="*/ 93 h 93"/>
                <a:gd name="T72" fmla="*/ 64 w 68"/>
                <a:gd name="T73" fmla="*/ 90 h 93"/>
                <a:gd name="T74" fmla="*/ 64 w 68"/>
                <a:gd name="T75" fmla="*/ 90 h 93"/>
                <a:gd name="T76" fmla="*/ 64 w 68"/>
                <a:gd name="T77" fmla="*/ 89 h 93"/>
                <a:gd name="T78" fmla="*/ 68 w 68"/>
                <a:gd name="T79" fmla="*/ 81 h 93"/>
                <a:gd name="T80" fmla="*/ 68 w 68"/>
                <a:gd name="T81" fmla="*/ 80 h 93"/>
                <a:gd name="T82" fmla="*/ 68 w 68"/>
                <a:gd name="T83" fmla="*/ 18 h 93"/>
                <a:gd name="T84" fmla="*/ 20 w 68"/>
                <a:gd name="T85" fmla="*/ 0 h 93"/>
                <a:gd name="T86" fmla="*/ 56 w 68"/>
                <a:gd name="T87" fmla="*/ 27 h 93"/>
                <a:gd name="T88" fmla="*/ 26 w 68"/>
                <a:gd name="T89" fmla="*/ 16 h 93"/>
                <a:gd name="T90" fmla="*/ 26 w 68"/>
                <a:gd name="T91" fmla="*/ 9 h 93"/>
                <a:gd name="T92" fmla="*/ 62 w 68"/>
                <a:gd name="T93" fmla="*/ 23 h 93"/>
                <a:gd name="T94" fmla="*/ 62 w 68"/>
                <a:gd name="T95" fmla="*/ 29 h 93"/>
                <a:gd name="T96" fmla="*/ 56 w 68"/>
                <a:gd name="T97" fmla="*/ 2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" h="93">
                  <a:moveTo>
                    <a:pt x="20" y="0"/>
                  </a:moveTo>
                  <a:cubicBezTo>
                    <a:pt x="20" y="50"/>
                    <a:pt x="20" y="50"/>
                    <a:pt x="20" y="50"/>
                  </a:cubicBezTo>
                  <a:cubicBezTo>
                    <a:pt x="19" y="49"/>
                    <a:pt x="18" y="47"/>
                    <a:pt x="16" y="46"/>
                  </a:cubicBezTo>
                  <a:cubicBezTo>
                    <a:pt x="16" y="46"/>
                    <a:pt x="15" y="46"/>
                    <a:pt x="15" y="46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3" y="52"/>
                    <a:pt x="11" y="50"/>
                    <a:pt x="9" y="49"/>
                  </a:cubicBezTo>
                  <a:cubicBezTo>
                    <a:pt x="6" y="47"/>
                    <a:pt x="3" y="47"/>
                    <a:pt x="0" y="48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2" y="51"/>
                    <a:pt x="1" y="52"/>
                    <a:pt x="1" y="53"/>
                  </a:cubicBezTo>
                  <a:cubicBezTo>
                    <a:pt x="1" y="57"/>
                    <a:pt x="3" y="61"/>
                    <a:pt x="4" y="64"/>
                  </a:cubicBezTo>
                  <a:cubicBezTo>
                    <a:pt x="6" y="68"/>
                    <a:pt x="9" y="71"/>
                    <a:pt x="13" y="73"/>
                  </a:cubicBezTo>
                  <a:cubicBezTo>
                    <a:pt x="13" y="73"/>
                    <a:pt x="14" y="74"/>
                    <a:pt x="15" y="74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25" y="72"/>
                    <a:pt x="26" y="69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1" y="64"/>
                    <a:pt x="60" y="63"/>
                    <a:pt x="58" y="62"/>
                  </a:cubicBezTo>
                  <a:cubicBezTo>
                    <a:pt x="58" y="62"/>
                    <a:pt x="57" y="62"/>
                    <a:pt x="57" y="61"/>
                  </a:cubicBezTo>
                  <a:cubicBezTo>
                    <a:pt x="57" y="61"/>
                    <a:pt x="57" y="61"/>
                    <a:pt x="56" y="61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5" y="67"/>
                    <a:pt x="53" y="66"/>
                    <a:pt x="51" y="65"/>
                  </a:cubicBezTo>
                  <a:cubicBezTo>
                    <a:pt x="48" y="63"/>
                    <a:pt x="44" y="62"/>
                    <a:pt x="42" y="64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3" y="67"/>
                    <a:pt x="43" y="68"/>
                    <a:pt x="43" y="69"/>
                  </a:cubicBezTo>
                  <a:cubicBezTo>
                    <a:pt x="43" y="72"/>
                    <a:pt x="44" y="75"/>
                    <a:pt x="46" y="78"/>
                  </a:cubicBezTo>
                  <a:cubicBezTo>
                    <a:pt x="48" y="83"/>
                    <a:pt x="51" y="87"/>
                    <a:pt x="55" y="89"/>
                  </a:cubicBezTo>
                  <a:cubicBezTo>
                    <a:pt x="55" y="89"/>
                    <a:pt x="56" y="89"/>
                    <a:pt x="56" y="90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89"/>
                    <a:pt x="64" y="89"/>
                  </a:cubicBezTo>
                  <a:cubicBezTo>
                    <a:pt x="67" y="88"/>
                    <a:pt x="68" y="85"/>
                    <a:pt x="68" y="81"/>
                  </a:cubicBezTo>
                  <a:cubicBezTo>
                    <a:pt x="68" y="81"/>
                    <a:pt x="68" y="80"/>
                    <a:pt x="68" y="80"/>
                  </a:cubicBezTo>
                  <a:cubicBezTo>
                    <a:pt x="68" y="18"/>
                    <a:pt x="68" y="18"/>
                    <a:pt x="68" y="18"/>
                  </a:cubicBezTo>
                  <a:lnTo>
                    <a:pt x="20" y="0"/>
                  </a:lnTo>
                  <a:close/>
                  <a:moveTo>
                    <a:pt x="56" y="27"/>
                  </a:moveTo>
                  <a:cubicBezTo>
                    <a:pt x="26" y="16"/>
                    <a:pt x="26" y="16"/>
                    <a:pt x="26" y="16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9"/>
                    <a:pt x="62" y="29"/>
                    <a:pt x="62" y="29"/>
                  </a:cubicBezTo>
                  <a:lnTo>
                    <a:pt x="56" y="27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38" name="任意多边形: 形状 937"/>
            <p:cNvSpPr/>
            <p:nvPr userDrawn="1"/>
          </p:nvSpPr>
          <p:spPr bwMode="auto">
            <a:xfrm>
              <a:off x="10018583" y="5138737"/>
              <a:ext cx="217488" cy="296863"/>
            </a:xfrm>
            <a:custGeom>
              <a:avLst/>
              <a:gdLst>
                <a:gd name="T0" fmla="*/ 24 w 66"/>
                <a:gd name="T1" fmla="*/ 2 h 90"/>
                <a:gd name="T2" fmla="*/ 19 w 66"/>
                <a:gd name="T3" fmla="*/ 0 h 90"/>
                <a:gd name="T4" fmla="*/ 19 w 66"/>
                <a:gd name="T5" fmla="*/ 49 h 90"/>
                <a:gd name="T6" fmla="*/ 13 w 66"/>
                <a:gd name="T7" fmla="*/ 45 h 90"/>
                <a:gd name="T8" fmla="*/ 4 w 66"/>
                <a:gd name="T9" fmla="*/ 44 h 90"/>
                <a:gd name="T10" fmla="*/ 4 w 66"/>
                <a:gd name="T11" fmla="*/ 44 h 90"/>
                <a:gd name="T12" fmla="*/ 0 w 66"/>
                <a:gd name="T13" fmla="*/ 53 h 90"/>
                <a:gd name="T14" fmla="*/ 1 w 66"/>
                <a:gd name="T15" fmla="*/ 60 h 90"/>
                <a:gd name="T16" fmla="*/ 11 w 66"/>
                <a:gd name="T17" fmla="*/ 72 h 90"/>
                <a:gd name="T18" fmla="*/ 17 w 66"/>
                <a:gd name="T19" fmla="*/ 74 h 90"/>
                <a:gd name="T20" fmla="*/ 20 w 66"/>
                <a:gd name="T21" fmla="*/ 73 h 90"/>
                <a:gd name="T22" fmla="*/ 21 w 66"/>
                <a:gd name="T23" fmla="*/ 73 h 90"/>
                <a:gd name="T24" fmla="*/ 25 w 66"/>
                <a:gd name="T25" fmla="*/ 64 h 90"/>
                <a:gd name="T26" fmla="*/ 25 w 66"/>
                <a:gd name="T27" fmla="*/ 64 h 90"/>
                <a:gd name="T28" fmla="*/ 25 w 66"/>
                <a:gd name="T29" fmla="*/ 21 h 90"/>
                <a:gd name="T30" fmla="*/ 30 w 66"/>
                <a:gd name="T31" fmla="*/ 23 h 90"/>
                <a:gd name="T32" fmla="*/ 60 w 66"/>
                <a:gd name="T33" fmla="*/ 35 h 90"/>
                <a:gd name="T34" fmla="*/ 60 w 66"/>
                <a:gd name="T35" fmla="*/ 65 h 90"/>
                <a:gd name="T36" fmla="*/ 55 w 66"/>
                <a:gd name="T37" fmla="*/ 61 h 90"/>
                <a:gd name="T38" fmla="*/ 46 w 66"/>
                <a:gd name="T39" fmla="*/ 60 h 90"/>
                <a:gd name="T40" fmla="*/ 46 w 66"/>
                <a:gd name="T41" fmla="*/ 60 h 90"/>
                <a:gd name="T42" fmla="*/ 41 w 66"/>
                <a:gd name="T43" fmla="*/ 69 h 90"/>
                <a:gd name="T44" fmla="*/ 42 w 66"/>
                <a:gd name="T45" fmla="*/ 74 h 90"/>
                <a:gd name="T46" fmla="*/ 53 w 66"/>
                <a:gd name="T47" fmla="*/ 88 h 90"/>
                <a:gd name="T48" fmla="*/ 58 w 66"/>
                <a:gd name="T49" fmla="*/ 90 h 90"/>
                <a:gd name="T50" fmla="*/ 62 w 66"/>
                <a:gd name="T51" fmla="*/ 89 h 90"/>
                <a:gd name="T52" fmla="*/ 62 w 66"/>
                <a:gd name="T53" fmla="*/ 89 h 90"/>
                <a:gd name="T54" fmla="*/ 66 w 66"/>
                <a:gd name="T55" fmla="*/ 80 h 90"/>
                <a:gd name="T56" fmla="*/ 66 w 66"/>
                <a:gd name="T57" fmla="*/ 80 h 90"/>
                <a:gd name="T58" fmla="*/ 66 w 66"/>
                <a:gd name="T59" fmla="*/ 18 h 90"/>
                <a:gd name="T60" fmla="*/ 24 w 66"/>
                <a:gd name="T61" fmla="*/ 2 h 90"/>
                <a:gd name="T62" fmla="*/ 25 w 66"/>
                <a:gd name="T63" fmla="*/ 15 h 90"/>
                <a:gd name="T64" fmla="*/ 25 w 66"/>
                <a:gd name="T65" fmla="*/ 8 h 90"/>
                <a:gd name="T66" fmla="*/ 30 w 66"/>
                <a:gd name="T67" fmla="*/ 11 h 90"/>
                <a:gd name="T68" fmla="*/ 60 w 66"/>
                <a:gd name="T69" fmla="*/ 22 h 90"/>
                <a:gd name="T70" fmla="*/ 60 w 66"/>
                <a:gd name="T71" fmla="*/ 28 h 90"/>
                <a:gd name="T72" fmla="*/ 25 w 66"/>
                <a:gd name="T73" fmla="*/ 1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6" h="90">
                  <a:moveTo>
                    <a:pt x="24" y="2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7" y="48"/>
                    <a:pt x="15" y="46"/>
                    <a:pt x="13" y="45"/>
                  </a:cubicBezTo>
                  <a:cubicBezTo>
                    <a:pt x="10" y="43"/>
                    <a:pt x="7" y="43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1" y="46"/>
                    <a:pt x="0" y="49"/>
                    <a:pt x="0" y="53"/>
                  </a:cubicBezTo>
                  <a:cubicBezTo>
                    <a:pt x="0" y="55"/>
                    <a:pt x="0" y="58"/>
                    <a:pt x="1" y="60"/>
                  </a:cubicBezTo>
                  <a:cubicBezTo>
                    <a:pt x="3" y="65"/>
                    <a:pt x="7" y="70"/>
                    <a:pt x="11" y="72"/>
                  </a:cubicBezTo>
                  <a:cubicBezTo>
                    <a:pt x="13" y="73"/>
                    <a:pt x="15" y="74"/>
                    <a:pt x="17" y="74"/>
                  </a:cubicBezTo>
                  <a:cubicBezTo>
                    <a:pt x="18" y="74"/>
                    <a:pt x="19" y="74"/>
                    <a:pt x="20" y="73"/>
                  </a:cubicBezTo>
                  <a:cubicBezTo>
                    <a:pt x="20" y="73"/>
                    <a:pt x="20" y="73"/>
                    <a:pt x="21" y="73"/>
                  </a:cubicBezTo>
                  <a:cubicBezTo>
                    <a:pt x="23" y="71"/>
                    <a:pt x="25" y="68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59" y="63"/>
                    <a:pt x="57" y="62"/>
                    <a:pt x="55" y="61"/>
                  </a:cubicBezTo>
                  <a:cubicBezTo>
                    <a:pt x="52" y="59"/>
                    <a:pt x="48" y="58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3" y="61"/>
                    <a:pt x="41" y="65"/>
                    <a:pt x="41" y="69"/>
                  </a:cubicBezTo>
                  <a:cubicBezTo>
                    <a:pt x="41" y="70"/>
                    <a:pt x="42" y="72"/>
                    <a:pt x="42" y="74"/>
                  </a:cubicBezTo>
                  <a:cubicBezTo>
                    <a:pt x="44" y="80"/>
                    <a:pt x="48" y="85"/>
                    <a:pt x="53" y="88"/>
                  </a:cubicBezTo>
                  <a:cubicBezTo>
                    <a:pt x="55" y="89"/>
                    <a:pt x="57" y="90"/>
                    <a:pt x="58" y="90"/>
                  </a:cubicBezTo>
                  <a:cubicBezTo>
                    <a:pt x="60" y="90"/>
                    <a:pt x="61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5" y="87"/>
                    <a:pt x="66" y="84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18"/>
                    <a:pt x="66" y="18"/>
                    <a:pt x="66" y="18"/>
                  </a:cubicBezTo>
                  <a:lnTo>
                    <a:pt x="24" y="2"/>
                  </a:lnTo>
                  <a:close/>
                  <a:moveTo>
                    <a:pt x="25" y="15"/>
                  </a:moveTo>
                  <a:cubicBezTo>
                    <a:pt x="25" y="8"/>
                    <a:pt x="25" y="8"/>
                    <a:pt x="25" y="8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8"/>
                    <a:pt x="60" y="28"/>
                    <a:pt x="60" y="28"/>
                  </a:cubicBezTo>
                  <a:lnTo>
                    <a:pt x="25" y="15"/>
                  </a:ln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39" name="任意多边形: 形状 938"/>
            <p:cNvSpPr/>
            <p:nvPr userDrawn="1"/>
          </p:nvSpPr>
          <p:spPr bwMode="auto">
            <a:xfrm>
              <a:off x="10080496" y="5126037"/>
              <a:ext cx="174625" cy="73025"/>
            </a:xfrm>
            <a:custGeom>
              <a:avLst/>
              <a:gdLst>
                <a:gd name="T0" fmla="*/ 0 w 110"/>
                <a:gd name="T1" fmla="*/ 8 h 46"/>
                <a:gd name="T2" fmla="*/ 11 w 110"/>
                <a:gd name="T3" fmla="*/ 0 h 46"/>
                <a:gd name="T4" fmla="*/ 110 w 110"/>
                <a:gd name="T5" fmla="*/ 37 h 46"/>
                <a:gd name="T6" fmla="*/ 98 w 110"/>
                <a:gd name="T7" fmla="*/ 46 h 46"/>
                <a:gd name="T8" fmla="*/ 0 w 110"/>
                <a:gd name="T9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46">
                  <a:moveTo>
                    <a:pt x="0" y="8"/>
                  </a:moveTo>
                  <a:lnTo>
                    <a:pt x="11" y="0"/>
                  </a:lnTo>
                  <a:lnTo>
                    <a:pt x="110" y="37"/>
                  </a:lnTo>
                  <a:lnTo>
                    <a:pt x="98" y="4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40" name="任意多边形: 形状 939"/>
            <p:cNvSpPr/>
            <p:nvPr userDrawn="1"/>
          </p:nvSpPr>
          <p:spPr bwMode="auto">
            <a:xfrm>
              <a:off x="10031283" y="5267325"/>
              <a:ext cx="49213" cy="33338"/>
            </a:xfrm>
            <a:custGeom>
              <a:avLst/>
              <a:gdLst>
                <a:gd name="T0" fmla="*/ 15 w 15"/>
                <a:gd name="T1" fmla="*/ 10 h 10"/>
                <a:gd name="T2" fmla="*/ 9 w 15"/>
                <a:gd name="T3" fmla="*/ 6 h 10"/>
                <a:gd name="T4" fmla="*/ 0 w 15"/>
                <a:gd name="T5" fmla="*/ 5 h 10"/>
                <a:gd name="T6" fmla="*/ 5 w 15"/>
                <a:gd name="T7" fmla="*/ 2 h 10"/>
                <a:gd name="T8" fmla="*/ 5 w 15"/>
                <a:gd name="T9" fmla="*/ 2 h 10"/>
                <a:gd name="T10" fmla="*/ 6 w 15"/>
                <a:gd name="T11" fmla="*/ 2 h 10"/>
                <a:gd name="T12" fmla="*/ 15 w 15"/>
                <a:gd name="T13" fmla="*/ 2 h 10"/>
                <a:gd name="T14" fmla="*/ 15 w 15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10"/>
                  </a:moveTo>
                  <a:cubicBezTo>
                    <a:pt x="13" y="9"/>
                    <a:pt x="11" y="7"/>
                    <a:pt x="9" y="6"/>
                  </a:cubicBezTo>
                  <a:cubicBezTo>
                    <a:pt x="6" y="4"/>
                    <a:pt x="3" y="4"/>
                    <a:pt x="0" y="5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8" y="0"/>
                    <a:pt x="11" y="1"/>
                    <a:pt x="15" y="2"/>
                  </a:cubicBezTo>
                  <a:lnTo>
                    <a:pt x="15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41" name="任意多边形: 形状 940"/>
            <p:cNvSpPr/>
            <p:nvPr userDrawn="1"/>
          </p:nvSpPr>
          <p:spPr bwMode="auto">
            <a:xfrm>
              <a:off x="10169396" y="5319712"/>
              <a:ext cx="46038" cy="33338"/>
            </a:xfrm>
            <a:custGeom>
              <a:avLst/>
              <a:gdLst>
                <a:gd name="T0" fmla="*/ 14 w 14"/>
                <a:gd name="T1" fmla="*/ 2 h 10"/>
                <a:gd name="T2" fmla="*/ 14 w 14"/>
                <a:gd name="T3" fmla="*/ 10 h 10"/>
                <a:gd name="T4" fmla="*/ 9 w 14"/>
                <a:gd name="T5" fmla="*/ 6 h 10"/>
                <a:gd name="T6" fmla="*/ 0 w 14"/>
                <a:gd name="T7" fmla="*/ 5 h 10"/>
                <a:gd name="T8" fmla="*/ 5 w 14"/>
                <a:gd name="T9" fmla="*/ 2 h 10"/>
                <a:gd name="T10" fmla="*/ 5 w 14"/>
                <a:gd name="T11" fmla="*/ 2 h 10"/>
                <a:gd name="T12" fmla="*/ 5 w 14"/>
                <a:gd name="T13" fmla="*/ 2 h 10"/>
                <a:gd name="T14" fmla="*/ 14 w 14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0">
                  <a:moveTo>
                    <a:pt x="14" y="2"/>
                  </a:moveTo>
                  <a:cubicBezTo>
                    <a:pt x="14" y="10"/>
                    <a:pt x="14" y="10"/>
                    <a:pt x="14" y="10"/>
                  </a:cubicBezTo>
                  <a:cubicBezTo>
                    <a:pt x="13" y="8"/>
                    <a:pt x="11" y="7"/>
                    <a:pt x="9" y="6"/>
                  </a:cubicBezTo>
                  <a:cubicBezTo>
                    <a:pt x="6" y="4"/>
                    <a:pt x="2" y="3"/>
                    <a:pt x="0" y="5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8" y="0"/>
                    <a:pt x="11" y="0"/>
                    <a:pt x="14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5757822" y="1665288"/>
            <a:ext cx="5747267" cy="2264982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57822" y="5535911"/>
            <a:ext cx="5747267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57822" y="5832182"/>
            <a:ext cx="5747267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5757822" y="4148599"/>
            <a:ext cx="5747267" cy="55879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 flipV="1">
            <a:off x="0" y="5172074"/>
            <a:ext cx="12192000" cy="16938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/>
          <a:lstStyle/>
          <a:p>
            <a:pPr lvl="0"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3513720" y="342900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3514836" y="432435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6" name="组合 5"/>
          <p:cNvGrpSpPr/>
          <p:nvPr userDrawn="1"/>
        </p:nvGrpSpPr>
        <p:grpSpPr>
          <a:xfrm>
            <a:off x="7375781" y="2014537"/>
            <a:ext cx="3186113" cy="3870326"/>
            <a:chOff x="6911846" y="2014537"/>
            <a:chExt cx="3186113" cy="3870326"/>
          </a:xfrm>
        </p:grpSpPr>
        <p:sp>
          <p:nvSpPr>
            <p:cNvPr id="138" name="任意多边形: 形状 137"/>
            <p:cNvSpPr/>
            <p:nvPr userDrawn="1"/>
          </p:nvSpPr>
          <p:spPr bwMode="auto">
            <a:xfrm>
              <a:off x="8199308" y="2027237"/>
              <a:ext cx="58738" cy="42863"/>
            </a:xfrm>
            <a:custGeom>
              <a:avLst/>
              <a:gdLst>
                <a:gd name="T0" fmla="*/ 0 w 37"/>
                <a:gd name="T1" fmla="*/ 15 h 27"/>
                <a:gd name="T2" fmla="*/ 29 w 37"/>
                <a:gd name="T3" fmla="*/ 0 h 27"/>
                <a:gd name="T4" fmla="*/ 37 w 37"/>
                <a:gd name="T5" fmla="*/ 12 h 27"/>
                <a:gd name="T6" fmla="*/ 8 w 37"/>
                <a:gd name="T7" fmla="*/ 27 h 27"/>
                <a:gd name="T8" fmla="*/ 0 w 37"/>
                <a:gd name="T9" fmla="*/ 1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7">
                  <a:moveTo>
                    <a:pt x="0" y="15"/>
                  </a:moveTo>
                  <a:lnTo>
                    <a:pt x="29" y="0"/>
                  </a:lnTo>
                  <a:lnTo>
                    <a:pt x="37" y="12"/>
                  </a:lnTo>
                  <a:lnTo>
                    <a:pt x="8" y="27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9" name="任意多边形: 形状 138"/>
            <p:cNvSpPr/>
            <p:nvPr userDrawn="1"/>
          </p:nvSpPr>
          <p:spPr bwMode="auto">
            <a:xfrm>
              <a:off x="10031283" y="4541837"/>
              <a:ext cx="49213" cy="63500"/>
            </a:xfrm>
            <a:custGeom>
              <a:avLst/>
              <a:gdLst>
                <a:gd name="T0" fmla="*/ 31 w 31"/>
                <a:gd name="T1" fmla="*/ 25 h 40"/>
                <a:gd name="T2" fmla="*/ 2 w 31"/>
                <a:gd name="T3" fmla="*/ 40 h 40"/>
                <a:gd name="T4" fmla="*/ 0 w 31"/>
                <a:gd name="T5" fmla="*/ 17 h 40"/>
                <a:gd name="T6" fmla="*/ 27 w 31"/>
                <a:gd name="T7" fmla="*/ 0 h 40"/>
                <a:gd name="T8" fmla="*/ 31 w 31"/>
                <a:gd name="T9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0">
                  <a:moveTo>
                    <a:pt x="31" y="25"/>
                  </a:moveTo>
                  <a:lnTo>
                    <a:pt x="2" y="40"/>
                  </a:lnTo>
                  <a:lnTo>
                    <a:pt x="0" y="17"/>
                  </a:lnTo>
                  <a:lnTo>
                    <a:pt x="27" y="0"/>
                  </a:lnTo>
                  <a:lnTo>
                    <a:pt x="31" y="25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0" name="任意多边形: 形状 139"/>
            <p:cNvSpPr/>
            <p:nvPr userDrawn="1"/>
          </p:nvSpPr>
          <p:spPr bwMode="auto">
            <a:xfrm>
              <a:off x="8226296" y="2014537"/>
              <a:ext cx="1871663" cy="2581275"/>
            </a:xfrm>
            <a:custGeom>
              <a:avLst/>
              <a:gdLst>
                <a:gd name="T0" fmla="*/ 551 w 567"/>
                <a:gd name="T1" fmla="*/ 778 h 783"/>
                <a:gd name="T2" fmla="*/ 16 w 567"/>
                <a:gd name="T3" fmla="*/ 469 h 783"/>
                <a:gd name="T4" fmla="*/ 0 w 567"/>
                <a:gd name="T5" fmla="*/ 437 h 783"/>
                <a:gd name="T6" fmla="*/ 0 w 567"/>
                <a:gd name="T7" fmla="*/ 18 h 783"/>
                <a:gd name="T8" fmla="*/ 16 w 567"/>
                <a:gd name="T9" fmla="*/ 5 h 783"/>
                <a:gd name="T10" fmla="*/ 551 w 567"/>
                <a:gd name="T11" fmla="*/ 314 h 783"/>
                <a:gd name="T12" fmla="*/ 567 w 567"/>
                <a:gd name="T13" fmla="*/ 345 h 783"/>
                <a:gd name="T14" fmla="*/ 567 w 567"/>
                <a:gd name="T15" fmla="*/ 765 h 783"/>
                <a:gd name="T16" fmla="*/ 551 w 567"/>
                <a:gd name="T17" fmla="*/ 77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7" h="783">
                  <a:moveTo>
                    <a:pt x="551" y="778"/>
                  </a:moveTo>
                  <a:cubicBezTo>
                    <a:pt x="16" y="469"/>
                    <a:pt x="16" y="469"/>
                    <a:pt x="16" y="469"/>
                  </a:cubicBezTo>
                  <a:cubicBezTo>
                    <a:pt x="7" y="463"/>
                    <a:pt x="0" y="449"/>
                    <a:pt x="0" y="43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6"/>
                    <a:pt x="7" y="0"/>
                    <a:pt x="16" y="5"/>
                  </a:cubicBezTo>
                  <a:cubicBezTo>
                    <a:pt x="551" y="314"/>
                    <a:pt x="551" y="314"/>
                    <a:pt x="551" y="314"/>
                  </a:cubicBezTo>
                  <a:cubicBezTo>
                    <a:pt x="560" y="319"/>
                    <a:pt x="567" y="333"/>
                    <a:pt x="567" y="345"/>
                  </a:cubicBezTo>
                  <a:cubicBezTo>
                    <a:pt x="567" y="765"/>
                    <a:pt x="567" y="765"/>
                    <a:pt x="567" y="765"/>
                  </a:cubicBezTo>
                  <a:cubicBezTo>
                    <a:pt x="567" y="777"/>
                    <a:pt x="560" y="783"/>
                    <a:pt x="551" y="778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1" name="任意多边形: 形状 140"/>
            <p:cNvSpPr/>
            <p:nvPr userDrawn="1"/>
          </p:nvSpPr>
          <p:spPr bwMode="auto">
            <a:xfrm>
              <a:off x="8180258" y="2036762"/>
              <a:ext cx="1874838" cy="2581275"/>
            </a:xfrm>
            <a:custGeom>
              <a:avLst/>
              <a:gdLst>
                <a:gd name="T0" fmla="*/ 552 w 568"/>
                <a:gd name="T1" fmla="*/ 778 h 783"/>
                <a:gd name="T2" fmla="*/ 17 w 568"/>
                <a:gd name="T3" fmla="*/ 469 h 783"/>
                <a:gd name="T4" fmla="*/ 0 w 568"/>
                <a:gd name="T5" fmla="*/ 438 h 783"/>
                <a:gd name="T6" fmla="*/ 0 w 568"/>
                <a:gd name="T7" fmla="*/ 18 h 783"/>
                <a:gd name="T8" fmla="*/ 17 w 568"/>
                <a:gd name="T9" fmla="*/ 6 h 783"/>
                <a:gd name="T10" fmla="*/ 552 w 568"/>
                <a:gd name="T11" fmla="*/ 314 h 783"/>
                <a:gd name="T12" fmla="*/ 568 w 568"/>
                <a:gd name="T13" fmla="*/ 346 h 783"/>
                <a:gd name="T14" fmla="*/ 568 w 568"/>
                <a:gd name="T15" fmla="*/ 766 h 783"/>
                <a:gd name="T16" fmla="*/ 552 w 568"/>
                <a:gd name="T17" fmla="*/ 77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8" h="783">
                  <a:moveTo>
                    <a:pt x="552" y="778"/>
                  </a:moveTo>
                  <a:cubicBezTo>
                    <a:pt x="17" y="469"/>
                    <a:pt x="17" y="469"/>
                    <a:pt x="17" y="469"/>
                  </a:cubicBezTo>
                  <a:cubicBezTo>
                    <a:pt x="8" y="464"/>
                    <a:pt x="0" y="450"/>
                    <a:pt x="0" y="43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6"/>
                    <a:pt x="8" y="0"/>
                    <a:pt x="17" y="6"/>
                  </a:cubicBezTo>
                  <a:cubicBezTo>
                    <a:pt x="552" y="314"/>
                    <a:pt x="552" y="314"/>
                    <a:pt x="552" y="314"/>
                  </a:cubicBezTo>
                  <a:cubicBezTo>
                    <a:pt x="561" y="320"/>
                    <a:pt x="568" y="334"/>
                    <a:pt x="568" y="346"/>
                  </a:cubicBezTo>
                  <a:cubicBezTo>
                    <a:pt x="568" y="766"/>
                    <a:pt x="568" y="766"/>
                    <a:pt x="568" y="766"/>
                  </a:cubicBezTo>
                  <a:cubicBezTo>
                    <a:pt x="568" y="778"/>
                    <a:pt x="561" y="783"/>
                    <a:pt x="552" y="77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2" name="任意多边形: 形状 141"/>
            <p:cNvSpPr/>
            <p:nvPr userDrawn="1"/>
          </p:nvSpPr>
          <p:spPr bwMode="auto">
            <a:xfrm>
              <a:off x="8261221" y="2182812"/>
              <a:ext cx="1711325" cy="2290763"/>
            </a:xfrm>
            <a:custGeom>
              <a:avLst/>
              <a:gdLst>
                <a:gd name="T0" fmla="*/ 0 w 518"/>
                <a:gd name="T1" fmla="*/ 379 h 695"/>
                <a:gd name="T2" fmla="*/ 0 w 518"/>
                <a:gd name="T3" fmla="*/ 18 h 695"/>
                <a:gd name="T4" fmla="*/ 17 w 518"/>
                <a:gd name="T5" fmla="*/ 5 h 695"/>
                <a:gd name="T6" fmla="*/ 501 w 518"/>
                <a:gd name="T7" fmla="*/ 285 h 695"/>
                <a:gd name="T8" fmla="*/ 518 w 518"/>
                <a:gd name="T9" fmla="*/ 316 h 695"/>
                <a:gd name="T10" fmla="*/ 518 w 518"/>
                <a:gd name="T11" fmla="*/ 678 h 695"/>
                <a:gd name="T12" fmla="*/ 501 w 518"/>
                <a:gd name="T13" fmla="*/ 690 h 695"/>
                <a:gd name="T14" fmla="*/ 17 w 518"/>
                <a:gd name="T15" fmla="*/ 410 h 695"/>
                <a:gd name="T16" fmla="*/ 0 w 518"/>
                <a:gd name="T17" fmla="*/ 379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8" h="695">
                  <a:moveTo>
                    <a:pt x="0" y="379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6"/>
                    <a:pt x="8" y="0"/>
                    <a:pt x="17" y="5"/>
                  </a:cubicBezTo>
                  <a:cubicBezTo>
                    <a:pt x="501" y="285"/>
                    <a:pt x="501" y="285"/>
                    <a:pt x="501" y="285"/>
                  </a:cubicBezTo>
                  <a:cubicBezTo>
                    <a:pt x="510" y="290"/>
                    <a:pt x="518" y="304"/>
                    <a:pt x="518" y="316"/>
                  </a:cubicBezTo>
                  <a:cubicBezTo>
                    <a:pt x="518" y="678"/>
                    <a:pt x="518" y="678"/>
                    <a:pt x="518" y="678"/>
                  </a:cubicBezTo>
                  <a:cubicBezTo>
                    <a:pt x="518" y="690"/>
                    <a:pt x="510" y="695"/>
                    <a:pt x="501" y="690"/>
                  </a:cubicBezTo>
                  <a:cubicBezTo>
                    <a:pt x="17" y="410"/>
                    <a:pt x="17" y="410"/>
                    <a:pt x="17" y="410"/>
                  </a:cubicBezTo>
                  <a:cubicBezTo>
                    <a:pt x="8" y="405"/>
                    <a:pt x="0" y="391"/>
                    <a:pt x="0" y="379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3" name="矩形 142"/>
            <p:cNvSpPr/>
            <p:nvPr userDrawn="1"/>
          </p:nvSpPr>
          <p:spPr bwMode="auto">
            <a:xfrm>
              <a:off x="6921371" y="4335462"/>
              <a:ext cx="185738" cy="101600"/>
            </a:xfrm>
            <a:prstGeom prst="rect">
              <a:avLst/>
            </a:pr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4" name="矩形 143"/>
            <p:cNvSpPr/>
            <p:nvPr userDrawn="1"/>
          </p:nvSpPr>
          <p:spPr bwMode="auto">
            <a:xfrm>
              <a:off x="9939208" y="4645025"/>
              <a:ext cx="115888" cy="104775"/>
            </a:xfrm>
            <a:prstGeom prst="rect">
              <a:avLst/>
            </a:pr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5" name="任意多边形: 形状 144"/>
            <p:cNvSpPr/>
            <p:nvPr userDrawn="1"/>
          </p:nvSpPr>
          <p:spPr bwMode="auto">
            <a:xfrm>
              <a:off x="6911846" y="3681412"/>
              <a:ext cx="3152775" cy="1817688"/>
            </a:xfrm>
            <a:custGeom>
              <a:avLst/>
              <a:gdLst>
                <a:gd name="T0" fmla="*/ 545 w 955"/>
                <a:gd name="T1" fmla="*/ 546 h 551"/>
                <a:gd name="T2" fmla="*/ 9 w 955"/>
                <a:gd name="T3" fmla="*/ 237 h 551"/>
                <a:gd name="T4" fmla="*/ 12 w 955"/>
                <a:gd name="T5" fmla="*/ 217 h 551"/>
                <a:gd name="T6" fmla="*/ 376 w 955"/>
                <a:gd name="T7" fmla="*/ 7 h 551"/>
                <a:gd name="T8" fmla="*/ 411 w 955"/>
                <a:gd name="T9" fmla="*/ 6 h 551"/>
                <a:gd name="T10" fmla="*/ 946 w 955"/>
                <a:gd name="T11" fmla="*/ 315 h 551"/>
                <a:gd name="T12" fmla="*/ 943 w 955"/>
                <a:gd name="T13" fmla="*/ 335 h 551"/>
                <a:gd name="T14" fmla="*/ 580 w 955"/>
                <a:gd name="T15" fmla="*/ 545 h 551"/>
                <a:gd name="T16" fmla="*/ 545 w 955"/>
                <a:gd name="T17" fmla="*/ 546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5" h="551">
                  <a:moveTo>
                    <a:pt x="545" y="546"/>
                  </a:moveTo>
                  <a:cubicBezTo>
                    <a:pt x="9" y="237"/>
                    <a:pt x="9" y="237"/>
                    <a:pt x="9" y="237"/>
                  </a:cubicBezTo>
                  <a:cubicBezTo>
                    <a:pt x="0" y="232"/>
                    <a:pt x="2" y="223"/>
                    <a:pt x="12" y="217"/>
                  </a:cubicBezTo>
                  <a:cubicBezTo>
                    <a:pt x="376" y="7"/>
                    <a:pt x="376" y="7"/>
                    <a:pt x="376" y="7"/>
                  </a:cubicBezTo>
                  <a:cubicBezTo>
                    <a:pt x="386" y="1"/>
                    <a:pt x="402" y="0"/>
                    <a:pt x="411" y="6"/>
                  </a:cubicBezTo>
                  <a:cubicBezTo>
                    <a:pt x="946" y="315"/>
                    <a:pt x="946" y="315"/>
                    <a:pt x="946" y="315"/>
                  </a:cubicBezTo>
                  <a:cubicBezTo>
                    <a:pt x="955" y="320"/>
                    <a:pt x="954" y="329"/>
                    <a:pt x="943" y="335"/>
                  </a:cubicBezTo>
                  <a:cubicBezTo>
                    <a:pt x="580" y="545"/>
                    <a:pt x="580" y="545"/>
                    <a:pt x="580" y="545"/>
                  </a:cubicBezTo>
                  <a:cubicBezTo>
                    <a:pt x="569" y="551"/>
                    <a:pt x="554" y="551"/>
                    <a:pt x="545" y="546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6" name="任意多边形: 形状 145"/>
            <p:cNvSpPr/>
            <p:nvPr userDrawn="1"/>
          </p:nvSpPr>
          <p:spPr bwMode="auto">
            <a:xfrm>
              <a:off x="6911846" y="3582987"/>
              <a:ext cx="3152775" cy="1816100"/>
            </a:xfrm>
            <a:custGeom>
              <a:avLst/>
              <a:gdLst>
                <a:gd name="T0" fmla="*/ 545 w 955"/>
                <a:gd name="T1" fmla="*/ 546 h 551"/>
                <a:gd name="T2" fmla="*/ 9 w 955"/>
                <a:gd name="T3" fmla="*/ 237 h 551"/>
                <a:gd name="T4" fmla="*/ 12 w 955"/>
                <a:gd name="T5" fmla="*/ 217 h 551"/>
                <a:gd name="T6" fmla="*/ 376 w 955"/>
                <a:gd name="T7" fmla="*/ 7 h 551"/>
                <a:gd name="T8" fmla="*/ 411 w 955"/>
                <a:gd name="T9" fmla="*/ 6 h 551"/>
                <a:gd name="T10" fmla="*/ 946 w 955"/>
                <a:gd name="T11" fmla="*/ 315 h 551"/>
                <a:gd name="T12" fmla="*/ 943 w 955"/>
                <a:gd name="T13" fmla="*/ 335 h 551"/>
                <a:gd name="T14" fmla="*/ 580 w 955"/>
                <a:gd name="T15" fmla="*/ 545 h 551"/>
                <a:gd name="T16" fmla="*/ 545 w 955"/>
                <a:gd name="T17" fmla="*/ 546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5" h="551">
                  <a:moveTo>
                    <a:pt x="545" y="546"/>
                  </a:moveTo>
                  <a:cubicBezTo>
                    <a:pt x="9" y="237"/>
                    <a:pt x="9" y="237"/>
                    <a:pt x="9" y="237"/>
                  </a:cubicBezTo>
                  <a:cubicBezTo>
                    <a:pt x="0" y="232"/>
                    <a:pt x="2" y="223"/>
                    <a:pt x="12" y="217"/>
                  </a:cubicBezTo>
                  <a:cubicBezTo>
                    <a:pt x="376" y="7"/>
                    <a:pt x="376" y="7"/>
                    <a:pt x="376" y="7"/>
                  </a:cubicBezTo>
                  <a:cubicBezTo>
                    <a:pt x="386" y="1"/>
                    <a:pt x="402" y="0"/>
                    <a:pt x="411" y="6"/>
                  </a:cubicBezTo>
                  <a:cubicBezTo>
                    <a:pt x="946" y="315"/>
                    <a:pt x="946" y="315"/>
                    <a:pt x="946" y="315"/>
                  </a:cubicBezTo>
                  <a:cubicBezTo>
                    <a:pt x="955" y="320"/>
                    <a:pt x="954" y="329"/>
                    <a:pt x="943" y="335"/>
                  </a:cubicBezTo>
                  <a:cubicBezTo>
                    <a:pt x="580" y="545"/>
                    <a:pt x="580" y="545"/>
                    <a:pt x="580" y="545"/>
                  </a:cubicBezTo>
                  <a:cubicBezTo>
                    <a:pt x="569" y="551"/>
                    <a:pt x="554" y="551"/>
                    <a:pt x="545" y="546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7" name="任意多边形: 形状 146"/>
            <p:cNvSpPr/>
            <p:nvPr userDrawn="1"/>
          </p:nvSpPr>
          <p:spPr bwMode="auto">
            <a:xfrm>
              <a:off x="7492871" y="3678237"/>
              <a:ext cx="2409825" cy="1389063"/>
            </a:xfrm>
            <a:custGeom>
              <a:avLst/>
              <a:gdLst>
                <a:gd name="T0" fmla="*/ 9 w 730"/>
                <a:gd name="T1" fmla="*/ 117 h 421"/>
                <a:gd name="T2" fmla="*/ 203 w 730"/>
                <a:gd name="T3" fmla="*/ 5 h 421"/>
                <a:gd name="T4" fmla="*/ 232 w 730"/>
                <a:gd name="T5" fmla="*/ 4 h 421"/>
                <a:gd name="T6" fmla="*/ 723 w 730"/>
                <a:gd name="T7" fmla="*/ 287 h 421"/>
                <a:gd name="T8" fmla="*/ 721 w 730"/>
                <a:gd name="T9" fmla="*/ 304 h 421"/>
                <a:gd name="T10" fmla="*/ 526 w 730"/>
                <a:gd name="T11" fmla="*/ 416 h 421"/>
                <a:gd name="T12" fmla="*/ 498 w 730"/>
                <a:gd name="T13" fmla="*/ 417 h 421"/>
                <a:gd name="T14" fmla="*/ 7 w 730"/>
                <a:gd name="T15" fmla="*/ 133 h 421"/>
                <a:gd name="T16" fmla="*/ 9 w 730"/>
                <a:gd name="T17" fmla="*/ 11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421">
                  <a:moveTo>
                    <a:pt x="9" y="117"/>
                  </a:moveTo>
                  <a:cubicBezTo>
                    <a:pt x="203" y="5"/>
                    <a:pt x="203" y="5"/>
                    <a:pt x="203" y="5"/>
                  </a:cubicBezTo>
                  <a:cubicBezTo>
                    <a:pt x="212" y="0"/>
                    <a:pt x="224" y="0"/>
                    <a:pt x="232" y="4"/>
                  </a:cubicBezTo>
                  <a:cubicBezTo>
                    <a:pt x="723" y="287"/>
                    <a:pt x="723" y="287"/>
                    <a:pt x="723" y="287"/>
                  </a:cubicBezTo>
                  <a:cubicBezTo>
                    <a:pt x="730" y="292"/>
                    <a:pt x="729" y="299"/>
                    <a:pt x="721" y="304"/>
                  </a:cubicBezTo>
                  <a:cubicBezTo>
                    <a:pt x="526" y="416"/>
                    <a:pt x="526" y="416"/>
                    <a:pt x="526" y="416"/>
                  </a:cubicBezTo>
                  <a:cubicBezTo>
                    <a:pt x="518" y="421"/>
                    <a:pt x="506" y="421"/>
                    <a:pt x="498" y="417"/>
                  </a:cubicBezTo>
                  <a:cubicBezTo>
                    <a:pt x="7" y="133"/>
                    <a:pt x="7" y="133"/>
                    <a:pt x="7" y="133"/>
                  </a:cubicBezTo>
                  <a:cubicBezTo>
                    <a:pt x="0" y="129"/>
                    <a:pt x="1" y="122"/>
                    <a:pt x="9" y="117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8" name="任意多边形: 形状 147"/>
            <p:cNvSpPr/>
            <p:nvPr userDrawn="1"/>
          </p:nvSpPr>
          <p:spPr bwMode="auto">
            <a:xfrm>
              <a:off x="7648446" y="4473575"/>
              <a:ext cx="874713" cy="504825"/>
            </a:xfrm>
            <a:custGeom>
              <a:avLst/>
              <a:gdLst>
                <a:gd name="T0" fmla="*/ 9 w 265"/>
                <a:gd name="T1" fmla="*/ 49 h 153"/>
                <a:gd name="T2" fmla="*/ 84 w 265"/>
                <a:gd name="T3" fmla="*/ 5 h 153"/>
                <a:gd name="T4" fmla="*/ 113 w 265"/>
                <a:gd name="T5" fmla="*/ 4 h 153"/>
                <a:gd name="T6" fmla="*/ 258 w 265"/>
                <a:gd name="T7" fmla="*/ 88 h 153"/>
                <a:gd name="T8" fmla="*/ 256 w 265"/>
                <a:gd name="T9" fmla="*/ 104 h 153"/>
                <a:gd name="T10" fmla="*/ 181 w 265"/>
                <a:gd name="T11" fmla="*/ 148 h 153"/>
                <a:gd name="T12" fmla="*/ 152 w 265"/>
                <a:gd name="T13" fmla="*/ 149 h 153"/>
                <a:gd name="T14" fmla="*/ 7 w 265"/>
                <a:gd name="T15" fmla="*/ 65 h 153"/>
                <a:gd name="T16" fmla="*/ 9 w 265"/>
                <a:gd name="T17" fmla="*/ 4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5" h="153">
                  <a:moveTo>
                    <a:pt x="9" y="49"/>
                  </a:moveTo>
                  <a:cubicBezTo>
                    <a:pt x="84" y="5"/>
                    <a:pt x="84" y="5"/>
                    <a:pt x="84" y="5"/>
                  </a:cubicBezTo>
                  <a:cubicBezTo>
                    <a:pt x="93" y="0"/>
                    <a:pt x="106" y="0"/>
                    <a:pt x="113" y="4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65" y="92"/>
                    <a:pt x="265" y="99"/>
                    <a:pt x="256" y="104"/>
                  </a:cubicBezTo>
                  <a:cubicBezTo>
                    <a:pt x="181" y="148"/>
                    <a:pt x="181" y="148"/>
                    <a:pt x="181" y="148"/>
                  </a:cubicBezTo>
                  <a:cubicBezTo>
                    <a:pt x="172" y="153"/>
                    <a:pt x="159" y="153"/>
                    <a:pt x="152" y="149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0" y="61"/>
                    <a:pt x="1" y="54"/>
                    <a:pt x="9" y="49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9" name="任意多边形: 形状 148"/>
            <p:cNvSpPr/>
            <p:nvPr userDrawn="1"/>
          </p:nvSpPr>
          <p:spPr bwMode="auto">
            <a:xfrm>
              <a:off x="8123108" y="3711575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0" name="任意多边形: 形状 149"/>
            <p:cNvSpPr/>
            <p:nvPr userDrawn="1"/>
          </p:nvSpPr>
          <p:spPr bwMode="auto">
            <a:xfrm>
              <a:off x="8312021" y="381793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3 h 41"/>
                <a:gd name="T8" fmla="*/ 33 w 71"/>
                <a:gd name="T9" fmla="*/ 3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5"/>
                    <a:pt x="3" y="12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4" y="0"/>
                    <a:pt x="30" y="0"/>
                    <a:pt x="33" y="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1" name="任意多边形: 形状 150"/>
            <p:cNvSpPr/>
            <p:nvPr userDrawn="1"/>
          </p:nvSpPr>
          <p:spPr bwMode="auto">
            <a:xfrm>
              <a:off x="8496171" y="3925887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2" name="任意多边形: 形状 151"/>
            <p:cNvSpPr/>
            <p:nvPr userDrawn="1"/>
          </p:nvSpPr>
          <p:spPr bwMode="auto">
            <a:xfrm>
              <a:off x="8681908" y="4032250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3" name="任意多边形: 形状 152"/>
            <p:cNvSpPr/>
            <p:nvPr userDrawn="1"/>
          </p:nvSpPr>
          <p:spPr bwMode="auto">
            <a:xfrm>
              <a:off x="8866058" y="4140200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4" name="任意多边形: 形状 153"/>
            <p:cNvSpPr/>
            <p:nvPr userDrawn="1"/>
          </p:nvSpPr>
          <p:spPr bwMode="auto">
            <a:xfrm>
              <a:off x="9050208" y="4246562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5" name="任意多边形: 形状 154"/>
            <p:cNvSpPr/>
            <p:nvPr userDrawn="1"/>
          </p:nvSpPr>
          <p:spPr bwMode="auto">
            <a:xfrm>
              <a:off x="9239121" y="4354512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6" name="任意多边形: 形状 155"/>
            <p:cNvSpPr/>
            <p:nvPr userDrawn="1"/>
          </p:nvSpPr>
          <p:spPr bwMode="auto">
            <a:xfrm>
              <a:off x="9423271" y="4459287"/>
              <a:ext cx="234950" cy="136525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任意多边形: 形状 156"/>
            <p:cNvSpPr/>
            <p:nvPr userDrawn="1"/>
          </p:nvSpPr>
          <p:spPr bwMode="auto">
            <a:xfrm>
              <a:off x="9609008" y="4568825"/>
              <a:ext cx="233363" cy="134938"/>
            </a:xfrm>
            <a:custGeom>
              <a:avLst/>
              <a:gdLst>
                <a:gd name="T0" fmla="*/ 37 w 71"/>
                <a:gd name="T1" fmla="*/ 38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8 h 41"/>
                <a:gd name="T16" fmla="*/ 37 w 71"/>
                <a:gd name="T17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8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47" y="41"/>
                    <a:pt x="41" y="41"/>
                    <a:pt x="37" y="3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8" name="任意多边形: 形状 157"/>
            <p:cNvSpPr/>
            <p:nvPr userDrawn="1"/>
          </p:nvSpPr>
          <p:spPr bwMode="auto">
            <a:xfrm>
              <a:off x="7994521" y="3787775"/>
              <a:ext cx="320675" cy="184150"/>
            </a:xfrm>
            <a:custGeom>
              <a:avLst/>
              <a:gdLst>
                <a:gd name="T0" fmla="*/ 64 w 97"/>
                <a:gd name="T1" fmla="*/ 54 h 56"/>
                <a:gd name="T2" fmla="*/ 3 w 97"/>
                <a:gd name="T3" fmla="*/ 20 h 56"/>
                <a:gd name="T4" fmla="*/ 3 w 97"/>
                <a:gd name="T5" fmla="*/ 12 h 56"/>
                <a:gd name="T6" fmla="*/ 20 w 97"/>
                <a:gd name="T7" fmla="*/ 2 h 56"/>
                <a:gd name="T8" fmla="*/ 33 w 97"/>
                <a:gd name="T9" fmla="*/ 2 h 56"/>
                <a:gd name="T10" fmla="*/ 94 w 97"/>
                <a:gd name="T11" fmla="*/ 37 h 56"/>
                <a:gd name="T12" fmla="*/ 94 w 97"/>
                <a:gd name="T13" fmla="*/ 45 h 56"/>
                <a:gd name="T14" fmla="*/ 77 w 97"/>
                <a:gd name="T15" fmla="*/ 54 h 56"/>
                <a:gd name="T16" fmla="*/ 64 w 97"/>
                <a:gd name="T17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7" h="56">
                  <a:moveTo>
                    <a:pt x="64" y="5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7" y="39"/>
                    <a:pt x="97" y="42"/>
                    <a:pt x="94" y="45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3" y="56"/>
                    <a:pt x="67" y="56"/>
                    <a:pt x="64" y="54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9" name="任意多边形: 形状 158"/>
            <p:cNvSpPr/>
            <p:nvPr userDrawn="1"/>
          </p:nvSpPr>
          <p:spPr bwMode="auto">
            <a:xfrm>
              <a:off x="8269158" y="3946525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0" name="任意多边形: 形状 159"/>
            <p:cNvSpPr/>
            <p:nvPr userDrawn="1"/>
          </p:nvSpPr>
          <p:spPr bwMode="auto">
            <a:xfrm>
              <a:off x="8453308" y="4051300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1" name="任意多边形: 形状 160"/>
            <p:cNvSpPr/>
            <p:nvPr userDrawn="1"/>
          </p:nvSpPr>
          <p:spPr bwMode="auto">
            <a:xfrm>
              <a:off x="8639046" y="416083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2" name="任意多边形: 形状 161"/>
            <p:cNvSpPr/>
            <p:nvPr userDrawn="1"/>
          </p:nvSpPr>
          <p:spPr bwMode="auto">
            <a:xfrm>
              <a:off x="8823196" y="4265612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3" name="任意多边形: 形状 162"/>
            <p:cNvSpPr/>
            <p:nvPr userDrawn="1"/>
          </p:nvSpPr>
          <p:spPr bwMode="auto">
            <a:xfrm>
              <a:off x="9007346" y="4373562"/>
              <a:ext cx="234950" cy="136525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4" name="任意多边形: 形状 163"/>
            <p:cNvSpPr/>
            <p:nvPr userDrawn="1"/>
          </p:nvSpPr>
          <p:spPr bwMode="auto">
            <a:xfrm>
              <a:off x="9196258" y="4479925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5" name="任意多边形: 形状 164"/>
            <p:cNvSpPr/>
            <p:nvPr userDrawn="1"/>
          </p:nvSpPr>
          <p:spPr bwMode="auto">
            <a:xfrm>
              <a:off x="9383583" y="4587875"/>
              <a:ext cx="327025" cy="192088"/>
            </a:xfrm>
            <a:custGeom>
              <a:avLst/>
              <a:gdLst>
                <a:gd name="T0" fmla="*/ 65 w 99"/>
                <a:gd name="T1" fmla="*/ 55 h 58"/>
                <a:gd name="T2" fmla="*/ 4 w 99"/>
                <a:gd name="T3" fmla="*/ 20 h 58"/>
                <a:gd name="T4" fmla="*/ 4 w 99"/>
                <a:gd name="T5" fmla="*/ 12 h 58"/>
                <a:gd name="T6" fmla="*/ 21 w 99"/>
                <a:gd name="T7" fmla="*/ 2 h 58"/>
                <a:gd name="T8" fmla="*/ 34 w 99"/>
                <a:gd name="T9" fmla="*/ 2 h 58"/>
                <a:gd name="T10" fmla="*/ 96 w 99"/>
                <a:gd name="T11" fmla="*/ 38 h 58"/>
                <a:gd name="T12" fmla="*/ 96 w 99"/>
                <a:gd name="T13" fmla="*/ 46 h 58"/>
                <a:gd name="T14" fmla="*/ 79 w 99"/>
                <a:gd name="T15" fmla="*/ 55 h 58"/>
                <a:gd name="T16" fmla="*/ 65 w 99"/>
                <a:gd name="T17" fmla="*/ 5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58">
                  <a:moveTo>
                    <a:pt x="65" y="55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9" y="40"/>
                    <a:pt x="99" y="44"/>
                    <a:pt x="96" y="46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5" y="58"/>
                    <a:pt x="69" y="58"/>
                    <a:pt x="65" y="55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6" name="任意多边形: 形状 165"/>
            <p:cNvSpPr/>
            <p:nvPr userDrawn="1"/>
          </p:nvSpPr>
          <p:spPr bwMode="auto">
            <a:xfrm>
              <a:off x="7730996" y="3938587"/>
              <a:ext cx="322263" cy="185738"/>
            </a:xfrm>
            <a:custGeom>
              <a:avLst/>
              <a:gdLst>
                <a:gd name="T0" fmla="*/ 64 w 98"/>
                <a:gd name="T1" fmla="*/ 54 h 56"/>
                <a:gd name="T2" fmla="*/ 4 w 98"/>
                <a:gd name="T3" fmla="*/ 19 h 56"/>
                <a:gd name="T4" fmla="*/ 4 w 98"/>
                <a:gd name="T5" fmla="*/ 12 h 56"/>
                <a:gd name="T6" fmla="*/ 21 w 98"/>
                <a:gd name="T7" fmla="*/ 2 h 56"/>
                <a:gd name="T8" fmla="*/ 34 w 98"/>
                <a:gd name="T9" fmla="*/ 2 h 56"/>
                <a:gd name="T10" fmla="*/ 94 w 98"/>
                <a:gd name="T11" fmla="*/ 37 h 56"/>
                <a:gd name="T12" fmla="*/ 94 w 98"/>
                <a:gd name="T13" fmla="*/ 44 h 56"/>
                <a:gd name="T14" fmla="*/ 77 w 98"/>
                <a:gd name="T15" fmla="*/ 54 h 56"/>
                <a:gd name="T16" fmla="*/ 64 w 98"/>
                <a:gd name="T17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56">
                  <a:moveTo>
                    <a:pt x="64" y="54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8" y="39"/>
                    <a:pt x="98" y="42"/>
                    <a:pt x="94" y="4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3" y="56"/>
                    <a:pt x="68" y="56"/>
                    <a:pt x="64" y="54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7" name="任意多边形: 形状 166"/>
            <p:cNvSpPr/>
            <p:nvPr userDrawn="1"/>
          </p:nvSpPr>
          <p:spPr bwMode="auto">
            <a:xfrm>
              <a:off x="8004046" y="4097337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8" name="任意多边形: 形状 167"/>
            <p:cNvSpPr/>
            <p:nvPr userDrawn="1"/>
          </p:nvSpPr>
          <p:spPr bwMode="auto">
            <a:xfrm>
              <a:off x="8189783" y="4203700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9" name="任意多边形: 形状 168"/>
            <p:cNvSpPr/>
            <p:nvPr userDrawn="1"/>
          </p:nvSpPr>
          <p:spPr bwMode="auto">
            <a:xfrm>
              <a:off x="8373933" y="4311650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0" name="任意多边形: 形状 169"/>
            <p:cNvSpPr/>
            <p:nvPr userDrawn="1"/>
          </p:nvSpPr>
          <p:spPr bwMode="auto">
            <a:xfrm>
              <a:off x="8562846" y="4416425"/>
              <a:ext cx="233363" cy="136525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1" name="任意多边形: 形状 170"/>
            <p:cNvSpPr/>
            <p:nvPr userDrawn="1"/>
          </p:nvSpPr>
          <p:spPr bwMode="auto">
            <a:xfrm>
              <a:off x="8746996" y="4525962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2" name="任意多边形: 形状 171"/>
            <p:cNvSpPr/>
            <p:nvPr userDrawn="1"/>
          </p:nvSpPr>
          <p:spPr bwMode="auto">
            <a:xfrm>
              <a:off x="8932733" y="4630737"/>
              <a:ext cx="233363" cy="136525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3" name="任意多边形: 形状 172"/>
            <p:cNvSpPr/>
            <p:nvPr userDrawn="1"/>
          </p:nvSpPr>
          <p:spPr bwMode="auto">
            <a:xfrm>
              <a:off x="9123233" y="4740275"/>
              <a:ext cx="327025" cy="190500"/>
            </a:xfrm>
            <a:custGeom>
              <a:avLst/>
              <a:gdLst>
                <a:gd name="T0" fmla="*/ 65 w 99"/>
                <a:gd name="T1" fmla="*/ 55 h 58"/>
                <a:gd name="T2" fmla="*/ 3 w 99"/>
                <a:gd name="T3" fmla="*/ 20 h 58"/>
                <a:gd name="T4" fmla="*/ 3 w 99"/>
                <a:gd name="T5" fmla="*/ 12 h 58"/>
                <a:gd name="T6" fmla="*/ 20 w 99"/>
                <a:gd name="T7" fmla="*/ 2 h 58"/>
                <a:gd name="T8" fmla="*/ 33 w 99"/>
                <a:gd name="T9" fmla="*/ 2 h 58"/>
                <a:gd name="T10" fmla="*/ 95 w 99"/>
                <a:gd name="T11" fmla="*/ 38 h 58"/>
                <a:gd name="T12" fmla="*/ 95 w 99"/>
                <a:gd name="T13" fmla="*/ 46 h 58"/>
                <a:gd name="T14" fmla="*/ 78 w 99"/>
                <a:gd name="T15" fmla="*/ 55 h 58"/>
                <a:gd name="T16" fmla="*/ 65 w 99"/>
                <a:gd name="T17" fmla="*/ 5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58">
                  <a:moveTo>
                    <a:pt x="65" y="55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9" y="40"/>
                    <a:pt x="99" y="43"/>
                    <a:pt x="95" y="46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4" y="58"/>
                    <a:pt x="68" y="58"/>
                    <a:pt x="65" y="55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4" name="任意多边形: 形状 173"/>
            <p:cNvSpPr/>
            <p:nvPr userDrawn="1"/>
          </p:nvSpPr>
          <p:spPr bwMode="auto">
            <a:xfrm>
              <a:off x="7862758" y="3863975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5" name="任意多边形: 形状 174"/>
            <p:cNvSpPr/>
            <p:nvPr userDrawn="1"/>
          </p:nvSpPr>
          <p:spPr bwMode="auto">
            <a:xfrm>
              <a:off x="8046908" y="3968750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3 h 41"/>
                <a:gd name="T8" fmla="*/ 34 w 71"/>
                <a:gd name="T9" fmla="*/ 3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4" y="0"/>
                    <a:pt x="30" y="0"/>
                    <a:pt x="34" y="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6" name="任意多边形: 形状 175"/>
            <p:cNvSpPr/>
            <p:nvPr userDrawn="1"/>
          </p:nvSpPr>
          <p:spPr bwMode="auto">
            <a:xfrm>
              <a:off x="8232646" y="407828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7" name="任意多边形: 形状 176"/>
            <p:cNvSpPr/>
            <p:nvPr userDrawn="1"/>
          </p:nvSpPr>
          <p:spPr bwMode="auto">
            <a:xfrm>
              <a:off x="8416796" y="4183062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8" name="任意多边形: 形状 177"/>
            <p:cNvSpPr/>
            <p:nvPr userDrawn="1"/>
          </p:nvSpPr>
          <p:spPr bwMode="auto">
            <a:xfrm>
              <a:off x="8605708" y="4292600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9" name="任意多边形: 形状 178"/>
            <p:cNvSpPr/>
            <p:nvPr userDrawn="1"/>
          </p:nvSpPr>
          <p:spPr bwMode="auto">
            <a:xfrm>
              <a:off x="8789858" y="4397375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0" name="任意多边形: 形状 179"/>
            <p:cNvSpPr/>
            <p:nvPr userDrawn="1"/>
          </p:nvSpPr>
          <p:spPr bwMode="auto">
            <a:xfrm>
              <a:off x="8975596" y="4506912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1" name="任意多边形: 形状 180"/>
            <p:cNvSpPr/>
            <p:nvPr userDrawn="1"/>
          </p:nvSpPr>
          <p:spPr bwMode="auto">
            <a:xfrm>
              <a:off x="9162921" y="4611687"/>
              <a:ext cx="415925" cy="244475"/>
            </a:xfrm>
            <a:custGeom>
              <a:avLst/>
              <a:gdLst>
                <a:gd name="T0" fmla="*/ 93 w 126"/>
                <a:gd name="T1" fmla="*/ 71 h 74"/>
                <a:gd name="T2" fmla="*/ 3 w 126"/>
                <a:gd name="T3" fmla="*/ 20 h 74"/>
                <a:gd name="T4" fmla="*/ 3 w 126"/>
                <a:gd name="T5" fmla="*/ 12 h 74"/>
                <a:gd name="T6" fmla="*/ 20 w 126"/>
                <a:gd name="T7" fmla="*/ 2 h 74"/>
                <a:gd name="T8" fmla="*/ 33 w 126"/>
                <a:gd name="T9" fmla="*/ 2 h 74"/>
                <a:gd name="T10" fmla="*/ 123 w 126"/>
                <a:gd name="T11" fmla="*/ 54 h 74"/>
                <a:gd name="T12" fmla="*/ 123 w 126"/>
                <a:gd name="T13" fmla="*/ 62 h 74"/>
                <a:gd name="T14" fmla="*/ 106 w 126"/>
                <a:gd name="T15" fmla="*/ 71 h 74"/>
                <a:gd name="T16" fmla="*/ 93 w 126"/>
                <a:gd name="T17" fmla="*/ 7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74">
                  <a:moveTo>
                    <a:pt x="93" y="71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6" y="56"/>
                    <a:pt x="126" y="59"/>
                    <a:pt x="123" y="62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2" y="74"/>
                    <a:pt x="96" y="74"/>
                    <a:pt x="93" y="71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2" name="任意多边形: 形状 181"/>
            <p:cNvSpPr/>
            <p:nvPr userDrawn="1"/>
          </p:nvSpPr>
          <p:spPr bwMode="auto">
            <a:xfrm>
              <a:off x="7599233" y="401478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3" name="任意多边形: 形状 182"/>
            <p:cNvSpPr/>
            <p:nvPr userDrawn="1"/>
          </p:nvSpPr>
          <p:spPr bwMode="auto">
            <a:xfrm>
              <a:off x="7783383" y="4121150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4" name="任意多边形: 形状 183"/>
            <p:cNvSpPr/>
            <p:nvPr userDrawn="1"/>
          </p:nvSpPr>
          <p:spPr bwMode="auto">
            <a:xfrm>
              <a:off x="7972296" y="4229100"/>
              <a:ext cx="787400" cy="455613"/>
            </a:xfrm>
            <a:custGeom>
              <a:avLst/>
              <a:gdLst>
                <a:gd name="T0" fmla="*/ 205 w 239"/>
                <a:gd name="T1" fmla="*/ 136 h 138"/>
                <a:gd name="T2" fmla="*/ 3 w 239"/>
                <a:gd name="T3" fmla="*/ 19 h 138"/>
                <a:gd name="T4" fmla="*/ 3 w 239"/>
                <a:gd name="T5" fmla="*/ 12 h 138"/>
                <a:gd name="T6" fmla="*/ 20 w 239"/>
                <a:gd name="T7" fmla="*/ 2 h 138"/>
                <a:gd name="T8" fmla="*/ 33 w 239"/>
                <a:gd name="T9" fmla="*/ 2 h 138"/>
                <a:gd name="T10" fmla="*/ 236 w 239"/>
                <a:gd name="T11" fmla="*/ 119 h 138"/>
                <a:gd name="T12" fmla="*/ 236 w 239"/>
                <a:gd name="T13" fmla="*/ 126 h 138"/>
                <a:gd name="T14" fmla="*/ 218 w 239"/>
                <a:gd name="T15" fmla="*/ 136 h 138"/>
                <a:gd name="T16" fmla="*/ 205 w 239"/>
                <a:gd name="T17" fmla="*/ 13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138">
                  <a:moveTo>
                    <a:pt x="205" y="136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39" y="121"/>
                    <a:pt x="239" y="124"/>
                    <a:pt x="236" y="126"/>
                  </a:cubicBezTo>
                  <a:cubicBezTo>
                    <a:pt x="218" y="136"/>
                    <a:pt x="218" y="136"/>
                    <a:pt x="218" y="136"/>
                  </a:cubicBezTo>
                  <a:cubicBezTo>
                    <a:pt x="215" y="138"/>
                    <a:pt x="209" y="138"/>
                    <a:pt x="205" y="136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5" name="任意多边形: 形状 184"/>
            <p:cNvSpPr/>
            <p:nvPr userDrawn="1"/>
          </p:nvSpPr>
          <p:spPr bwMode="auto">
            <a:xfrm>
              <a:off x="8710483" y="4657725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6" name="任意多边形: 形状 185"/>
            <p:cNvSpPr/>
            <p:nvPr userDrawn="1"/>
          </p:nvSpPr>
          <p:spPr bwMode="auto">
            <a:xfrm>
              <a:off x="8899396" y="476408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7" name="任意多边形: 形状 186"/>
            <p:cNvSpPr/>
            <p:nvPr userDrawn="1"/>
          </p:nvSpPr>
          <p:spPr bwMode="auto">
            <a:xfrm>
              <a:off x="9083546" y="4872037"/>
              <a:ext cx="234950" cy="134938"/>
            </a:xfrm>
            <a:custGeom>
              <a:avLst/>
              <a:gdLst>
                <a:gd name="T0" fmla="*/ 37 w 71"/>
                <a:gd name="T1" fmla="*/ 38 h 41"/>
                <a:gd name="T2" fmla="*/ 3 w 71"/>
                <a:gd name="T3" fmla="*/ 19 h 41"/>
                <a:gd name="T4" fmla="*/ 3 w 71"/>
                <a:gd name="T5" fmla="*/ 11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8 h 41"/>
                <a:gd name="T16" fmla="*/ 37 w 71"/>
                <a:gd name="T17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8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6"/>
                    <a:pt x="67" y="29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46" y="41"/>
                    <a:pt x="41" y="41"/>
                    <a:pt x="37" y="3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8" name="任意多边形: 形状 187"/>
            <p:cNvSpPr/>
            <p:nvPr userDrawn="1"/>
          </p:nvSpPr>
          <p:spPr bwMode="auto">
            <a:xfrm>
              <a:off x="9661396" y="4862512"/>
              <a:ext cx="122238" cy="101600"/>
            </a:xfrm>
            <a:custGeom>
              <a:avLst/>
              <a:gdLst>
                <a:gd name="T0" fmla="*/ 0 w 37"/>
                <a:gd name="T1" fmla="*/ 29 h 31"/>
                <a:gd name="T2" fmla="*/ 0 w 37"/>
                <a:gd name="T3" fmla="*/ 23 h 31"/>
                <a:gd name="T4" fmla="*/ 2 w 37"/>
                <a:gd name="T5" fmla="*/ 20 h 31"/>
                <a:gd name="T6" fmla="*/ 35 w 37"/>
                <a:gd name="T7" fmla="*/ 0 h 31"/>
                <a:gd name="T8" fmla="*/ 37 w 37"/>
                <a:gd name="T9" fmla="*/ 2 h 31"/>
                <a:gd name="T10" fmla="*/ 37 w 37"/>
                <a:gd name="T11" fmla="*/ 8 h 31"/>
                <a:gd name="T12" fmla="*/ 35 w 37"/>
                <a:gd name="T13" fmla="*/ 11 h 31"/>
                <a:gd name="T14" fmla="*/ 2 w 37"/>
                <a:gd name="T15" fmla="*/ 30 h 31"/>
                <a:gd name="T16" fmla="*/ 0 w 37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1">
                  <a:moveTo>
                    <a:pt x="0" y="29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2"/>
                    <a:pt x="0" y="20"/>
                    <a:pt x="2" y="2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0"/>
                    <a:pt x="37" y="2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9"/>
                    <a:pt x="36" y="11"/>
                    <a:pt x="35" y="1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1"/>
                    <a:pt x="0" y="30"/>
                    <a:pt x="0" y="29"/>
                  </a:cubicBez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0" name="任意多边形: 形状 189"/>
            <p:cNvSpPr/>
            <p:nvPr userDrawn="1"/>
          </p:nvSpPr>
          <p:spPr bwMode="auto">
            <a:xfrm>
              <a:off x="8067546" y="2614612"/>
              <a:ext cx="633413" cy="1225550"/>
            </a:xfrm>
            <a:custGeom>
              <a:avLst/>
              <a:gdLst>
                <a:gd name="T0" fmla="*/ 185 w 192"/>
                <a:gd name="T1" fmla="*/ 254 h 372"/>
                <a:gd name="T2" fmla="*/ 55 w 192"/>
                <a:gd name="T3" fmla="*/ 372 h 372"/>
                <a:gd name="T4" fmla="*/ 0 w 192"/>
                <a:gd name="T5" fmla="*/ 123 h 372"/>
                <a:gd name="T6" fmla="*/ 131 w 192"/>
                <a:gd name="T7" fmla="*/ 4 h 372"/>
                <a:gd name="T8" fmla="*/ 142 w 192"/>
                <a:gd name="T9" fmla="*/ 10 h 372"/>
                <a:gd name="T10" fmla="*/ 191 w 192"/>
                <a:gd name="T11" fmla="*/ 233 h 372"/>
                <a:gd name="T12" fmla="*/ 185 w 192"/>
                <a:gd name="T13" fmla="*/ 25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372">
                  <a:moveTo>
                    <a:pt x="185" y="254"/>
                  </a:moveTo>
                  <a:cubicBezTo>
                    <a:pt x="55" y="372"/>
                    <a:pt x="55" y="372"/>
                    <a:pt x="55" y="37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36" y="0"/>
                    <a:pt x="141" y="3"/>
                    <a:pt x="142" y="10"/>
                  </a:cubicBezTo>
                  <a:cubicBezTo>
                    <a:pt x="191" y="233"/>
                    <a:pt x="191" y="233"/>
                    <a:pt x="191" y="233"/>
                  </a:cubicBezTo>
                  <a:cubicBezTo>
                    <a:pt x="192" y="240"/>
                    <a:pt x="190" y="250"/>
                    <a:pt x="185" y="2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1" name="任意多边形: 形状 190"/>
            <p:cNvSpPr/>
            <p:nvPr userDrawn="1"/>
          </p:nvSpPr>
          <p:spPr bwMode="auto">
            <a:xfrm>
              <a:off x="8100883" y="2682875"/>
              <a:ext cx="560388" cy="419100"/>
            </a:xfrm>
            <a:custGeom>
              <a:avLst/>
              <a:gdLst>
                <a:gd name="T0" fmla="*/ 95 w 353"/>
                <a:gd name="T1" fmla="*/ 264 h 264"/>
                <a:gd name="T2" fmla="*/ 0 w 353"/>
                <a:gd name="T3" fmla="*/ 233 h 264"/>
                <a:gd name="T4" fmla="*/ 257 w 353"/>
                <a:gd name="T5" fmla="*/ 0 h 264"/>
                <a:gd name="T6" fmla="*/ 353 w 353"/>
                <a:gd name="T7" fmla="*/ 31 h 264"/>
                <a:gd name="T8" fmla="*/ 95 w 353"/>
                <a:gd name="T9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264">
                  <a:moveTo>
                    <a:pt x="95" y="264"/>
                  </a:moveTo>
                  <a:lnTo>
                    <a:pt x="0" y="233"/>
                  </a:lnTo>
                  <a:lnTo>
                    <a:pt x="257" y="0"/>
                  </a:lnTo>
                  <a:lnTo>
                    <a:pt x="353" y="31"/>
                  </a:lnTo>
                  <a:lnTo>
                    <a:pt x="95" y="264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2" name="任意多边形: 形状 191"/>
            <p:cNvSpPr/>
            <p:nvPr userDrawn="1"/>
          </p:nvSpPr>
          <p:spPr bwMode="auto">
            <a:xfrm>
              <a:off x="8067546" y="3022600"/>
              <a:ext cx="327025" cy="869950"/>
            </a:xfrm>
            <a:custGeom>
              <a:avLst/>
              <a:gdLst>
                <a:gd name="T0" fmla="*/ 0 w 206"/>
                <a:gd name="T1" fmla="*/ 0 h 548"/>
                <a:gd name="T2" fmla="*/ 93 w 206"/>
                <a:gd name="T3" fmla="*/ 31 h 548"/>
                <a:gd name="T4" fmla="*/ 206 w 206"/>
                <a:gd name="T5" fmla="*/ 548 h 548"/>
                <a:gd name="T6" fmla="*/ 112 w 206"/>
                <a:gd name="T7" fmla="*/ 519 h 548"/>
                <a:gd name="T8" fmla="*/ 0 w 206"/>
                <a:gd name="T9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548">
                  <a:moveTo>
                    <a:pt x="0" y="0"/>
                  </a:moveTo>
                  <a:lnTo>
                    <a:pt x="93" y="31"/>
                  </a:lnTo>
                  <a:lnTo>
                    <a:pt x="206" y="548"/>
                  </a:lnTo>
                  <a:lnTo>
                    <a:pt x="112" y="5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3" name="任意多边形: 形状 192"/>
            <p:cNvSpPr/>
            <p:nvPr userDrawn="1"/>
          </p:nvSpPr>
          <p:spPr bwMode="auto">
            <a:xfrm>
              <a:off x="8215183" y="2667000"/>
              <a:ext cx="635000" cy="1225550"/>
            </a:xfrm>
            <a:custGeom>
              <a:avLst/>
              <a:gdLst>
                <a:gd name="T0" fmla="*/ 185 w 192"/>
                <a:gd name="T1" fmla="*/ 254 h 372"/>
                <a:gd name="T2" fmla="*/ 54 w 192"/>
                <a:gd name="T3" fmla="*/ 372 h 372"/>
                <a:gd name="T4" fmla="*/ 0 w 192"/>
                <a:gd name="T5" fmla="*/ 123 h 372"/>
                <a:gd name="T6" fmla="*/ 130 w 192"/>
                <a:gd name="T7" fmla="*/ 4 h 372"/>
                <a:gd name="T8" fmla="*/ 142 w 192"/>
                <a:gd name="T9" fmla="*/ 9 h 372"/>
                <a:gd name="T10" fmla="*/ 190 w 192"/>
                <a:gd name="T11" fmla="*/ 233 h 372"/>
                <a:gd name="T12" fmla="*/ 185 w 192"/>
                <a:gd name="T13" fmla="*/ 25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372">
                  <a:moveTo>
                    <a:pt x="185" y="254"/>
                  </a:moveTo>
                  <a:cubicBezTo>
                    <a:pt x="54" y="372"/>
                    <a:pt x="54" y="372"/>
                    <a:pt x="54" y="37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130" y="4"/>
                    <a:pt x="130" y="4"/>
                    <a:pt x="130" y="4"/>
                  </a:cubicBezTo>
                  <a:cubicBezTo>
                    <a:pt x="135" y="0"/>
                    <a:pt x="140" y="2"/>
                    <a:pt x="142" y="9"/>
                  </a:cubicBezTo>
                  <a:cubicBezTo>
                    <a:pt x="190" y="233"/>
                    <a:pt x="190" y="233"/>
                    <a:pt x="190" y="233"/>
                  </a:cubicBezTo>
                  <a:cubicBezTo>
                    <a:pt x="192" y="240"/>
                    <a:pt x="189" y="249"/>
                    <a:pt x="185" y="254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4" name="任意多边形: 形状 193"/>
            <p:cNvSpPr/>
            <p:nvPr userDrawn="1"/>
          </p:nvSpPr>
          <p:spPr bwMode="auto">
            <a:xfrm>
              <a:off x="8453308" y="2673350"/>
              <a:ext cx="604838" cy="1282700"/>
            </a:xfrm>
            <a:custGeom>
              <a:avLst/>
              <a:gdLst>
                <a:gd name="T0" fmla="*/ 172 w 183"/>
                <a:gd name="T1" fmla="*/ 290 h 389"/>
                <a:gd name="T2" fmla="*/ 0 w 183"/>
                <a:gd name="T3" fmla="*/ 389 h 389"/>
                <a:gd name="T4" fmla="*/ 0 w 183"/>
                <a:gd name="T5" fmla="*/ 103 h 389"/>
                <a:gd name="T6" fmla="*/ 172 w 183"/>
                <a:gd name="T7" fmla="*/ 4 h 389"/>
                <a:gd name="T8" fmla="*/ 183 w 183"/>
                <a:gd name="T9" fmla="*/ 12 h 389"/>
                <a:gd name="T10" fmla="*/ 183 w 183"/>
                <a:gd name="T11" fmla="*/ 269 h 389"/>
                <a:gd name="T12" fmla="*/ 172 w 183"/>
                <a:gd name="T13" fmla="*/ 29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389">
                  <a:moveTo>
                    <a:pt x="172" y="290"/>
                  </a:moveTo>
                  <a:cubicBezTo>
                    <a:pt x="0" y="389"/>
                    <a:pt x="0" y="389"/>
                    <a:pt x="0" y="38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2" y="4"/>
                    <a:pt x="172" y="4"/>
                    <a:pt x="172" y="4"/>
                  </a:cubicBezTo>
                  <a:cubicBezTo>
                    <a:pt x="178" y="0"/>
                    <a:pt x="183" y="4"/>
                    <a:pt x="183" y="12"/>
                  </a:cubicBezTo>
                  <a:cubicBezTo>
                    <a:pt x="183" y="269"/>
                    <a:pt x="183" y="269"/>
                    <a:pt x="183" y="269"/>
                  </a:cubicBezTo>
                  <a:cubicBezTo>
                    <a:pt x="183" y="277"/>
                    <a:pt x="178" y="287"/>
                    <a:pt x="172" y="290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5" name="任意多边形: 形状 194"/>
            <p:cNvSpPr/>
            <p:nvPr userDrawn="1"/>
          </p:nvSpPr>
          <p:spPr bwMode="auto">
            <a:xfrm>
              <a:off x="8483471" y="2749550"/>
              <a:ext cx="688975" cy="395288"/>
            </a:xfrm>
            <a:custGeom>
              <a:avLst/>
              <a:gdLst>
                <a:gd name="T0" fmla="*/ 95 w 434"/>
                <a:gd name="T1" fmla="*/ 249 h 249"/>
                <a:gd name="T2" fmla="*/ 0 w 434"/>
                <a:gd name="T3" fmla="*/ 195 h 249"/>
                <a:gd name="T4" fmla="*/ 337 w 434"/>
                <a:gd name="T5" fmla="*/ 0 h 249"/>
                <a:gd name="T6" fmla="*/ 434 w 434"/>
                <a:gd name="T7" fmla="*/ 54 h 249"/>
                <a:gd name="T8" fmla="*/ 95 w 434"/>
                <a:gd name="T9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249">
                  <a:moveTo>
                    <a:pt x="95" y="249"/>
                  </a:moveTo>
                  <a:lnTo>
                    <a:pt x="0" y="195"/>
                  </a:lnTo>
                  <a:lnTo>
                    <a:pt x="337" y="0"/>
                  </a:lnTo>
                  <a:lnTo>
                    <a:pt x="434" y="54"/>
                  </a:lnTo>
                  <a:lnTo>
                    <a:pt x="95" y="249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6" name="任意多边形: 形状 195"/>
            <p:cNvSpPr/>
            <p:nvPr userDrawn="1"/>
          </p:nvSpPr>
          <p:spPr bwMode="auto">
            <a:xfrm>
              <a:off x="8450133" y="3016250"/>
              <a:ext cx="152400" cy="1031875"/>
            </a:xfrm>
            <a:custGeom>
              <a:avLst/>
              <a:gdLst>
                <a:gd name="T0" fmla="*/ 0 w 96"/>
                <a:gd name="T1" fmla="*/ 0 h 650"/>
                <a:gd name="T2" fmla="*/ 96 w 96"/>
                <a:gd name="T3" fmla="*/ 56 h 650"/>
                <a:gd name="T4" fmla="*/ 96 w 96"/>
                <a:gd name="T5" fmla="*/ 650 h 650"/>
                <a:gd name="T6" fmla="*/ 0 w 96"/>
                <a:gd name="T7" fmla="*/ 596 h 650"/>
                <a:gd name="T8" fmla="*/ 0 w 96"/>
                <a:gd name="T9" fmla="*/ 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50">
                  <a:moveTo>
                    <a:pt x="0" y="0"/>
                  </a:moveTo>
                  <a:lnTo>
                    <a:pt x="96" y="56"/>
                  </a:lnTo>
                  <a:lnTo>
                    <a:pt x="96" y="650"/>
                  </a:lnTo>
                  <a:lnTo>
                    <a:pt x="0" y="5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7" name="任意多边形: 形状 196"/>
            <p:cNvSpPr/>
            <p:nvPr userDrawn="1"/>
          </p:nvSpPr>
          <p:spPr bwMode="auto">
            <a:xfrm>
              <a:off x="8602533" y="2765425"/>
              <a:ext cx="603250" cy="1282700"/>
            </a:xfrm>
            <a:custGeom>
              <a:avLst/>
              <a:gdLst>
                <a:gd name="T0" fmla="*/ 172 w 183"/>
                <a:gd name="T1" fmla="*/ 290 h 389"/>
                <a:gd name="T2" fmla="*/ 0 w 183"/>
                <a:gd name="T3" fmla="*/ 389 h 389"/>
                <a:gd name="T4" fmla="*/ 0 w 183"/>
                <a:gd name="T5" fmla="*/ 103 h 389"/>
                <a:gd name="T6" fmla="*/ 172 w 183"/>
                <a:gd name="T7" fmla="*/ 4 h 389"/>
                <a:gd name="T8" fmla="*/ 183 w 183"/>
                <a:gd name="T9" fmla="*/ 12 h 389"/>
                <a:gd name="T10" fmla="*/ 183 w 183"/>
                <a:gd name="T11" fmla="*/ 269 h 389"/>
                <a:gd name="T12" fmla="*/ 172 w 183"/>
                <a:gd name="T13" fmla="*/ 29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389">
                  <a:moveTo>
                    <a:pt x="172" y="290"/>
                  </a:moveTo>
                  <a:cubicBezTo>
                    <a:pt x="0" y="389"/>
                    <a:pt x="0" y="389"/>
                    <a:pt x="0" y="38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2" y="4"/>
                    <a:pt x="172" y="4"/>
                    <a:pt x="172" y="4"/>
                  </a:cubicBezTo>
                  <a:cubicBezTo>
                    <a:pt x="178" y="0"/>
                    <a:pt x="183" y="4"/>
                    <a:pt x="183" y="12"/>
                  </a:cubicBezTo>
                  <a:cubicBezTo>
                    <a:pt x="183" y="269"/>
                    <a:pt x="183" y="269"/>
                    <a:pt x="183" y="269"/>
                  </a:cubicBezTo>
                  <a:cubicBezTo>
                    <a:pt x="183" y="277"/>
                    <a:pt x="178" y="287"/>
                    <a:pt x="172" y="290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8" name="任意多边形: 形状 197"/>
            <p:cNvSpPr/>
            <p:nvPr userDrawn="1"/>
          </p:nvSpPr>
          <p:spPr bwMode="auto">
            <a:xfrm>
              <a:off x="8639046" y="3028950"/>
              <a:ext cx="481013" cy="1028700"/>
            </a:xfrm>
            <a:custGeom>
              <a:avLst/>
              <a:gdLst>
                <a:gd name="T0" fmla="*/ 137 w 146"/>
                <a:gd name="T1" fmla="*/ 233 h 312"/>
                <a:gd name="T2" fmla="*/ 0 w 146"/>
                <a:gd name="T3" fmla="*/ 312 h 312"/>
                <a:gd name="T4" fmla="*/ 0 w 146"/>
                <a:gd name="T5" fmla="*/ 82 h 312"/>
                <a:gd name="T6" fmla="*/ 137 w 146"/>
                <a:gd name="T7" fmla="*/ 3 h 312"/>
                <a:gd name="T8" fmla="*/ 146 w 146"/>
                <a:gd name="T9" fmla="*/ 10 h 312"/>
                <a:gd name="T10" fmla="*/ 146 w 146"/>
                <a:gd name="T11" fmla="*/ 216 h 312"/>
                <a:gd name="T12" fmla="*/ 137 w 146"/>
                <a:gd name="T13" fmla="*/ 23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312">
                  <a:moveTo>
                    <a:pt x="137" y="233"/>
                  </a:moveTo>
                  <a:cubicBezTo>
                    <a:pt x="0" y="312"/>
                    <a:pt x="0" y="312"/>
                    <a:pt x="0" y="31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2" y="0"/>
                    <a:pt x="146" y="3"/>
                    <a:pt x="146" y="10"/>
                  </a:cubicBezTo>
                  <a:cubicBezTo>
                    <a:pt x="146" y="216"/>
                    <a:pt x="146" y="216"/>
                    <a:pt x="146" y="216"/>
                  </a:cubicBezTo>
                  <a:cubicBezTo>
                    <a:pt x="146" y="222"/>
                    <a:pt x="142" y="230"/>
                    <a:pt x="137" y="233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9" name="任意多边形: 形状 198"/>
            <p:cNvSpPr/>
            <p:nvPr userDrawn="1"/>
          </p:nvSpPr>
          <p:spPr bwMode="auto">
            <a:xfrm>
              <a:off x="8658096" y="3089275"/>
              <a:ext cx="554038" cy="319088"/>
            </a:xfrm>
            <a:custGeom>
              <a:avLst/>
              <a:gdLst>
                <a:gd name="T0" fmla="*/ 79 w 349"/>
                <a:gd name="T1" fmla="*/ 201 h 201"/>
                <a:gd name="T2" fmla="*/ 0 w 349"/>
                <a:gd name="T3" fmla="*/ 155 h 201"/>
                <a:gd name="T4" fmla="*/ 272 w 349"/>
                <a:gd name="T5" fmla="*/ 0 h 201"/>
                <a:gd name="T6" fmla="*/ 349 w 349"/>
                <a:gd name="T7" fmla="*/ 45 h 201"/>
                <a:gd name="T8" fmla="*/ 79 w 349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201">
                  <a:moveTo>
                    <a:pt x="79" y="201"/>
                  </a:moveTo>
                  <a:lnTo>
                    <a:pt x="0" y="155"/>
                  </a:lnTo>
                  <a:lnTo>
                    <a:pt x="272" y="0"/>
                  </a:lnTo>
                  <a:lnTo>
                    <a:pt x="349" y="45"/>
                  </a:lnTo>
                  <a:lnTo>
                    <a:pt x="79" y="2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2" name="任意多边形: 形状 221"/>
            <p:cNvSpPr/>
            <p:nvPr userDrawn="1"/>
          </p:nvSpPr>
          <p:spPr bwMode="auto">
            <a:xfrm>
              <a:off x="8634283" y="3303587"/>
              <a:ext cx="122238" cy="830263"/>
            </a:xfrm>
            <a:custGeom>
              <a:avLst/>
              <a:gdLst>
                <a:gd name="T0" fmla="*/ 0 w 77"/>
                <a:gd name="T1" fmla="*/ 0 h 523"/>
                <a:gd name="T2" fmla="*/ 77 w 77"/>
                <a:gd name="T3" fmla="*/ 45 h 523"/>
                <a:gd name="T4" fmla="*/ 77 w 77"/>
                <a:gd name="T5" fmla="*/ 523 h 523"/>
                <a:gd name="T6" fmla="*/ 0 w 77"/>
                <a:gd name="T7" fmla="*/ 477 h 523"/>
                <a:gd name="T8" fmla="*/ 0 w 77"/>
                <a:gd name="T9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23">
                  <a:moveTo>
                    <a:pt x="0" y="0"/>
                  </a:moveTo>
                  <a:lnTo>
                    <a:pt x="77" y="45"/>
                  </a:lnTo>
                  <a:lnTo>
                    <a:pt x="77" y="523"/>
                  </a:lnTo>
                  <a:lnTo>
                    <a:pt x="0" y="4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3" name="任意多边形: 形状 222"/>
            <p:cNvSpPr/>
            <p:nvPr userDrawn="1"/>
          </p:nvSpPr>
          <p:spPr bwMode="auto">
            <a:xfrm>
              <a:off x="8756521" y="3101975"/>
              <a:ext cx="485775" cy="1031875"/>
            </a:xfrm>
            <a:custGeom>
              <a:avLst/>
              <a:gdLst>
                <a:gd name="T0" fmla="*/ 138 w 147"/>
                <a:gd name="T1" fmla="*/ 233 h 313"/>
                <a:gd name="T2" fmla="*/ 0 w 147"/>
                <a:gd name="T3" fmla="*/ 313 h 313"/>
                <a:gd name="T4" fmla="*/ 0 w 147"/>
                <a:gd name="T5" fmla="*/ 83 h 313"/>
                <a:gd name="T6" fmla="*/ 138 w 147"/>
                <a:gd name="T7" fmla="*/ 3 h 313"/>
                <a:gd name="T8" fmla="*/ 147 w 147"/>
                <a:gd name="T9" fmla="*/ 10 h 313"/>
                <a:gd name="T10" fmla="*/ 147 w 147"/>
                <a:gd name="T11" fmla="*/ 216 h 313"/>
                <a:gd name="T12" fmla="*/ 138 w 147"/>
                <a:gd name="T13" fmla="*/ 233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13">
                  <a:moveTo>
                    <a:pt x="138" y="233"/>
                  </a:moveTo>
                  <a:cubicBezTo>
                    <a:pt x="0" y="313"/>
                    <a:pt x="0" y="313"/>
                    <a:pt x="0" y="31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43" y="0"/>
                    <a:pt x="147" y="3"/>
                    <a:pt x="147" y="10"/>
                  </a:cubicBezTo>
                  <a:cubicBezTo>
                    <a:pt x="147" y="216"/>
                    <a:pt x="147" y="216"/>
                    <a:pt x="147" y="216"/>
                  </a:cubicBezTo>
                  <a:cubicBezTo>
                    <a:pt x="147" y="223"/>
                    <a:pt x="143" y="230"/>
                    <a:pt x="138" y="233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4" name="任意多边形: 形状 223"/>
            <p:cNvSpPr/>
            <p:nvPr userDrawn="1"/>
          </p:nvSpPr>
          <p:spPr bwMode="auto">
            <a:xfrm>
              <a:off x="8847008" y="2897187"/>
              <a:ext cx="600075" cy="1285875"/>
            </a:xfrm>
            <a:custGeom>
              <a:avLst/>
              <a:gdLst>
                <a:gd name="T0" fmla="*/ 171 w 182"/>
                <a:gd name="T1" fmla="*/ 291 h 390"/>
                <a:gd name="T2" fmla="*/ 0 w 182"/>
                <a:gd name="T3" fmla="*/ 390 h 390"/>
                <a:gd name="T4" fmla="*/ 0 w 182"/>
                <a:gd name="T5" fmla="*/ 103 h 390"/>
                <a:gd name="T6" fmla="*/ 171 w 182"/>
                <a:gd name="T7" fmla="*/ 4 h 390"/>
                <a:gd name="T8" fmla="*/ 182 w 182"/>
                <a:gd name="T9" fmla="*/ 12 h 390"/>
                <a:gd name="T10" fmla="*/ 182 w 182"/>
                <a:gd name="T11" fmla="*/ 269 h 390"/>
                <a:gd name="T12" fmla="*/ 171 w 182"/>
                <a:gd name="T13" fmla="*/ 29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390">
                  <a:moveTo>
                    <a:pt x="171" y="291"/>
                  </a:moveTo>
                  <a:cubicBezTo>
                    <a:pt x="0" y="390"/>
                    <a:pt x="0" y="390"/>
                    <a:pt x="0" y="39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177" y="0"/>
                    <a:pt x="182" y="4"/>
                    <a:pt x="182" y="12"/>
                  </a:cubicBezTo>
                  <a:cubicBezTo>
                    <a:pt x="182" y="269"/>
                    <a:pt x="182" y="269"/>
                    <a:pt x="182" y="269"/>
                  </a:cubicBezTo>
                  <a:cubicBezTo>
                    <a:pt x="182" y="278"/>
                    <a:pt x="177" y="287"/>
                    <a:pt x="171" y="291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5" name="任意多边形: 形状 224"/>
            <p:cNvSpPr/>
            <p:nvPr userDrawn="1"/>
          </p:nvSpPr>
          <p:spPr bwMode="auto">
            <a:xfrm>
              <a:off x="8872408" y="2973387"/>
              <a:ext cx="690563" cy="398463"/>
            </a:xfrm>
            <a:custGeom>
              <a:avLst/>
              <a:gdLst>
                <a:gd name="T0" fmla="*/ 98 w 435"/>
                <a:gd name="T1" fmla="*/ 251 h 251"/>
                <a:gd name="T2" fmla="*/ 0 w 435"/>
                <a:gd name="T3" fmla="*/ 195 h 251"/>
                <a:gd name="T4" fmla="*/ 339 w 435"/>
                <a:gd name="T5" fmla="*/ 0 h 251"/>
                <a:gd name="T6" fmla="*/ 435 w 435"/>
                <a:gd name="T7" fmla="*/ 56 h 251"/>
                <a:gd name="T8" fmla="*/ 98 w 435"/>
                <a:gd name="T9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251">
                  <a:moveTo>
                    <a:pt x="98" y="251"/>
                  </a:moveTo>
                  <a:lnTo>
                    <a:pt x="0" y="195"/>
                  </a:lnTo>
                  <a:lnTo>
                    <a:pt x="339" y="0"/>
                  </a:lnTo>
                  <a:lnTo>
                    <a:pt x="435" y="56"/>
                  </a:lnTo>
                  <a:lnTo>
                    <a:pt x="98" y="251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6" name="任意多边形: 形状 225"/>
            <p:cNvSpPr/>
            <p:nvPr userDrawn="1"/>
          </p:nvSpPr>
          <p:spPr bwMode="auto">
            <a:xfrm>
              <a:off x="8842246" y="3240087"/>
              <a:ext cx="152400" cy="1035050"/>
            </a:xfrm>
            <a:custGeom>
              <a:avLst/>
              <a:gdLst>
                <a:gd name="T0" fmla="*/ 0 w 96"/>
                <a:gd name="T1" fmla="*/ 0 h 652"/>
                <a:gd name="T2" fmla="*/ 96 w 96"/>
                <a:gd name="T3" fmla="*/ 56 h 652"/>
                <a:gd name="T4" fmla="*/ 96 w 96"/>
                <a:gd name="T5" fmla="*/ 652 h 652"/>
                <a:gd name="T6" fmla="*/ 0 w 96"/>
                <a:gd name="T7" fmla="*/ 596 h 652"/>
                <a:gd name="T8" fmla="*/ 0 w 96"/>
                <a:gd name="T9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52">
                  <a:moveTo>
                    <a:pt x="0" y="0"/>
                  </a:moveTo>
                  <a:lnTo>
                    <a:pt x="96" y="56"/>
                  </a:lnTo>
                  <a:lnTo>
                    <a:pt x="96" y="652"/>
                  </a:lnTo>
                  <a:lnTo>
                    <a:pt x="0" y="5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7" name="任意多边形: 形状 226"/>
            <p:cNvSpPr/>
            <p:nvPr userDrawn="1"/>
          </p:nvSpPr>
          <p:spPr bwMode="auto">
            <a:xfrm>
              <a:off x="8994646" y="2989262"/>
              <a:ext cx="600075" cy="1285875"/>
            </a:xfrm>
            <a:custGeom>
              <a:avLst/>
              <a:gdLst>
                <a:gd name="T0" fmla="*/ 171 w 182"/>
                <a:gd name="T1" fmla="*/ 291 h 390"/>
                <a:gd name="T2" fmla="*/ 0 w 182"/>
                <a:gd name="T3" fmla="*/ 390 h 390"/>
                <a:gd name="T4" fmla="*/ 0 w 182"/>
                <a:gd name="T5" fmla="*/ 103 h 390"/>
                <a:gd name="T6" fmla="*/ 171 w 182"/>
                <a:gd name="T7" fmla="*/ 4 h 390"/>
                <a:gd name="T8" fmla="*/ 182 w 182"/>
                <a:gd name="T9" fmla="*/ 12 h 390"/>
                <a:gd name="T10" fmla="*/ 182 w 182"/>
                <a:gd name="T11" fmla="*/ 269 h 390"/>
                <a:gd name="T12" fmla="*/ 171 w 182"/>
                <a:gd name="T13" fmla="*/ 29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390">
                  <a:moveTo>
                    <a:pt x="171" y="291"/>
                  </a:moveTo>
                  <a:cubicBezTo>
                    <a:pt x="0" y="390"/>
                    <a:pt x="0" y="390"/>
                    <a:pt x="0" y="39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177" y="0"/>
                    <a:pt x="182" y="4"/>
                    <a:pt x="182" y="12"/>
                  </a:cubicBezTo>
                  <a:cubicBezTo>
                    <a:pt x="182" y="269"/>
                    <a:pt x="182" y="269"/>
                    <a:pt x="182" y="269"/>
                  </a:cubicBezTo>
                  <a:cubicBezTo>
                    <a:pt x="182" y="278"/>
                    <a:pt x="177" y="287"/>
                    <a:pt x="171" y="2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8" name="任意多边形: 形状 227"/>
            <p:cNvSpPr/>
            <p:nvPr userDrawn="1"/>
          </p:nvSpPr>
          <p:spPr bwMode="auto">
            <a:xfrm>
              <a:off x="9083546" y="3181350"/>
              <a:ext cx="538163" cy="1143000"/>
            </a:xfrm>
            <a:custGeom>
              <a:avLst/>
              <a:gdLst>
                <a:gd name="T0" fmla="*/ 153 w 163"/>
                <a:gd name="T1" fmla="*/ 258 h 347"/>
                <a:gd name="T2" fmla="*/ 0 w 163"/>
                <a:gd name="T3" fmla="*/ 347 h 347"/>
                <a:gd name="T4" fmla="*/ 0 w 163"/>
                <a:gd name="T5" fmla="*/ 91 h 347"/>
                <a:gd name="T6" fmla="*/ 153 w 163"/>
                <a:gd name="T7" fmla="*/ 3 h 347"/>
                <a:gd name="T8" fmla="*/ 163 w 163"/>
                <a:gd name="T9" fmla="*/ 11 h 347"/>
                <a:gd name="T10" fmla="*/ 163 w 163"/>
                <a:gd name="T11" fmla="*/ 240 h 347"/>
                <a:gd name="T12" fmla="*/ 153 w 163"/>
                <a:gd name="T13" fmla="*/ 25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347">
                  <a:moveTo>
                    <a:pt x="153" y="258"/>
                  </a:moveTo>
                  <a:cubicBezTo>
                    <a:pt x="0" y="347"/>
                    <a:pt x="0" y="347"/>
                    <a:pt x="0" y="347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8" y="0"/>
                    <a:pt x="163" y="3"/>
                    <a:pt x="163" y="11"/>
                  </a:cubicBezTo>
                  <a:cubicBezTo>
                    <a:pt x="163" y="240"/>
                    <a:pt x="163" y="240"/>
                    <a:pt x="163" y="240"/>
                  </a:cubicBezTo>
                  <a:cubicBezTo>
                    <a:pt x="163" y="247"/>
                    <a:pt x="158" y="255"/>
                    <a:pt x="153" y="258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9" name="任意多边形: 形状 228"/>
            <p:cNvSpPr/>
            <p:nvPr userDrawn="1"/>
          </p:nvSpPr>
          <p:spPr bwMode="auto">
            <a:xfrm>
              <a:off x="9107358" y="3246437"/>
              <a:ext cx="617538" cy="357188"/>
            </a:xfrm>
            <a:custGeom>
              <a:avLst/>
              <a:gdLst>
                <a:gd name="T0" fmla="*/ 87 w 389"/>
                <a:gd name="T1" fmla="*/ 225 h 225"/>
                <a:gd name="T2" fmla="*/ 0 w 389"/>
                <a:gd name="T3" fmla="*/ 175 h 225"/>
                <a:gd name="T4" fmla="*/ 301 w 389"/>
                <a:gd name="T5" fmla="*/ 0 h 225"/>
                <a:gd name="T6" fmla="*/ 389 w 389"/>
                <a:gd name="T7" fmla="*/ 50 h 225"/>
                <a:gd name="T8" fmla="*/ 87 w 389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9" h="225">
                  <a:moveTo>
                    <a:pt x="87" y="225"/>
                  </a:moveTo>
                  <a:lnTo>
                    <a:pt x="0" y="175"/>
                  </a:lnTo>
                  <a:lnTo>
                    <a:pt x="301" y="0"/>
                  </a:lnTo>
                  <a:lnTo>
                    <a:pt x="389" y="50"/>
                  </a:lnTo>
                  <a:lnTo>
                    <a:pt x="87" y="225"/>
                  </a:ln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0" name="任意多边形: 形状 229"/>
            <p:cNvSpPr/>
            <p:nvPr userDrawn="1"/>
          </p:nvSpPr>
          <p:spPr bwMode="auto">
            <a:xfrm>
              <a:off x="9080371" y="3487737"/>
              <a:ext cx="134938" cy="915988"/>
            </a:xfrm>
            <a:custGeom>
              <a:avLst/>
              <a:gdLst>
                <a:gd name="T0" fmla="*/ 0 w 85"/>
                <a:gd name="T1" fmla="*/ 0 h 577"/>
                <a:gd name="T2" fmla="*/ 85 w 85"/>
                <a:gd name="T3" fmla="*/ 48 h 577"/>
                <a:gd name="T4" fmla="*/ 85 w 85"/>
                <a:gd name="T5" fmla="*/ 577 h 577"/>
                <a:gd name="T6" fmla="*/ 0 w 85"/>
                <a:gd name="T7" fmla="*/ 529 h 577"/>
                <a:gd name="T8" fmla="*/ 0 w 85"/>
                <a:gd name="T9" fmla="*/ 0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77">
                  <a:moveTo>
                    <a:pt x="0" y="0"/>
                  </a:moveTo>
                  <a:lnTo>
                    <a:pt x="85" y="48"/>
                  </a:lnTo>
                  <a:lnTo>
                    <a:pt x="85" y="577"/>
                  </a:lnTo>
                  <a:lnTo>
                    <a:pt x="0" y="5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1" name="任意多边形: 形状 230"/>
            <p:cNvSpPr/>
            <p:nvPr userDrawn="1"/>
          </p:nvSpPr>
          <p:spPr bwMode="auto">
            <a:xfrm>
              <a:off x="9215308" y="3263900"/>
              <a:ext cx="538163" cy="1139825"/>
            </a:xfrm>
            <a:custGeom>
              <a:avLst/>
              <a:gdLst>
                <a:gd name="T0" fmla="*/ 153 w 163"/>
                <a:gd name="T1" fmla="*/ 258 h 346"/>
                <a:gd name="T2" fmla="*/ 0 w 163"/>
                <a:gd name="T3" fmla="*/ 346 h 346"/>
                <a:gd name="T4" fmla="*/ 0 w 163"/>
                <a:gd name="T5" fmla="*/ 91 h 346"/>
                <a:gd name="T6" fmla="*/ 153 w 163"/>
                <a:gd name="T7" fmla="*/ 3 h 346"/>
                <a:gd name="T8" fmla="*/ 163 w 163"/>
                <a:gd name="T9" fmla="*/ 11 h 346"/>
                <a:gd name="T10" fmla="*/ 163 w 163"/>
                <a:gd name="T11" fmla="*/ 239 h 346"/>
                <a:gd name="T12" fmla="*/ 153 w 163"/>
                <a:gd name="T13" fmla="*/ 25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346">
                  <a:moveTo>
                    <a:pt x="153" y="258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8" y="0"/>
                    <a:pt x="163" y="3"/>
                    <a:pt x="163" y="11"/>
                  </a:cubicBezTo>
                  <a:cubicBezTo>
                    <a:pt x="163" y="239"/>
                    <a:pt x="163" y="239"/>
                    <a:pt x="163" y="239"/>
                  </a:cubicBezTo>
                  <a:cubicBezTo>
                    <a:pt x="163" y="247"/>
                    <a:pt x="158" y="255"/>
                    <a:pt x="153" y="258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8" name="任意多边形: 形状 237"/>
            <p:cNvSpPr/>
            <p:nvPr userDrawn="1"/>
          </p:nvSpPr>
          <p:spPr bwMode="auto">
            <a:xfrm>
              <a:off x="7734171" y="3827462"/>
              <a:ext cx="3175" cy="3175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9A9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8" name="任意多边形: 形状 247"/>
            <p:cNvSpPr/>
            <p:nvPr userDrawn="1"/>
          </p:nvSpPr>
          <p:spPr bwMode="auto">
            <a:xfrm>
              <a:off x="8348533" y="5670550"/>
              <a:ext cx="138113" cy="214313"/>
            </a:xfrm>
            <a:custGeom>
              <a:avLst/>
              <a:gdLst>
                <a:gd name="T0" fmla="*/ 31 w 42"/>
                <a:gd name="T1" fmla="*/ 0 h 65"/>
                <a:gd name="T2" fmla="*/ 27 w 42"/>
                <a:gd name="T3" fmla="*/ 2 h 65"/>
                <a:gd name="T4" fmla="*/ 24 w 42"/>
                <a:gd name="T5" fmla="*/ 4 h 65"/>
                <a:gd name="T6" fmla="*/ 21 w 42"/>
                <a:gd name="T7" fmla="*/ 16 h 65"/>
                <a:gd name="T8" fmla="*/ 21 w 42"/>
                <a:gd name="T9" fmla="*/ 16 h 65"/>
                <a:gd name="T10" fmla="*/ 4 w 42"/>
                <a:gd name="T11" fmla="*/ 44 h 65"/>
                <a:gd name="T12" fmla="*/ 4 w 42"/>
                <a:gd name="T13" fmla="*/ 44 h 65"/>
                <a:gd name="T14" fmla="*/ 4 w 42"/>
                <a:gd name="T15" fmla="*/ 45 h 65"/>
                <a:gd name="T16" fmla="*/ 4 w 42"/>
                <a:gd name="T17" fmla="*/ 44 h 65"/>
                <a:gd name="T18" fmla="*/ 1 w 42"/>
                <a:gd name="T19" fmla="*/ 52 h 65"/>
                <a:gd name="T20" fmla="*/ 3 w 42"/>
                <a:gd name="T21" fmla="*/ 62 h 65"/>
                <a:gd name="T22" fmla="*/ 18 w 42"/>
                <a:gd name="T23" fmla="*/ 58 h 65"/>
                <a:gd name="T24" fmla="*/ 34 w 42"/>
                <a:gd name="T25" fmla="*/ 43 h 65"/>
                <a:gd name="T26" fmla="*/ 37 w 42"/>
                <a:gd name="T27" fmla="*/ 40 h 65"/>
                <a:gd name="T28" fmla="*/ 38 w 42"/>
                <a:gd name="T29" fmla="*/ 15 h 65"/>
                <a:gd name="T30" fmla="*/ 35 w 42"/>
                <a:gd name="T31" fmla="*/ 4 h 65"/>
                <a:gd name="T32" fmla="*/ 31 w 42"/>
                <a:gd name="T3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65">
                  <a:moveTo>
                    <a:pt x="31" y="0"/>
                  </a:moveTo>
                  <a:cubicBezTo>
                    <a:pt x="29" y="0"/>
                    <a:pt x="28" y="1"/>
                    <a:pt x="27" y="2"/>
                  </a:cubicBezTo>
                  <a:cubicBezTo>
                    <a:pt x="26" y="1"/>
                    <a:pt x="24" y="2"/>
                    <a:pt x="24" y="4"/>
                  </a:cubicBezTo>
                  <a:cubicBezTo>
                    <a:pt x="23" y="8"/>
                    <a:pt x="23" y="9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15" y="31"/>
                    <a:pt x="11" y="28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3" y="48"/>
                    <a:pt x="1" y="53"/>
                    <a:pt x="1" y="52"/>
                  </a:cubicBezTo>
                  <a:cubicBezTo>
                    <a:pt x="0" y="58"/>
                    <a:pt x="0" y="61"/>
                    <a:pt x="3" y="62"/>
                  </a:cubicBezTo>
                  <a:cubicBezTo>
                    <a:pt x="6" y="65"/>
                    <a:pt x="14" y="61"/>
                    <a:pt x="18" y="58"/>
                  </a:cubicBezTo>
                  <a:cubicBezTo>
                    <a:pt x="32" y="47"/>
                    <a:pt x="35" y="43"/>
                    <a:pt x="34" y="43"/>
                  </a:cubicBezTo>
                  <a:cubicBezTo>
                    <a:pt x="36" y="42"/>
                    <a:pt x="36" y="41"/>
                    <a:pt x="37" y="40"/>
                  </a:cubicBezTo>
                  <a:cubicBezTo>
                    <a:pt x="42" y="27"/>
                    <a:pt x="41" y="24"/>
                    <a:pt x="38" y="15"/>
                  </a:cubicBezTo>
                  <a:cubicBezTo>
                    <a:pt x="36" y="6"/>
                    <a:pt x="37" y="6"/>
                    <a:pt x="35" y="4"/>
                  </a:cubicBezTo>
                  <a:cubicBezTo>
                    <a:pt x="35" y="2"/>
                    <a:pt x="33" y="0"/>
                    <a:pt x="31" y="0"/>
                  </a:cubicBezTo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9" name="任意多边形: 形状 248"/>
            <p:cNvSpPr/>
            <p:nvPr userDrawn="1"/>
          </p:nvSpPr>
          <p:spPr bwMode="auto">
            <a:xfrm>
              <a:off x="8254871" y="5588000"/>
              <a:ext cx="161925" cy="230188"/>
            </a:xfrm>
            <a:custGeom>
              <a:avLst/>
              <a:gdLst>
                <a:gd name="T0" fmla="*/ 34 w 49"/>
                <a:gd name="T1" fmla="*/ 0 h 70"/>
                <a:gd name="T2" fmla="*/ 25 w 49"/>
                <a:gd name="T3" fmla="*/ 6 h 70"/>
                <a:gd name="T4" fmla="*/ 24 w 49"/>
                <a:gd name="T5" fmla="*/ 7 h 70"/>
                <a:gd name="T6" fmla="*/ 24 w 49"/>
                <a:gd name="T7" fmla="*/ 9 h 70"/>
                <a:gd name="T8" fmla="*/ 23 w 49"/>
                <a:gd name="T9" fmla="*/ 19 h 70"/>
                <a:gd name="T10" fmla="*/ 6 w 49"/>
                <a:gd name="T11" fmla="*/ 48 h 70"/>
                <a:gd name="T12" fmla="*/ 6 w 49"/>
                <a:gd name="T13" fmla="*/ 48 h 70"/>
                <a:gd name="T14" fmla="*/ 32 w 49"/>
                <a:gd name="T15" fmla="*/ 47 h 70"/>
                <a:gd name="T16" fmla="*/ 31 w 49"/>
                <a:gd name="T17" fmla="*/ 47 h 70"/>
                <a:gd name="T18" fmla="*/ 37 w 49"/>
                <a:gd name="T19" fmla="*/ 42 h 70"/>
                <a:gd name="T20" fmla="*/ 44 w 49"/>
                <a:gd name="T21" fmla="*/ 20 h 70"/>
                <a:gd name="T22" fmla="*/ 37 w 49"/>
                <a:gd name="T23" fmla="*/ 0 h 70"/>
                <a:gd name="T24" fmla="*/ 34 w 49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70">
                  <a:moveTo>
                    <a:pt x="34" y="0"/>
                  </a:moveTo>
                  <a:cubicBezTo>
                    <a:pt x="32" y="0"/>
                    <a:pt x="26" y="2"/>
                    <a:pt x="25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9"/>
                  </a:cubicBezTo>
                  <a:cubicBezTo>
                    <a:pt x="23" y="12"/>
                    <a:pt x="23" y="15"/>
                    <a:pt x="23" y="19"/>
                  </a:cubicBezTo>
                  <a:cubicBezTo>
                    <a:pt x="21" y="29"/>
                    <a:pt x="10" y="3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0" y="61"/>
                    <a:pt x="4" y="70"/>
                    <a:pt x="32" y="47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3" y="46"/>
                    <a:pt x="34" y="45"/>
                    <a:pt x="37" y="42"/>
                  </a:cubicBezTo>
                  <a:cubicBezTo>
                    <a:pt x="45" y="34"/>
                    <a:pt x="49" y="31"/>
                    <a:pt x="44" y="20"/>
                  </a:cubicBezTo>
                  <a:cubicBezTo>
                    <a:pt x="39" y="9"/>
                    <a:pt x="42" y="3"/>
                    <a:pt x="37" y="0"/>
                  </a:cubicBezTo>
                  <a:cubicBezTo>
                    <a:pt x="36" y="0"/>
                    <a:pt x="35" y="0"/>
                    <a:pt x="34" y="0"/>
                  </a:cubicBezTo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0" name="任意多边形: 形状 249"/>
            <p:cNvSpPr/>
            <p:nvPr userDrawn="1"/>
          </p:nvSpPr>
          <p:spPr bwMode="auto">
            <a:xfrm>
              <a:off x="8394571" y="5148262"/>
              <a:ext cx="404813" cy="596900"/>
            </a:xfrm>
            <a:custGeom>
              <a:avLst/>
              <a:gdLst>
                <a:gd name="T0" fmla="*/ 95 w 123"/>
                <a:gd name="T1" fmla="*/ 0 h 181"/>
                <a:gd name="T2" fmla="*/ 85 w 123"/>
                <a:gd name="T3" fmla="*/ 5 h 181"/>
                <a:gd name="T4" fmla="*/ 83 w 123"/>
                <a:gd name="T5" fmla="*/ 11 h 181"/>
                <a:gd name="T6" fmla="*/ 39 w 123"/>
                <a:gd name="T7" fmla="*/ 51 h 181"/>
                <a:gd name="T8" fmla="*/ 8 w 123"/>
                <a:gd name="T9" fmla="*/ 139 h 181"/>
                <a:gd name="T10" fmla="*/ 0 w 123"/>
                <a:gd name="T11" fmla="*/ 169 h 181"/>
                <a:gd name="T12" fmla="*/ 6 w 123"/>
                <a:gd name="T13" fmla="*/ 179 h 181"/>
                <a:gd name="T14" fmla="*/ 20 w 123"/>
                <a:gd name="T15" fmla="*/ 180 h 181"/>
                <a:gd name="T16" fmla="*/ 26 w 123"/>
                <a:gd name="T17" fmla="*/ 178 h 181"/>
                <a:gd name="T18" fmla="*/ 33 w 123"/>
                <a:gd name="T19" fmla="*/ 150 h 181"/>
                <a:gd name="T20" fmla="*/ 57 w 123"/>
                <a:gd name="T21" fmla="*/ 95 h 181"/>
                <a:gd name="T22" fmla="*/ 72 w 123"/>
                <a:gd name="T23" fmla="*/ 69 h 181"/>
                <a:gd name="T24" fmla="*/ 79 w 123"/>
                <a:gd name="T25" fmla="*/ 64 h 181"/>
                <a:gd name="T26" fmla="*/ 108 w 123"/>
                <a:gd name="T27" fmla="*/ 47 h 181"/>
                <a:gd name="T28" fmla="*/ 121 w 123"/>
                <a:gd name="T29" fmla="*/ 25 h 181"/>
                <a:gd name="T30" fmla="*/ 114 w 123"/>
                <a:gd name="T31" fmla="*/ 14 h 181"/>
                <a:gd name="T32" fmla="*/ 107 w 123"/>
                <a:gd name="T33" fmla="*/ 7 h 181"/>
                <a:gd name="T34" fmla="*/ 98 w 123"/>
                <a:gd name="T35" fmla="*/ 0 h 181"/>
                <a:gd name="T36" fmla="*/ 95 w 123"/>
                <a:gd name="T37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81">
                  <a:moveTo>
                    <a:pt x="95" y="0"/>
                  </a:moveTo>
                  <a:cubicBezTo>
                    <a:pt x="90" y="0"/>
                    <a:pt x="88" y="2"/>
                    <a:pt x="85" y="5"/>
                  </a:cubicBezTo>
                  <a:cubicBezTo>
                    <a:pt x="83" y="6"/>
                    <a:pt x="81" y="8"/>
                    <a:pt x="83" y="11"/>
                  </a:cubicBezTo>
                  <a:cubicBezTo>
                    <a:pt x="61" y="27"/>
                    <a:pt x="42" y="47"/>
                    <a:pt x="39" y="51"/>
                  </a:cubicBezTo>
                  <a:cubicBezTo>
                    <a:pt x="31" y="62"/>
                    <a:pt x="17" y="100"/>
                    <a:pt x="8" y="139"/>
                  </a:cubicBezTo>
                  <a:cubicBezTo>
                    <a:pt x="3" y="159"/>
                    <a:pt x="1" y="163"/>
                    <a:pt x="0" y="169"/>
                  </a:cubicBezTo>
                  <a:cubicBezTo>
                    <a:pt x="0" y="173"/>
                    <a:pt x="2" y="177"/>
                    <a:pt x="6" y="179"/>
                  </a:cubicBezTo>
                  <a:cubicBezTo>
                    <a:pt x="10" y="180"/>
                    <a:pt x="12" y="180"/>
                    <a:pt x="20" y="180"/>
                  </a:cubicBezTo>
                  <a:cubicBezTo>
                    <a:pt x="23" y="180"/>
                    <a:pt x="24" y="181"/>
                    <a:pt x="26" y="178"/>
                  </a:cubicBezTo>
                  <a:cubicBezTo>
                    <a:pt x="30" y="173"/>
                    <a:pt x="31" y="157"/>
                    <a:pt x="33" y="150"/>
                  </a:cubicBezTo>
                  <a:cubicBezTo>
                    <a:pt x="38" y="135"/>
                    <a:pt x="53" y="111"/>
                    <a:pt x="57" y="95"/>
                  </a:cubicBezTo>
                  <a:cubicBezTo>
                    <a:pt x="61" y="78"/>
                    <a:pt x="57" y="77"/>
                    <a:pt x="72" y="69"/>
                  </a:cubicBezTo>
                  <a:cubicBezTo>
                    <a:pt x="76" y="66"/>
                    <a:pt x="77" y="66"/>
                    <a:pt x="79" y="64"/>
                  </a:cubicBezTo>
                  <a:cubicBezTo>
                    <a:pt x="85" y="59"/>
                    <a:pt x="103" y="51"/>
                    <a:pt x="108" y="47"/>
                  </a:cubicBezTo>
                  <a:cubicBezTo>
                    <a:pt x="115" y="42"/>
                    <a:pt x="123" y="37"/>
                    <a:pt x="121" y="25"/>
                  </a:cubicBezTo>
                  <a:cubicBezTo>
                    <a:pt x="119" y="18"/>
                    <a:pt x="117" y="17"/>
                    <a:pt x="114" y="14"/>
                  </a:cubicBezTo>
                  <a:cubicBezTo>
                    <a:pt x="110" y="10"/>
                    <a:pt x="109" y="10"/>
                    <a:pt x="107" y="7"/>
                  </a:cubicBezTo>
                  <a:cubicBezTo>
                    <a:pt x="105" y="3"/>
                    <a:pt x="103" y="1"/>
                    <a:pt x="98" y="0"/>
                  </a:cubicBezTo>
                  <a:cubicBezTo>
                    <a:pt x="97" y="0"/>
                    <a:pt x="96" y="0"/>
                    <a:pt x="95" y="0"/>
                  </a:cubicBezTo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1" name="任意多边形: 形状 250"/>
            <p:cNvSpPr/>
            <p:nvPr userDrawn="1"/>
          </p:nvSpPr>
          <p:spPr bwMode="auto">
            <a:xfrm>
              <a:off x="8294558" y="5105400"/>
              <a:ext cx="350838" cy="541338"/>
            </a:xfrm>
            <a:custGeom>
              <a:avLst/>
              <a:gdLst>
                <a:gd name="T0" fmla="*/ 86 w 106"/>
                <a:gd name="T1" fmla="*/ 0 h 164"/>
                <a:gd name="T2" fmla="*/ 64 w 106"/>
                <a:gd name="T3" fmla="*/ 10 h 164"/>
                <a:gd name="T4" fmla="*/ 42 w 106"/>
                <a:gd name="T5" fmla="*/ 25 h 164"/>
                <a:gd name="T6" fmla="*/ 8 w 106"/>
                <a:gd name="T7" fmla="*/ 53 h 164"/>
                <a:gd name="T8" fmla="*/ 1 w 106"/>
                <a:gd name="T9" fmla="*/ 76 h 164"/>
                <a:gd name="T10" fmla="*/ 5 w 106"/>
                <a:gd name="T11" fmla="*/ 145 h 164"/>
                <a:gd name="T12" fmla="*/ 11 w 106"/>
                <a:gd name="T13" fmla="*/ 162 h 164"/>
                <a:gd name="T14" fmla="*/ 15 w 106"/>
                <a:gd name="T15" fmla="*/ 163 h 164"/>
                <a:gd name="T16" fmla="*/ 27 w 106"/>
                <a:gd name="T17" fmla="*/ 161 h 164"/>
                <a:gd name="T18" fmla="*/ 34 w 106"/>
                <a:gd name="T19" fmla="*/ 134 h 164"/>
                <a:gd name="T20" fmla="*/ 37 w 106"/>
                <a:gd name="T21" fmla="*/ 88 h 164"/>
                <a:gd name="T22" fmla="*/ 35 w 106"/>
                <a:gd name="T23" fmla="*/ 70 h 164"/>
                <a:gd name="T24" fmla="*/ 38 w 106"/>
                <a:gd name="T25" fmla="*/ 66 h 164"/>
                <a:gd name="T26" fmla="*/ 55 w 106"/>
                <a:gd name="T27" fmla="*/ 56 h 164"/>
                <a:gd name="T28" fmla="*/ 65 w 106"/>
                <a:gd name="T29" fmla="*/ 49 h 164"/>
                <a:gd name="T30" fmla="*/ 65 w 106"/>
                <a:gd name="T31" fmla="*/ 49 h 164"/>
                <a:gd name="T32" fmla="*/ 65 w 106"/>
                <a:gd name="T33" fmla="*/ 49 h 164"/>
                <a:gd name="T34" fmla="*/ 65 w 106"/>
                <a:gd name="T35" fmla="*/ 49 h 164"/>
                <a:gd name="T36" fmla="*/ 65 w 106"/>
                <a:gd name="T37" fmla="*/ 49 h 164"/>
                <a:gd name="T38" fmla="*/ 65 w 106"/>
                <a:gd name="T39" fmla="*/ 49 h 164"/>
                <a:gd name="T40" fmla="*/ 74 w 106"/>
                <a:gd name="T41" fmla="*/ 43 h 164"/>
                <a:gd name="T42" fmla="*/ 106 w 106"/>
                <a:gd name="T43" fmla="*/ 19 h 164"/>
                <a:gd name="T44" fmla="*/ 103 w 106"/>
                <a:gd name="T45" fmla="*/ 12 h 164"/>
                <a:gd name="T46" fmla="*/ 96 w 106"/>
                <a:gd name="T47" fmla="*/ 5 h 164"/>
                <a:gd name="T48" fmla="*/ 86 w 106"/>
                <a:gd name="T4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" h="164">
                  <a:moveTo>
                    <a:pt x="86" y="0"/>
                  </a:moveTo>
                  <a:cubicBezTo>
                    <a:pt x="81" y="0"/>
                    <a:pt x="77" y="3"/>
                    <a:pt x="64" y="10"/>
                  </a:cubicBezTo>
                  <a:cubicBezTo>
                    <a:pt x="52" y="17"/>
                    <a:pt x="54" y="17"/>
                    <a:pt x="42" y="25"/>
                  </a:cubicBezTo>
                  <a:cubicBezTo>
                    <a:pt x="16" y="42"/>
                    <a:pt x="11" y="48"/>
                    <a:pt x="8" y="53"/>
                  </a:cubicBezTo>
                  <a:cubicBezTo>
                    <a:pt x="2" y="65"/>
                    <a:pt x="2" y="70"/>
                    <a:pt x="1" y="76"/>
                  </a:cubicBezTo>
                  <a:cubicBezTo>
                    <a:pt x="1" y="77"/>
                    <a:pt x="0" y="118"/>
                    <a:pt x="5" y="145"/>
                  </a:cubicBezTo>
                  <a:cubicBezTo>
                    <a:pt x="7" y="160"/>
                    <a:pt x="7" y="160"/>
                    <a:pt x="11" y="162"/>
                  </a:cubicBezTo>
                  <a:cubicBezTo>
                    <a:pt x="13" y="163"/>
                    <a:pt x="16" y="163"/>
                    <a:pt x="15" y="163"/>
                  </a:cubicBezTo>
                  <a:cubicBezTo>
                    <a:pt x="19" y="164"/>
                    <a:pt x="22" y="164"/>
                    <a:pt x="27" y="161"/>
                  </a:cubicBezTo>
                  <a:cubicBezTo>
                    <a:pt x="31" y="160"/>
                    <a:pt x="32" y="159"/>
                    <a:pt x="34" y="134"/>
                  </a:cubicBezTo>
                  <a:cubicBezTo>
                    <a:pt x="36" y="103"/>
                    <a:pt x="39" y="95"/>
                    <a:pt x="37" y="88"/>
                  </a:cubicBezTo>
                  <a:cubicBezTo>
                    <a:pt x="35" y="82"/>
                    <a:pt x="32" y="78"/>
                    <a:pt x="35" y="70"/>
                  </a:cubicBezTo>
                  <a:cubicBezTo>
                    <a:pt x="35" y="69"/>
                    <a:pt x="37" y="67"/>
                    <a:pt x="38" y="66"/>
                  </a:cubicBezTo>
                  <a:cubicBezTo>
                    <a:pt x="47" y="58"/>
                    <a:pt x="51" y="58"/>
                    <a:pt x="55" y="56"/>
                  </a:cubicBezTo>
                  <a:cubicBezTo>
                    <a:pt x="58" y="54"/>
                    <a:pt x="64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74" y="43"/>
                    <a:pt x="74" y="43"/>
                  </a:cubicBezTo>
                  <a:cubicBezTo>
                    <a:pt x="100" y="24"/>
                    <a:pt x="106" y="27"/>
                    <a:pt x="106" y="19"/>
                  </a:cubicBezTo>
                  <a:cubicBezTo>
                    <a:pt x="106" y="17"/>
                    <a:pt x="105" y="16"/>
                    <a:pt x="103" y="12"/>
                  </a:cubicBezTo>
                  <a:cubicBezTo>
                    <a:pt x="100" y="6"/>
                    <a:pt x="99" y="7"/>
                    <a:pt x="96" y="5"/>
                  </a:cubicBezTo>
                  <a:cubicBezTo>
                    <a:pt x="91" y="1"/>
                    <a:pt x="89" y="0"/>
                    <a:pt x="86" y="0"/>
                  </a:cubicBezTo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2" name="任意多边形: 形状 251"/>
            <p:cNvSpPr/>
            <p:nvPr userDrawn="1"/>
          </p:nvSpPr>
          <p:spPr bwMode="auto">
            <a:xfrm>
              <a:off x="8519983" y="4710112"/>
              <a:ext cx="425450" cy="593725"/>
            </a:xfrm>
            <a:custGeom>
              <a:avLst/>
              <a:gdLst>
                <a:gd name="T0" fmla="*/ 129 w 129"/>
                <a:gd name="T1" fmla="*/ 102 h 180"/>
                <a:gd name="T2" fmla="*/ 127 w 129"/>
                <a:gd name="T3" fmla="*/ 79 h 180"/>
                <a:gd name="T4" fmla="*/ 126 w 129"/>
                <a:gd name="T5" fmla="*/ 78 h 180"/>
                <a:gd name="T6" fmla="*/ 126 w 129"/>
                <a:gd name="T7" fmla="*/ 76 h 180"/>
                <a:gd name="T8" fmla="*/ 126 w 129"/>
                <a:gd name="T9" fmla="*/ 76 h 180"/>
                <a:gd name="T10" fmla="*/ 126 w 129"/>
                <a:gd name="T11" fmla="*/ 76 h 180"/>
                <a:gd name="T12" fmla="*/ 126 w 129"/>
                <a:gd name="T13" fmla="*/ 76 h 180"/>
                <a:gd name="T14" fmla="*/ 126 w 129"/>
                <a:gd name="T15" fmla="*/ 76 h 180"/>
                <a:gd name="T16" fmla="*/ 126 w 129"/>
                <a:gd name="T17" fmla="*/ 76 h 180"/>
                <a:gd name="T18" fmla="*/ 98 w 129"/>
                <a:gd name="T19" fmla="*/ 26 h 180"/>
                <a:gd name="T20" fmla="*/ 83 w 129"/>
                <a:gd name="T21" fmla="*/ 18 h 180"/>
                <a:gd name="T22" fmla="*/ 64 w 129"/>
                <a:gd name="T23" fmla="*/ 13 h 180"/>
                <a:gd name="T24" fmla="*/ 62 w 129"/>
                <a:gd name="T25" fmla="*/ 8 h 180"/>
                <a:gd name="T26" fmla="*/ 59 w 129"/>
                <a:gd name="T27" fmla="*/ 5 h 180"/>
                <a:gd name="T28" fmla="*/ 53 w 129"/>
                <a:gd name="T29" fmla="*/ 2 h 180"/>
                <a:gd name="T30" fmla="*/ 47 w 129"/>
                <a:gd name="T31" fmla="*/ 0 h 180"/>
                <a:gd name="T32" fmla="*/ 45 w 129"/>
                <a:gd name="T33" fmla="*/ 0 h 180"/>
                <a:gd name="T34" fmla="*/ 27 w 129"/>
                <a:gd name="T35" fmla="*/ 11 h 180"/>
                <a:gd name="T36" fmla="*/ 12 w 129"/>
                <a:gd name="T37" fmla="*/ 37 h 180"/>
                <a:gd name="T38" fmla="*/ 2 w 129"/>
                <a:gd name="T39" fmla="*/ 59 h 180"/>
                <a:gd name="T40" fmla="*/ 2 w 129"/>
                <a:gd name="T41" fmla="*/ 67 h 180"/>
                <a:gd name="T42" fmla="*/ 4 w 129"/>
                <a:gd name="T43" fmla="*/ 69 h 180"/>
                <a:gd name="T44" fmla="*/ 20 w 129"/>
                <a:gd name="T45" fmla="*/ 80 h 180"/>
                <a:gd name="T46" fmla="*/ 22 w 129"/>
                <a:gd name="T47" fmla="*/ 82 h 180"/>
                <a:gd name="T48" fmla="*/ 10 w 129"/>
                <a:gd name="T49" fmla="*/ 116 h 180"/>
                <a:gd name="T50" fmla="*/ 4 w 129"/>
                <a:gd name="T51" fmla="*/ 129 h 180"/>
                <a:gd name="T52" fmla="*/ 4 w 129"/>
                <a:gd name="T53" fmla="*/ 129 h 180"/>
                <a:gd name="T54" fmla="*/ 3 w 129"/>
                <a:gd name="T55" fmla="*/ 133 h 180"/>
                <a:gd name="T56" fmla="*/ 3 w 129"/>
                <a:gd name="T57" fmla="*/ 133 h 180"/>
                <a:gd name="T58" fmla="*/ 3 w 129"/>
                <a:gd name="T59" fmla="*/ 139 h 180"/>
                <a:gd name="T60" fmla="*/ 17 w 129"/>
                <a:gd name="T61" fmla="*/ 150 h 180"/>
                <a:gd name="T62" fmla="*/ 29 w 129"/>
                <a:gd name="T63" fmla="*/ 157 h 180"/>
                <a:gd name="T64" fmla="*/ 48 w 129"/>
                <a:gd name="T65" fmla="*/ 169 h 180"/>
                <a:gd name="T66" fmla="*/ 56 w 129"/>
                <a:gd name="T67" fmla="*/ 173 h 180"/>
                <a:gd name="T68" fmla="*/ 56 w 129"/>
                <a:gd name="T69" fmla="*/ 173 h 180"/>
                <a:gd name="T70" fmla="*/ 68 w 129"/>
                <a:gd name="T71" fmla="*/ 179 h 180"/>
                <a:gd name="T72" fmla="*/ 86 w 129"/>
                <a:gd name="T73" fmla="*/ 171 h 180"/>
                <a:gd name="T74" fmla="*/ 89 w 129"/>
                <a:gd name="T75" fmla="*/ 169 h 180"/>
                <a:gd name="T76" fmla="*/ 93 w 129"/>
                <a:gd name="T77" fmla="*/ 163 h 180"/>
                <a:gd name="T78" fmla="*/ 100 w 129"/>
                <a:gd name="T79" fmla="*/ 144 h 180"/>
                <a:gd name="T80" fmla="*/ 100 w 129"/>
                <a:gd name="T81" fmla="*/ 142 h 180"/>
                <a:gd name="T82" fmla="*/ 101 w 129"/>
                <a:gd name="T83" fmla="*/ 137 h 180"/>
                <a:gd name="T84" fmla="*/ 102 w 129"/>
                <a:gd name="T85" fmla="*/ 111 h 180"/>
                <a:gd name="T86" fmla="*/ 103 w 129"/>
                <a:gd name="T87" fmla="*/ 110 h 180"/>
                <a:gd name="T88" fmla="*/ 108 w 129"/>
                <a:gd name="T89" fmla="*/ 110 h 180"/>
                <a:gd name="T90" fmla="*/ 115 w 129"/>
                <a:gd name="T91" fmla="*/ 110 h 180"/>
                <a:gd name="T92" fmla="*/ 124 w 129"/>
                <a:gd name="T93" fmla="*/ 108 h 180"/>
                <a:gd name="T94" fmla="*/ 129 w 129"/>
                <a:gd name="T95" fmla="*/ 10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" h="180">
                  <a:moveTo>
                    <a:pt x="129" y="102"/>
                  </a:moveTo>
                  <a:cubicBezTo>
                    <a:pt x="129" y="98"/>
                    <a:pt x="127" y="79"/>
                    <a:pt x="127" y="79"/>
                  </a:cubicBezTo>
                  <a:cubicBezTo>
                    <a:pt x="127" y="79"/>
                    <a:pt x="126" y="78"/>
                    <a:pt x="126" y="78"/>
                  </a:cubicBezTo>
                  <a:cubicBezTo>
                    <a:pt x="126" y="77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4" y="37"/>
                    <a:pt x="116" y="41"/>
                    <a:pt x="98" y="26"/>
                  </a:cubicBezTo>
                  <a:cubicBezTo>
                    <a:pt x="92" y="22"/>
                    <a:pt x="88" y="21"/>
                    <a:pt x="83" y="18"/>
                  </a:cubicBezTo>
                  <a:cubicBezTo>
                    <a:pt x="74" y="12"/>
                    <a:pt x="67" y="25"/>
                    <a:pt x="64" y="13"/>
                  </a:cubicBezTo>
                  <a:cubicBezTo>
                    <a:pt x="65" y="11"/>
                    <a:pt x="64" y="9"/>
                    <a:pt x="62" y="8"/>
                  </a:cubicBezTo>
                  <a:cubicBezTo>
                    <a:pt x="61" y="7"/>
                    <a:pt x="60" y="6"/>
                    <a:pt x="59" y="5"/>
                  </a:cubicBezTo>
                  <a:cubicBezTo>
                    <a:pt x="56" y="4"/>
                    <a:pt x="56" y="4"/>
                    <a:pt x="53" y="2"/>
                  </a:cubicBezTo>
                  <a:cubicBezTo>
                    <a:pt x="51" y="1"/>
                    <a:pt x="49" y="1"/>
                    <a:pt x="47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38" y="0"/>
                    <a:pt x="31" y="5"/>
                    <a:pt x="27" y="11"/>
                  </a:cubicBezTo>
                  <a:cubicBezTo>
                    <a:pt x="20" y="19"/>
                    <a:pt x="20" y="23"/>
                    <a:pt x="12" y="37"/>
                  </a:cubicBezTo>
                  <a:cubicBezTo>
                    <a:pt x="4" y="51"/>
                    <a:pt x="5" y="51"/>
                    <a:pt x="2" y="59"/>
                  </a:cubicBezTo>
                  <a:cubicBezTo>
                    <a:pt x="0" y="63"/>
                    <a:pt x="1" y="65"/>
                    <a:pt x="2" y="67"/>
                  </a:cubicBezTo>
                  <a:cubicBezTo>
                    <a:pt x="2" y="67"/>
                    <a:pt x="3" y="68"/>
                    <a:pt x="4" y="69"/>
                  </a:cubicBezTo>
                  <a:cubicBezTo>
                    <a:pt x="10" y="76"/>
                    <a:pt x="16" y="79"/>
                    <a:pt x="20" y="80"/>
                  </a:cubicBezTo>
                  <a:cubicBezTo>
                    <a:pt x="21" y="81"/>
                    <a:pt x="22" y="81"/>
                    <a:pt x="22" y="82"/>
                  </a:cubicBezTo>
                  <a:cubicBezTo>
                    <a:pt x="23" y="85"/>
                    <a:pt x="12" y="109"/>
                    <a:pt x="10" y="116"/>
                  </a:cubicBezTo>
                  <a:cubicBezTo>
                    <a:pt x="8" y="120"/>
                    <a:pt x="5" y="124"/>
                    <a:pt x="4" y="129"/>
                  </a:cubicBezTo>
                  <a:cubicBezTo>
                    <a:pt x="4" y="129"/>
                    <a:pt x="4" y="129"/>
                    <a:pt x="4" y="129"/>
                  </a:cubicBezTo>
                  <a:cubicBezTo>
                    <a:pt x="3" y="130"/>
                    <a:pt x="3" y="132"/>
                    <a:pt x="3" y="133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3" y="135"/>
                    <a:pt x="3" y="137"/>
                    <a:pt x="3" y="139"/>
                  </a:cubicBezTo>
                  <a:cubicBezTo>
                    <a:pt x="4" y="144"/>
                    <a:pt x="12" y="148"/>
                    <a:pt x="17" y="150"/>
                  </a:cubicBezTo>
                  <a:cubicBezTo>
                    <a:pt x="17" y="150"/>
                    <a:pt x="22" y="153"/>
                    <a:pt x="29" y="157"/>
                  </a:cubicBezTo>
                  <a:cubicBezTo>
                    <a:pt x="35" y="161"/>
                    <a:pt x="43" y="166"/>
                    <a:pt x="48" y="169"/>
                  </a:cubicBezTo>
                  <a:cubicBezTo>
                    <a:pt x="54" y="171"/>
                    <a:pt x="56" y="173"/>
                    <a:pt x="56" y="173"/>
                  </a:cubicBezTo>
                  <a:cubicBezTo>
                    <a:pt x="56" y="173"/>
                    <a:pt x="56" y="173"/>
                    <a:pt x="56" y="173"/>
                  </a:cubicBezTo>
                  <a:cubicBezTo>
                    <a:pt x="58" y="175"/>
                    <a:pt x="67" y="179"/>
                    <a:pt x="68" y="179"/>
                  </a:cubicBezTo>
                  <a:cubicBezTo>
                    <a:pt x="72" y="180"/>
                    <a:pt x="80" y="177"/>
                    <a:pt x="86" y="171"/>
                  </a:cubicBezTo>
                  <a:cubicBezTo>
                    <a:pt x="87" y="170"/>
                    <a:pt x="88" y="169"/>
                    <a:pt x="89" y="169"/>
                  </a:cubicBezTo>
                  <a:cubicBezTo>
                    <a:pt x="91" y="167"/>
                    <a:pt x="91" y="166"/>
                    <a:pt x="93" y="163"/>
                  </a:cubicBezTo>
                  <a:cubicBezTo>
                    <a:pt x="99" y="156"/>
                    <a:pt x="100" y="148"/>
                    <a:pt x="100" y="144"/>
                  </a:cubicBezTo>
                  <a:cubicBezTo>
                    <a:pt x="100" y="143"/>
                    <a:pt x="100" y="143"/>
                    <a:pt x="100" y="142"/>
                  </a:cubicBezTo>
                  <a:cubicBezTo>
                    <a:pt x="100" y="142"/>
                    <a:pt x="101" y="137"/>
                    <a:pt x="101" y="137"/>
                  </a:cubicBezTo>
                  <a:cubicBezTo>
                    <a:pt x="103" y="117"/>
                    <a:pt x="103" y="122"/>
                    <a:pt x="102" y="111"/>
                  </a:cubicBezTo>
                  <a:cubicBezTo>
                    <a:pt x="102" y="110"/>
                    <a:pt x="102" y="109"/>
                    <a:pt x="103" y="110"/>
                  </a:cubicBezTo>
                  <a:cubicBezTo>
                    <a:pt x="104" y="110"/>
                    <a:pt x="105" y="110"/>
                    <a:pt x="108" y="110"/>
                  </a:cubicBezTo>
                  <a:cubicBezTo>
                    <a:pt x="110" y="111"/>
                    <a:pt x="113" y="110"/>
                    <a:pt x="115" y="110"/>
                  </a:cubicBezTo>
                  <a:cubicBezTo>
                    <a:pt x="119" y="109"/>
                    <a:pt x="122" y="109"/>
                    <a:pt x="124" y="108"/>
                  </a:cubicBezTo>
                  <a:cubicBezTo>
                    <a:pt x="127" y="107"/>
                    <a:pt x="129" y="106"/>
                    <a:pt x="129" y="102"/>
                  </a:cubicBezTo>
                  <a:close/>
                </a:path>
              </a:pathLst>
            </a:custGeom>
            <a:solidFill>
              <a:srgbClr val="96B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3" name="任意多边形: 形状 252"/>
            <p:cNvSpPr/>
            <p:nvPr userDrawn="1"/>
          </p:nvSpPr>
          <p:spPr bwMode="auto">
            <a:xfrm>
              <a:off x="8691433" y="4608512"/>
              <a:ext cx="125413" cy="217488"/>
            </a:xfrm>
            <a:custGeom>
              <a:avLst/>
              <a:gdLst>
                <a:gd name="T0" fmla="*/ 34 w 38"/>
                <a:gd name="T1" fmla="*/ 0 h 66"/>
                <a:gd name="T2" fmla="*/ 31 w 38"/>
                <a:gd name="T3" fmla="*/ 2 h 66"/>
                <a:gd name="T4" fmla="*/ 19 w 38"/>
                <a:gd name="T5" fmla="*/ 13 h 66"/>
                <a:gd name="T6" fmla="*/ 1 w 38"/>
                <a:gd name="T7" fmla="*/ 23 h 66"/>
                <a:gd name="T8" fmla="*/ 2 w 38"/>
                <a:gd name="T9" fmla="*/ 29 h 66"/>
                <a:gd name="T10" fmla="*/ 5 w 38"/>
                <a:gd name="T11" fmla="*/ 42 h 66"/>
                <a:gd name="T12" fmla="*/ 5 w 38"/>
                <a:gd name="T13" fmla="*/ 42 h 66"/>
                <a:gd name="T14" fmla="*/ 6 w 38"/>
                <a:gd name="T15" fmla="*/ 53 h 66"/>
                <a:gd name="T16" fmla="*/ 6 w 38"/>
                <a:gd name="T17" fmla="*/ 61 h 66"/>
                <a:gd name="T18" fmla="*/ 28 w 38"/>
                <a:gd name="T19" fmla="*/ 64 h 66"/>
                <a:gd name="T20" fmla="*/ 31 w 38"/>
                <a:gd name="T21" fmla="*/ 63 h 66"/>
                <a:gd name="T22" fmla="*/ 36 w 38"/>
                <a:gd name="T23" fmla="*/ 60 h 66"/>
                <a:gd name="T24" fmla="*/ 35 w 38"/>
                <a:gd name="T25" fmla="*/ 55 h 66"/>
                <a:gd name="T26" fmla="*/ 35 w 38"/>
                <a:gd name="T27" fmla="*/ 34 h 66"/>
                <a:gd name="T28" fmla="*/ 35 w 38"/>
                <a:gd name="T29" fmla="*/ 34 h 66"/>
                <a:gd name="T30" fmla="*/ 37 w 38"/>
                <a:gd name="T31" fmla="*/ 6 h 66"/>
                <a:gd name="T32" fmla="*/ 34 w 38"/>
                <a:gd name="T3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66">
                  <a:moveTo>
                    <a:pt x="34" y="0"/>
                  </a:moveTo>
                  <a:cubicBezTo>
                    <a:pt x="32" y="0"/>
                    <a:pt x="31" y="1"/>
                    <a:pt x="31" y="2"/>
                  </a:cubicBezTo>
                  <a:cubicBezTo>
                    <a:pt x="27" y="6"/>
                    <a:pt x="21" y="12"/>
                    <a:pt x="19" y="13"/>
                  </a:cubicBezTo>
                  <a:cubicBezTo>
                    <a:pt x="13" y="18"/>
                    <a:pt x="3" y="20"/>
                    <a:pt x="1" y="23"/>
                  </a:cubicBezTo>
                  <a:cubicBezTo>
                    <a:pt x="0" y="25"/>
                    <a:pt x="0" y="27"/>
                    <a:pt x="2" y="29"/>
                  </a:cubicBezTo>
                  <a:cubicBezTo>
                    <a:pt x="3" y="33"/>
                    <a:pt x="4" y="38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4"/>
                    <a:pt x="6" y="52"/>
                    <a:pt x="6" y="53"/>
                  </a:cubicBezTo>
                  <a:cubicBezTo>
                    <a:pt x="5" y="58"/>
                    <a:pt x="5" y="58"/>
                    <a:pt x="6" y="61"/>
                  </a:cubicBezTo>
                  <a:cubicBezTo>
                    <a:pt x="8" y="66"/>
                    <a:pt x="23" y="65"/>
                    <a:pt x="28" y="64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5" y="63"/>
                    <a:pt x="36" y="60"/>
                  </a:cubicBezTo>
                  <a:cubicBezTo>
                    <a:pt x="36" y="58"/>
                    <a:pt x="36" y="58"/>
                    <a:pt x="35" y="55"/>
                  </a:cubicBezTo>
                  <a:cubicBezTo>
                    <a:pt x="33" y="43"/>
                    <a:pt x="34" y="38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8" y="10"/>
                    <a:pt x="37" y="13"/>
                    <a:pt x="37" y="6"/>
                  </a:cubicBezTo>
                  <a:cubicBezTo>
                    <a:pt x="38" y="4"/>
                    <a:pt x="38" y="0"/>
                    <a:pt x="34" y="0"/>
                  </a:cubicBezTo>
                </a:path>
              </a:pathLst>
            </a:custGeom>
            <a:solidFill>
              <a:srgbClr val="D29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4" name="任意多边形: 形状 253"/>
            <p:cNvSpPr/>
            <p:nvPr userDrawn="1"/>
          </p:nvSpPr>
          <p:spPr bwMode="auto">
            <a:xfrm>
              <a:off x="8453308" y="4930775"/>
              <a:ext cx="131763" cy="330200"/>
            </a:xfrm>
            <a:custGeom>
              <a:avLst/>
              <a:gdLst>
                <a:gd name="T0" fmla="*/ 40 w 40"/>
                <a:gd name="T1" fmla="*/ 13 h 100"/>
                <a:gd name="T2" fmla="*/ 32 w 40"/>
                <a:gd name="T3" fmla="*/ 30 h 100"/>
                <a:gd name="T4" fmla="*/ 27 w 40"/>
                <a:gd name="T5" fmla="*/ 49 h 100"/>
                <a:gd name="T6" fmla="*/ 24 w 40"/>
                <a:gd name="T7" fmla="*/ 62 h 100"/>
                <a:gd name="T8" fmla="*/ 24 w 40"/>
                <a:gd name="T9" fmla="*/ 62 h 100"/>
                <a:gd name="T10" fmla="*/ 23 w 40"/>
                <a:gd name="T11" fmla="*/ 66 h 100"/>
                <a:gd name="T12" fmla="*/ 23 w 40"/>
                <a:gd name="T13" fmla="*/ 66 h 100"/>
                <a:gd name="T14" fmla="*/ 19 w 40"/>
                <a:gd name="T15" fmla="*/ 82 h 100"/>
                <a:gd name="T16" fmla="*/ 2 w 40"/>
                <a:gd name="T17" fmla="*/ 96 h 100"/>
                <a:gd name="T18" fmla="*/ 3 w 40"/>
                <a:gd name="T19" fmla="*/ 73 h 100"/>
                <a:gd name="T20" fmla="*/ 5 w 40"/>
                <a:gd name="T21" fmla="*/ 70 h 100"/>
                <a:gd name="T22" fmla="*/ 11 w 40"/>
                <a:gd name="T23" fmla="*/ 47 h 100"/>
                <a:gd name="T24" fmla="*/ 13 w 40"/>
                <a:gd name="T25" fmla="*/ 36 h 100"/>
                <a:gd name="T26" fmla="*/ 14 w 40"/>
                <a:gd name="T27" fmla="*/ 30 h 100"/>
                <a:gd name="T28" fmla="*/ 15 w 40"/>
                <a:gd name="T29" fmla="*/ 21 h 100"/>
                <a:gd name="T30" fmla="*/ 15 w 40"/>
                <a:gd name="T31" fmla="*/ 21 h 100"/>
                <a:gd name="T32" fmla="*/ 15 w 40"/>
                <a:gd name="T33" fmla="*/ 21 h 100"/>
                <a:gd name="T34" fmla="*/ 16 w 40"/>
                <a:gd name="T35" fmla="*/ 17 h 100"/>
                <a:gd name="T36" fmla="*/ 22 w 40"/>
                <a:gd name="T37" fmla="*/ 0 h 100"/>
                <a:gd name="T38" fmla="*/ 24 w 40"/>
                <a:gd name="T39" fmla="*/ 2 h 100"/>
                <a:gd name="T40" fmla="*/ 40 w 40"/>
                <a:gd name="T41" fmla="*/ 1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00">
                  <a:moveTo>
                    <a:pt x="40" y="13"/>
                  </a:moveTo>
                  <a:cubicBezTo>
                    <a:pt x="37" y="17"/>
                    <a:pt x="35" y="19"/>
                    <a:pt x="32" y="30"/>
                  </a:cubicBezTo>
                  <a:cubicBezTo>
                    <a:pt x="29" y="42"/>
                    <a:pt x="31" y="37"/>
                    <a:pt x="27" y="49"/>
                  </a:cubicBezTo>
                  <a:cubicBezTo>
                    <a:pt x="26" y="54"/>
                    <a:pt x="25" y="58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3" y="63"/>
                    <a:pt x="23" y="65"/>
                    <a:pt x="23" y="66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2" y="73"/>
                    <a:pt x="21" y="77"/>
                    <a:pt x="19" y="82"/>
                  </a:cubicBezTo>
                  <a:cubicBezTo>
                    <a:pt x="12" y="98"/>
                    <a:pt x="4" y="100"/>
                    <a:pt x="2" y="96"/>
                  </a:cubicBezTo>
                  <a:cubicBezTo>
                    <a:pt x="0" y="91"/>
                    <a:pt x="1" y="77"/>
                    <a:pt x="3" y="73"/>
                  </a:cubicBezTo>
                  <a:cubicBezTo>
                    <a:pt x="3" y="73"/>
                    <a:pt x="4" y="71"/>
                    <a:pt x="5" y="70"/>
                  </a:cubicBezTo>
                  <a:cubicBezTo>
                    <a:pt x="6" y="67"/>
                    <a:pt x="10" y="54"/>
                    <a:pt x="11" y="47"/>
                  </a:cubicBezTo>
                  <a:cubicBezTo>
                    <a:pt x="11" y="47"/>
                    <a:pt x="12" y="43"/>
                    <a:pt x="13" y="36"/>
                  </a:cubicBezTo>
                  <a:cubicBezTo>
                    <a:pt x="14" y="31"/>
                    <a:pt x="13" y="32"/>
                    <a:pt x="14" y="30"/>
                  </a:cubicBezTo>
                  <a:cubicBezTo>
                    <a:pt x="14" y="27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6" y="18"/>
                    <a:pt x="16" y="17"/>
                  </a:cubicBezTo>
                  <a:cubicBezTo>
                    <a:pt x="16" y="10"/>
                    <a:pt x="19" y="4"/>
                    <a:pt x="22" y="0"/>
                  </a:cubicBezTo>
                  <a:cubicBezTo>
                    <a:pt x="22" y="0"/>
                    <a:pt x="23" y="1"/>
                    <a:pt x="24" y="2"/>
                  </a:cubicBezTo>
                  <a:cubicBezTo>
                    <a:pt x="30" y="9"/>
                    <a:pt x="36" y="12"/>
                    <a:pt x="40" y="13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5" name="任意多边形: 形状 254"/>
            <p:cNvSpPr/>
            <p:nvPr userDrawn="1"/>
          </p:nvSpPr>
          <p:spPr bwMode="auto">
            <a:xfrm>
              <a:off x="8608883" y="4525962"/>
              <a:ext cx="198438" cy="280988"/>
            </a:xfrm>
            <a:custGeom>
              <a:avLst/>
              <a:gdLst>
                <a:gd name="T0" fmla="*/ 29 w 60"/>
                <a:gd name="T1" fmla="*/ 0 h 85"/>
                <a:gd name="T2" fmla="*/ 14 w 60"/>
                <a:gd name="T3" fmla="*/ 7 h 85"/>
                <a:gd name="T4" fmla="*/ 19 w 60"/>
                <a:gd name="T5" fmla="*/ 72 h 85"/>
                <a:gd name="T6" fmla="*/ 37 w 60"/>
                <a:gd name="T7" fmla="*/ 75 h 85"/>
                <a:gd name="T8" fmla="*/ 44 w 60"/>
                <a:gd name="T9" fmla="*/ 70 h 85"/>
                <a:gd name="T10" fmla="*/ 57 w 60"/>
                <a:gd name="T11" fmla="*/ 25 h 85"/>
                <a:gd name="T12" fmla="*/ 42 w 60"/>
                <a:gd name="T13" fmla="*/ 4 h 85"/>
                <a:gd name="T14" fmla="*/ 29 w 60"/>
                <a:gd name="T1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85">
                  <a:moveTo>
                    <a:pt x="29" y="0"/>
                  </a:moveTo>
                  <a:cubicBezTo>
                    <a:pt x="24" y="0"/>
                    <a:pt x="17" y="4"/>
                    <a:pt x="14" y="7"/>
                  </a:cubicBezTo>
                  <a:cubicBezTo>
                    <a:pt x="7" y="16"/>
                    <a:pt x="0" y="47"/>
                    <a:pt x="19" y="72"/>
                  </a:cubicBezTo>
                  <a:cubicBezTo>
                    <a:pt x="21" y="75"/>
                    <a:pt x="25" y="85"/>
                    <a:pt x="37" y="75"/>
                  </a:cubicBezTo>
                  <a:cubicBezTo>
                    <a:pt x="39" y="74"/>
                    <a:pt x="44" y="69"/>
                    <a:pt x="44" y="70"/>
                  </a:cubicBezTo>
                  <a:cubicBezTo>
                    <a:pt x="55" y="59"/>
                    <a:pt x="60" y="40"/>
                    <a:pt x="57" y="25"/>
                  </a:cubicBezTo>
                  <a:cubicBezTo>
                    <a:pt x="54" y="14"/>
                    <a:pt x="49" y="9"/>
                    <a:pt x="42" y="4"/>
                  </a:cubicBezTo>
                  <a:cubicBezTo>
                    <a:pt x="38" y="2"/>
                    <a:pt x="33" y="0"/>
                    <a:pt x="29" y="0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6" name="任意多边形: 形状 255"/>
            <p:cNvSpPr/>
            <p:nvPr userDrawn="1"/>
          </p:nvSpPr>
          <p:spPr bwMode="auto">
            <a:xfrm>
              <a:off x="8621583" y="4476750"/>
              <a:ext cx="241300" cy="276225"/>
            </a:xfrm>
            <a:custGeom>
              <a:avLst/>
              <a:gdLst>
                <a:gd name="T0" fmla="*/ 34 w 73"/>
                <a:gd name="T1" fmla="*/ 0 h 84"/>
                <a:gd name="T2" fmla="*/ 17 w 73"/>
                <a:gd name="T3" fmla="*/ 6 h 84"/>
                <a:gd name="T4" fmla="*/ 1 w 73"/>
                <a:gd name="T5" fmla="*/ 21 h 84"/>
                <a:gd name="T6" fmla="*/ 0 w 73"/>
                <a:gd name="T7" fmla="*/ 25 h 84"/>
                <a:gd name="T8" fmla="*/ 3 w 73"/>
                <a:gd name="T9" fmla="*/ 32 h 84"/>
                <a:gd name="T10" fmla="*/ 7 w 73"/>
                <a:gd name="T11" fmla="*/ 35 h 84"/>
                <a:gd name="T12" fmla="*/ 12 w 73"/>
                <a:gd name="T13" fmla="*/ 36 h 84"/>
                <a:gd name="T14" fmla="*/ 34 w 73"/>
                <a:gd name="T15" fmla="*/ 32 h 84"/>
                <a:gd name="T16" fmla="*/ 37 w 73"/>
                <a:gd name="T17" fmla="*/ 33 h 84"/>
                <a:gd name="T18" fmla="*/ 43 w 73"/>
                <a:gd name="T19" fmla="*/ 41 h 84"/>
                <a:gd name="T20" fmla="*/ 43 w 73"/>
                <a:gd name="T21" fmla="*/ 41 h 84"/>
                <a:gd name="T22" fmla="*/ 46 w 73"/>
                <a:gd name="T23" fmla="*/ 84 h 84"/>
                <a:gd name="T24" fmla="*/ 61 w 73"/>
                <a:gd name="T25" fmla="*/ 70 h 84"/>
                <a:gd name="T26" fmla="*/ 66 w 73"/>
                <a:gd name="T27" fmla="*/ 21 h 84"/>
                <a:gd name="T28" fmla="*/ 42 w 73"/>
                <a:gd name="T29" fmla="*/ 1 h 84"/>
                <a:gd name="T30" fmla="*/ 34 w 73"/>
                <a:gd name="T31" fmla="*/ 0 h 84"/>
                <a:gd name="T32" fmla="*/ 34 w 73"/>
                <a:gd name="T3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84">
                  <a:moveTo>
                    <a:pt x="34" y="0"/>
                  </a:moveTo>
                  <a:cubicBezTo>
                    <a:pt x="30" y="0"/>
                    <a:pt x="28" y="0"/>
                    <a:pt x="17" y="6"/>
                  </a:cubicBezTo>
                  <a:cubicBezTo>
                    <a:pt x="13" y="8"/>
                    <a:pt x="2" y="13"/>
                    <a:pt x="1" y="21"/>
                  </a:cubicBezTo>
                  <a:cubicBezTo>
                    <a:pt x="1" y="21"/>
                    <a:pt x="1" y="25"/>
                    <a:pt x="0" y="25"/>
                  </a:cubicBezTo>
                  <a:cubicBezTo>
                    <a:pt x="0" y="26"/>
                    <a:pt x="0" y="30"/>
                    <a:pt x="3" y="32"/>
                  </a:cubicBezTo>
                  <a:cubicBezTo>
                    <a:pt x="4" y="33"/>
                    <a:pt x="5" y="34"/>
                    <a:pt x="7" y="35"/>
                  </a:cubicBezTo>
                  <a:cubicBezTo>
                    <a:pt x="8" y="35"/>
                    <a:pt x="13" y="36"/>
                    <a:pt x="12" y="36"/>
                  </a:cubicBezTo>
                  <a:cubicBezTo>
                    <a:pt x="24" y="38"/>
                    <a:pt x="27" y="31"/>
                    <a:pt x="34" y="32"/>
                  </a:cubicBezTo>
                  <a:cubicBezTo>
                    <a:pt x="35" y="32"/>
                    <a:pt x="36" y="32"/>
                    <a:pt x="37" y="33"/>
                  </a:cubicBezTo>
                  <a:cubicBezTo>
                    <a:pt x="40" y="36"/>
                    <a:pt x="42" y="40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50" y="59"/>
                    <a:pt x="38" y="84"/>
                    <a:pt x="46" y="84"/>
                  </a:cubicBezTo>
                  <a:cubicBezTo>
                    <a:pt x="51" y="84"/>
                    <a:pt x="58" y="74"/>
                    <a:pt x="61" y="70"/>
                  </a:cubicBezTo>
                  <a:cubicBezTo>
                    <a:pt x="68" y="59"/>
                    <a:pt x="73" y="36"/>
                    <a:pt x="66" y="21"/>
                  </a:cubicBezTo>
                  <a:cubicBezTo>
                    <a:pt x="59" y="7"/>
                    <a:pt x="55" y="5"/>
                    <a:pt x="42" y="1"/>
                  </a:cubicBezTo>
                  <a:cubicBezTo>
                    <a:pt x="39" y="0"/>
                    <a:pt x="36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7" name="任意多边形: 形状 256"/>
            <p:cNvSpPr/>
            <p:nvPr userDrawn="1"/>
          </p:nvSpPr>
          <p:spPr bwMode="auto">
            <a:xfrm>
              <a:off x="8743821" y="4648200"/>
              <a:ext cx="49213" cy="68263"/>
            </a:xfrm>
            <a:custGeom>
              <a:avLst/>
              <a:gdLst>
                <a:gd name="T0" fmla="*/ 9 w 15"/>
                <a:gd name="T1" fmla="*/ 1 h 21"/>
                <a:gd name="T2" fmla="*/ 5 w 15"/>
                <a:gd name="T3" fmla="*/ 3 h 21"/>
                <a:gd name="T4" fmla="*/ 3 w 15"/>
                <a:gd name="T5" fmla="*/ 7 h 21"/>
                <a:gd name="T6" fmla="*/ 2 w 15"/>
                <a:gd name="T7" fmla="*/ 11 h 21"/>
                <a:gd name="T8" fmla="*/ 3 w 15"/>
                <a:gd name="T9" fmla="*/ 13 h 21"/>
                <a:gd name="T10" fmla="*/ 8 w 15"/>
                <a:gd name="T11" fmla="*/ 19 h 21"/>
                <a:gd name="T12" fmla="*/ 14 w 15"/>
                <a:gd name="T13" fmla="*/ 4 h 21"/>
                <a:gd name="T14" fmla="*/ 9 w 15"/>
                <a:gd name="T15" fmla="*/ 1 h 21"/>
                <a:gd name="T16" fmla="*/ 15 w 15"/>
                <a:gd name="T17" fmla="*/ 7 h 21"/>
                <a:gd name="T18" fmla="*/ 15 w 15"/>
                <a:gd name="T19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1">
                  <a:moveTo>
                    <a:pt x="9" y="1"/>
                  </a:moveTo>
                  <a:cubicBezTo>
                    <a:pt x="7" y="1"/>
                    <a:pt x="6" y="2"/>
                    <a:pt x="5" y="3"/>
                  </a:cubicBezTo>
                  <a:cubicBezTo>
                    <a:pt x="4" y="4"/>
                    <a:pt x="3" y="5"/>
                    <a:pt x="3" y="7"/>
                  </a:cubicBezTo>
                  <a:cubicBezTo>
                    <a:pt x="2" y="8"/>
                    <a:pt x="2" y="10"/>
                    <a:pt x="2" y="11"/>
                  </a:cubicBezTo>
                  <a:cubicBezTo>
                    <a:pt x="3" y="13"/>
                    <a:pt x="4" y="11"/>
                    <a:pt x="3" y="13"/>
                  </a:cubicBezTo>
                  <a:cubicBezTo>
                    <a:pt x="0" y="17"/>
                    <a:pt x="5" y="21"/>
                    <a:pt x="8" y="19"/>
                  </a:cubicBezTo>
                  <a:cubicBezTo>
                    <a:pt x="13" y="16"/>
                    <a:pt x="15" y="7"/>
                    <a:pt x="14" y="4"/>
                  </a:cubicBezTo>
                  <a:cubicBezTo>
                    <a:pt x="13" y="1"/>
                    <a:pt x="11" y="0"/>
                    <a:pt x="9" y="1"/>
                  </a:cubicBezTo>
                  <a:moveTo>
                    <a:pt x="15" y="7"/>
                  </a:moveTo>
                  <a:cubicBezTo>
                    <a:pt x="14" y="7"/>
                    <a:pt x="14" y="7"/>
                    <a:pt x="15" y="7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8" name="任意多边形: 形状 257"/>
            <p:cNvSpPr/>
            <p:nvPr userDrawn="1"/>
          </p:nvSpPr>
          <p:spPr bwMode="auto">
            <a:xfrm>
              <a:off x="8275508" y="5116512"/>
              <a:ext cx="517525" cy="266700"/>
            </a:xfrm>
            <a:custGeom>
              <a:avLst/>
              <a:gdLst>
                <a:gd name="T0" fmla="*/ 0 w 326"/>
                <a:gd name="T1" fmla="*/ 72 h 168"/>
                <a:gd name="T2" fmla="*/ 137 w 326"/>
                <a:gd name="T3" fmla="*/ 0 h 168"/>
                <a:gd name="T4" fmla="*/ 310 w 326"/>
                <a:gd name="T5" fmla="*/ 85 h 168"/>
                <a:gd name="T6" fmla="*/ 326 w 326"/>
                <a:gd name="T7" fmla="*/ 85 h 168"/>
                <a:gd name="T8" fmla="*/ 326 w 326"/>
                <a:gd name="T9" fmla="*/ 93 h 168"/>
                <a:gd name="T10" fmla="*/ 324 w 326"/>
                <a:gd name="T11" fmla="*/ 93 h 168"/>
                <a:gd name="T12" fmla="*/ 189 w 326"/>
                <a:gd name="T13" fmla="*/ 168 h 168"/>
                <a:gd name="T14" fmla="*/ 0 w 326"/>
                <a:gd name="T15" fmla="*/ 7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6" h="168">
                  <a:moveTo>
                    <a:pt x="0" y="72"/>
                  </a:moveTo>
                  <a:lnTo>
                    <a:pt x="137" y="0"/>
                  </a:lnTo>
                  <a:lnTo>
                    <a:pt x="310" y="85"/>
                  </a:lnTo>
                  <a:lnTo>
                    <a:pt x="326" y="85"/>
                  </a:lnTo>
                  <a:lnTo>
                    <a:pt x="326" y="93"/>
                  </a:lnTo>
                  <a:lnTo>
                    <a:pt x="324" y="93"/>
                  </a:lnTo>
                  <a:lnTo>
                    <a:pt x="189" y="168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AE7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9" name="任意多边形: 形状 258"/>
            <p:cNvSpPr/>
            <p:nvPr userDrawn="1"/>
          </p:nvSpPr>
          <p:spPr bwMode="auto">
            <a:xfrm>
              <a:off x="8275508" y="5105400"/>
              <a:ext cx="517525" cy="265113"/>
            </a:xfrm>
            <a:custGeom>
              <a:avLst/>
              <a:gdLst>
                <a:gd name="T0" fmla="*/ 189 w 326"/>
                <a:gd name="T1" fmla="*/ 167 h 167"/>
                <a:gd name="T2" fmla="*/ 326 w 326"/>
                <a:gd name="T3" fmla="*/ 92 h 167"/>
                <a:gd name="T4" fmla="*/ 137 w 326"/>
                <a:gd name="T5" fmla="*/ 0 h 167"/>
                <a:gd name="T6" fmla="*/ 0 w 326"/>
                <a:gd name="T7" fmla="*/ 71 h 167"/>
                <a:gd name="T8" fmla="*/ 189 w 326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6" h="167">
                  <a:moveTo>
                    <a:pt x="189" y="167"/>
                  </a:moveTo>
                  <a:lnTo>
                    <a:pt x="326" y="92"/>
                  </a:lnTo>
                  <a:lnTo>
                    <a:pt x="137" y="0"/>
                  </a:lnTo>
                  <a:lnTo>
                    <a:pt x="0" y="71"/>
                  </a:lnTo>
                  <a:lnTo>
                    <a:pt x="189" y="167"/>
                  </a:ln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0" name="任意多边形: 形状 259"/>
            <p:cNvSpPr/>
            <p:nvPr userDrawn="1"/>
          </p:nvSpPr>
          <p:spPr bwMode="auto">
            <a:xfrm>
              <a:off x="8159621" y="5006975"/>
              <a:ext cx="425450" cy="376238"/>
            </a:xfrm>
            <a:custGeom>
              <a:avLst/>
              <a:gdLst>
                <a:gd name="T0" fmla="*/ 0 w 268"/>
                <a:gd name="T1" fmla="*/ 4 h 237"/>
                <a:gd name="T2" fmla="*/ 6 w 268"/>
                <a:gd name="T3" fmla="*/ 0 h 237"/>
                <a:gd name="T4" fmla="*/ 193 w 268"/>
                <a:gd name="T5" fmla="*/ 98 h 237"/>
                <a:gd name="T6" fmla="*/ 268 w 268"/>
                <a:gd name="T7" fmla="*/ 233 h 237"/>
                <a:gd name="T8" fmla="*/ 262 w 268"/>
                <a:gd name="T9" fmla="*/ 237 h 237"/>
                <a:gd name="T10" fmla="*/ 245 w 268"/>
                <a:gd name="T11" fmla="*/ 227 h 237"/>
                <a:gd name="T12" fmla="*/ 250 w 268"/>
                <a:gd name="T13" fmla="*/ 224 h 237"/>
                <a:gd name="T14" fmla="*/ 79 w 268"/>
                <a:gd name="T15" fmla="*/ 137 h 237"/>
                <a:gd name="T16" fmla="*/ 15 w 268"/>
                <a:gd name="T17" fmla="*/ 17 h 237"/>
                <a:gd name="T18" fmla="*/ 13 w 268"/>
                <a:gd name="T19" fmla="*/ 19 h 237"/>
                <a:gd name="T20" fmla="*/ 0 w 268"/>
                <a:gd name="T21" fmla="*/ 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" h="237">
                  <a:moveTo>
                    <a:pt x="0" y="4"/>
                  </a:moveTo>
                  <a:lnTo>
                    <a:pt x="6" y="0"/>
                  </a:lnTo>
                  <a:lnTo>
                    <a:pt x="193" y="98"/>
                  </a:lnTo>
                  <a:lnTo>
                    <a:pt x="268" y="233"/>
                  </a:lnTo>
                  <a:lnTo>
                    <a:pt x="262" y="237"/>
                  </a:lnTo>
                  <a:lnTo>
                    <a:pt x="245" y="227"/>
                  </a:lnTo>
                  <a:lnTo>
                    <a:pt x="250" y="224"/>
                  </a:lnTo>
                  <a:lnTo>
                    <a:pt x="79" y="137"/>
                  </a:lnTo>
                  <a:lnTo>
                    <a:pt x="15" y="17"/>
                  </a:lnTo>
                  <a:lnTo>
                    <a:pt x="13" y="1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1" name="任意多边形: 形状 260"/>
            <p:cNvSpPr/>
            <p:nvPr userDrawn="1"/>
          </p:nvSpPr>
          <p:spPr bwMode="auto">
            <a:xfrm>
              <a:off x="8159621" y="5013325"/>
              <a:ext cx="415925" cy="369888"/>
            </a:xfrm>
            <a:custGeom>
              <a:avLst/>
              <a:gdLst>
                <a:gd name="T0" fmla="*/ 262 w 262"/>
                <a:gd name="T1" fmla="*/ 233 h 233"/>
                <a:gd name="T2" fmla="*/ 187 w 262"/>
                <a:gd name="T3" fmla="*/ 98 h 233"/>
                <a:gd name="T4" fmla="*/ 0 w 262"/>
                <a:gd name="T5" fmla="*/ 0 h 233"/>
                <a:gd name="T6" fmla="*/ 73 w 262"/>
                <a:gd name="T7" fmla="*/ 137 h 233"/>
                <a:gd name="T8" fmla="*/ 262 w 262"/>
                <a:gd name="T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33">
                  <a:moveTo>
                    <a:pt x="262" y="233"/>
                  </a:moveTo>
                  <a:lnTo>
                    <a:pt x="187" y="98"/>
                  </a:lnTo>
                  <a:lnTo>
                    <a:pt x="0" y="0"/>
                  </a:lnTo>
                  <a:lnTo>
                    <a:pt x="73" y="137"/>
                  </a:lnTo>
                  <a:lnTo>
                    <a:pt x="262" y="233"/>
                  </a:ln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2" name="任意多边形: 形状 261"/>
            <p:cNvSpPr/>
            <p:nvPr userDrawn="1"/>
          </p:nvSpPr>
          <p:spPr bwMode="auto">
            <a:xfrm>
              <a:off x="8502521" y="5162550"/>
              <a:ext cx="142875" cy="82550"/>
            </a:xfrm>
            <a:custGeom>
              <a:avLst/>
              <a:gdLst>
                <a:gd name="T0" fmla="*/ 3 w 43"/>
                <a:gd name="T1" fmla="*/ 13 h 25"/>
                <a:gd name="T2" fmla="*/ 21 w 43"/>
                <a:gd name="T3" fmla="*/ 23 h 25"/>
                <a:gd name="T4" fmla="*/ 28 w 43"/>
                <a:gd name="T5" fmla="*/ 24 h 25"/>
                <a:gd name="T6" fmla="*/ 41 w 43"/>
                <a:gd name="T7" fmla="*/ 16 h 25"/>
                <a:gd name="T8" fmla="*/ 41 w 43"/>
                <a:gd name="T9" fmla="*/ 12 h 25"/>
                <a:gd name="T10" fmla="*/ 22 w 43"/>
                <a:gd name="T11" fmla="*/ 1 h 25"/>
                <a:gd name="T12" fmla="*/ 15 w 43"/>
                <a:gd name="T13" fmla="*/ 1 h 25"/>
                <a:gd name="T14" fmla="*/ 2 w 43"/>
                <a:gd name="T15" fmla="*/ 9 h 25"/>
                <a:gd name="T16" fmla="*/ 3 w 43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25">
                  <a:moveTo>
                    <a:pt x="3" y="13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3" y="25"/>
                    <a:pt x="26" y="25"/>
                    <a:pt x="28" y="24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3" y="15"/>
                    <a:pt x="43" y="13"/>
                    <a:pt x="41" y="1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0" y="0"/>
                    <a:pt x="17" y="0"/>
                    <a:pt x="15" y="1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10"/>
                    <a:pt x="0" y="11"/>
                    <a:pt x="3" y="13"/>
                  </a:cubicBezTo>
                  <a:close/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3" name="任意多边形: 形状 262"/>
            <p:cNvSpPr/>
            <p:nvPr userDrawn="1"/>
          </p:nvSpPr>
          <p:spPr bwMode="auto">
            <a:xfrm>
              <a:off x="8551733" y="5067300"/>
              <a:ext cx="390525" cy="242888"/>
            </a:xfrm>
            <a:custGeom>
              <a:avLst/>
              <a:gdLst>
                <a:gd name="T0" fmla="*/ 79 w 118"/>
                <a:gd name="T1" fmla="*/ 61 h 74"/>
                <a:gd name="T2" fmla="*/ 76 w 118"/>
                <a:gd name="T3" fmla="*/ 61 h 74"/>
                <a:gd name="T4" fmla="*/ 50 w 118"/>
                <a:gd name="T5" fmla="*/ 64 h 74"/>
                <a:gd name="T6" fmla="*/ 46 w 118"/>
                <a:gd name="T7" fmla="*/ 65 h 74"/>
                <a:gd name="T8" fmla="*/ 38 w 118"/>
                <a:gd name="T9" fmla="*/ 66 h 74"/>
                <a:gd name="T10" fmla="*/ 26 w 118"/>
                <a:gd name="T11" fmla="*/ 68 h 74"/>
                <a:gd name="T12" fmla="*/ 27 w 118"/>
                <a:gd name="T13" fmla="*/ 68 h 74"/>
                <a:gd name="T14" fmla="*/ 14 w 118"/>
                <a:gd name="T15" fmla="*/ 71 h 74"/>
                <a:gd name="T16" fmla="*/ 7 w 118"/>
                <a:gd name="T17" fmla="*/ 74 h 74"/>
                <a:gd name="T18" fmla="*/ 1 w 118"/>
                <a:gd name="T19" fmla="*/ 69 h 74"/>
                <a:gd name="T20" fmla="*/ 11 w 118"/>
                <a:gd name="T21" fmla="*/ 54 h 74"/>
                <a:gd name="T22" fmla="*/ 19 w 118"/>
                <a:gd name="T23" fmla="*/ 49 h 74"/>
                <a:gd name="T24" fmla="*/ 27 w 118"/>
                <a:gd name="T25" fmla="*/ 47 h 74"/>
                <a:gd name="T26" fmla="*/ 33 w 118"/>
                <a:gd name="T27" fmla="*/ 47 h 74"/>
                <a:gd name="T28" fmla="*/ 67 w 118"/>
                <a:gd name="T29" fmla="*/ 43 h 74"/>
                <a:gd name="T30" fmla="*/ 90 w 118"/>
                <a:gd name="T31" fmla="*/ 36 h 74"/>
                <a:gd name="T32" fmla="*/ 94 w 118"/>
                <a:gd name="T33" fmla="*/ 33 h 74"/>
                <a:gd name="T34" fmla="*/ 94 w 118"/>
                <a:gd name="T35" fmla="*/ 29 h 74"/>
                <a:gd name="T36" fmla="*/ 93 w 118"/>
                <a:gd name="T37" fmla="*/ 2 h 74"/>
                <a:gd name="T38" fmla="*/ 98 w 118"/>
                <a:gd name="T39" fmla="*/ 2 h 74"/>
                <a:gd name="T40" fmla="*/ 105 w 118"/>
                <a:gd name="T41" fmla="*/ 2 h 74"/>
                <a:gd name="T42" fmla="*/ 114 w 118"/>
                <a:gd name="T43" fmla="*/ 0 h 74"/>
                <a:gd name="T44" fmla="*/ 114 w 118"/>
                <a:gd name="T45" fmla="*/ 7 h 74"/>
                <a:gd name="T46" fmla="*/ 79 w 118"/>
                <a:gd name="T47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8" h="74">
                  <a:moveTo>
                    <a:pt x="79" y="61"/>
                  </a:moveTo>
                  <a:cubicBezTo>
                    <a:pt x="78" y="61"/>
                    <a:pt x="77" y="61"/>
                    <a:pt x="76" y="61"/>
                  </a:cubicBezTo>
                  <a:cubicBezTo>
                    <a:pt x="75" y="61"/>
                    <a:pt x="64" y="61"/>
                    <a:pt x="50" y="64"/>
                  </a:cubicBezTo>
                  <a:cubicBezTo>
                    <a:pt x="48" y="65"/>
                    <a:pt x="47" y="65"/>
                    <a:pt x="46" y="65"/>
                  </a:cubicBezTo>
                  <a:cubicBezTo>
                    <a:pt x="41" y="66"/>
                    <a:pt x="40" y="66"/>
                    <a:pt x="38" y="66"/>
                  </a:cubicBezTo>
                  <a:cubicBezTo>
                    <a:pt x="31" y="65"/>
                    <a:pt x="28" y="67"/>
                    <a:pt x="26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1" y="70"/>
                    <a:pt x="18" y="70"/>
                    <a:pt x="14" y="71"/>
                  </a:cubicBezTo>
                  <a:cubicBezTo>
                    <a:pt x="12" y="73"/>
                    <a:pt x="10" y="74"/>
                    <a:pt x="7" y="74"/>
                  </a:cubicBezTo>
                  <a:cubicBezTo>
                    <a:pt x="4" y="74"/>
                    <a:pt x="0" y="72"/>
                    <a:pt x="1" y="69"/>
                  </a:cubicBezTo>
                  <a:cubicBezTo>
                    <a:pt x="1" y="68"/>
                    <a:pt x="6" y="58"/>
                    <a:pt x="11" y="54"/>
                  </a:cubicBezTo>
                  <a:cubicBezTo>
                    <a:pt x="13" y="52"/>
                    <a:pt x="16" y="51"/>
                    <a:pt x="19" y="49"/>
                  </a:cubicBezTo>
                  <a:cubicBezTo>
                    <a:pt x="22" y="48"/>
                    <a:pt x="25" y="47"/>
                    <a:pt x="27" y="47"/>
                  </a:cubicBezTo>
                  <a:cubicBezTo>
                    <a:pt x="27" y="47"/>
                    <a:pt x="30" y="47"/>
                    <a:pt x="33" y="47"/>
                  </a:cubicBezTo>
                  <a:cubicBezTo>
                    <a:pt x="44" y="49"/>
                    <a:pt x="39" y="48"/>
                    <a:pt x="67" y="43"/>
                  </a:cubicBezTo>
                  <a:cubicBezTo>
                    <a:pt x="77" y="41"/>
                    <a:pt x="85" y="38"/>
                    <a:pt x="90" y="36"/>
                  </a:cubicBezTo>
                  <a:cubicBezTo>
                    <a:pt x="92" y="35"/>
                    <a:pt x="94" y="34"/>
                    <a:pt x="94" y="33"/>
                  </a:cubicBezTo>
                  <a:cubicBezTo>
                    <a:pt x="94" y="33"/>
                    <a:pt x="94" y="32"/>
                    <a:pt x="94" y="29"/>
                  </a:cubicBezTo>
                  <a:cubicBezTo>
                    <a:pt x="94" y="18"/>
                    <a:pt x="93" y="9"/>
                    <a:pt x="93" y="2"/>
                  </a:cubicBezTo>
                  <a:cubicBezTo>
                    <a:pt x="94" y="2"/>
                    <a:pt x="95" y="2"/>
                    <a:pt x="98" y="2"/>
                  </a:cubicBezTo>
                  <a:cubicBezTo>
                    <a:pt x="100" y="3"/>
                    <a:pt x="103" y="2"/>
                    <a:pt x="105" y="2"/>
                  </a:cubicBezTo>
                  <a:cubicBezTo>
                    <a:pt x="109" y="1"/>
                    <a:pt x="112" y="1"/>
                    <a:pt x="114" y="0"/>
                  </a:cubicBezTo>
                  <a:cubicBezTo>
                    <a:pt x="114" y="2"/>
                    <a:pt x="114" y="5"/>
                    <a:pt x="114" y="7"/>
                  </a:cubicBezTo>
                  <a:cubicBezTo>
                    <a:pt x="114" y="49"/>
                    <a:pt x="118" y="58"/>
                    <a:pt x="79" y="61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8" name="任意多边形: 形状 327"/>
            <p:cNvSpPr/>
            <p:nvPr userDrawn="1"/>
          </p:nvSpPr>
          <p:spPr bwMode="auto">
            <a:xfrm>
              <a:off x="9945558" y="4770437"/>
              <a:ext cx="19050" cy="15875"/>
            </a:xfrm>
            <a:custGeom>
              <a:avLst/>
              <a:gdLst>
                <a:gd name="T0" fmla="*/ 4 w 12"/>
                <a:gd name="T1" fmla="*/ 10 h 10"/>
                <a:gd name="T2" fmla="*/ 12 w 12"/>
                <a:gd name="T3" fmla="*/ 6 h 10"/>
                <a:gd name="T4" fmla="*/ 10 w 12"/>
                <a:gd name="T5" fmla="*/ 0 h 10"/>
                <a:gd name="T6" fmla="*/ 0 w 12"/>
                <a:gd name="T7" fmla="*/ 6 h 10"/>
                <a:gd name="T8" fmla="*/ 4 w 12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4" y="10"/>
                  </a:moveTo>
                  <a:lnTo>
                    <a:pt x="12" y="6"/>
                  </a:lnTo>
                  <a:lnTo>
                    <a:pt x="10" y="0"/>
                  </a:lnTo>
                  <a:lnTo>
                    <a:pt x="0" y="6"/>
                  </a:lnTo>
                  <a:lnTo>
                    <a:pt x="4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9" name="任意多边形: 形状 328"/>
            <p:cNvSpPr/>
            <p:nvPr userDrawn="1"/>
          </p:nvSpPr>
          <p:spPr bwMode="auto">
            <a:xfrm>
              <a:off x="9747121" y="4357687"/>
              <a:ext cx="225425" cy="425450"/>
            </a:xfrm>
            <a:custGeom>
              <a:avLst/>
              <a:gdLst>
                <a:gd name="T0" fmla="*/ 68 w 68"/>
                <a:gd name="T1" fmla="*/ 29 h 129"/>
                <a:gd name="T2" fmla="*/ 68 w 68"/>
                <a:gd name="T3" fmla="*/ 124 h 129"/>
                <a:gd name="T4" fmla="*/ 62 w 68"/>
                <a:gd name="T5" fmla="*/ 127 h 129"/>
                <a:gd name="T6" fmla="*/ 6 w 68"/>
                <a:gd name="T7" fmla="*/ 95 h 129"/>
                <a:gd name="T8" fmla="*/ 0 w 68"/>
                <a:gd name="T9" fmla="*/ 85 h 129"/>
                <a:gd name="T10" fmla="*/ 0 w 68"/>
                <a:gd name="T11" fmla="*/ 18 h 129"/>
                <a:gd name="T12" fmla="*/ 30 w 68"/>
                <a:gd name="T13" fmla="*/ 0 h 129"/>
                <a:gd name="T14" fmla="*/ 62 w 68"/>
                <a:gd name="T15" fmla="*/ 19 h 129"/>
                <a:gd name="T16" fmla="*/ 68 w 68"/>
                <a:gd name="T17" fmla="*/ 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9">
                  <a:moveTo>
                    <a:pt x="68" y="29"/>
                  </a:moveTo>
                  <a:cubicBezTo>
                    <a:pt x="68" y="124"/>
                    <a:pt x="68" y="124"/>
                    <a:pt x="68" y="124"/>
                  </a:cubicBezTo>
                  <a:cubicBezTo>
                    <a:pt x="68" y="128"/>
                    <a:pt x="65" y="129"/>
                    <a:pt x="62" y="127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3" y="93"/>
                    <a:pt x="0" y="88"/>
                    <a:pt x="0" y="8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5" y="21"/>
                    <a:pt x="68" y="25"/>
                    <a:pt x="68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0" name="任意多边形: 形状 329"/>
            <p:cNvSpPr/>
            <p:nvPr userDrawn="1"/>
          </p:nvSpPr>
          <p:spPr bwMode="auto">
            <a:xfrm>
              <a:off x="9734421" y="4367212"/>
              <a:ext cx="220663" cy="425450"/>
            </a:xfrm>
            <a:custGeom>
              <a:avLst/>
              <a:gdLst>
                <a:gd name="T0" fmla="*/ 67 w 67"/>
                <a:gd name="T1" fmla="*/ 29 h 129"/>
                <a:gd name="T2" fmla="*/ 67 w 67"/>
                <a:gd name="T3" fmla="*/ 124 h 129"/>
                <a:gd name="T4" fmla="*/ 61 w 67"/>
                <a:gd name="T5" fmla="*/ 127 h 129"/>
                <a:gd name="T6" fmla="*/ 5 w 67"/>
                <a:gd name="T7" fmla="*/ 95 h 129"/>
                <a:gd name="T8" fmla="*/ 0 w 67"/>
                <a:gd name="T9" fmla="*/ 85 h 129"/>
                <a:gd name="T10" fmla="*/ 0 w 67"/>
                <a:gd name="T11" fmla="*/ 18 h 129"/>
                <a:gd name="T12" fmla="*/ 30 w 67"/>
                <a:gd name="T13" fmla="*/ 0 h 129"/>
                <a:gd name="T14" fmla="*/ 61 w 67"/>
                <a:gd name="T15" fmla="*/ 19 h 129"/>
                <a:gd name="T16" fmla="*/ 67 w 67"/>
                <a:gd name="T17" fmla="*/ 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129">
                  <a:moveTo>
                    <a:pt x="67" y="29"/>
                  </a:moveTo>
                  <a:cubicBezTo>
                    <a:pt x="67" y="124"/>
                    <a:pt x="67" y="124"/>
                    <a:pt x="67" y="124"/>
                  </a:cubicBezTo>
                  <a:cubicBezTo>
                    <a:pt x="67" y="127"/>
                    <a:pt x="65" y="129"/>
                    <a:pt x="61" y="127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2" y="93"/>
                    <a:pt x="0" y="88"/>
                    <a:pt x="0" y="8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5" y="20"/>
                    <a:pt x="67" y="25"/>
                    <a:pt x="67" y="29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1" name="任意多边形: 形状 330"/>
            <p:cNvSpPr/>
            <p:nvPr userDrawn="1"/>
          </p:nvSpPr>
          <p:spPr bwMode="auto">
            <a:xfrm>
              <a:off x="9737596" y="4367212"/>
              <a:ext cx="98425" cy="112713"/>
            </a:xfrm>
            <a:custGeom>
              <a:avLst/>
              <a:gdLst>
                <a:gd name="T0" fmla="*/ 30 w 30"/>
                <a:gd name="T1" fmla="*/ 1 h 34"/>
                <a:gd name="T2" fmla="*/ 30 w 30"/>
                <a:gd name="T3" fmla="*/ 29 h 34"/>
                <a:gd name="T4" fmla="*/ 24 w 30"/>
                <a:gd name="T5" fmla="*/ 33 h 34"/>
                <a:gd name="T6" fmla="*/ 0 w 30"/>
                <a:gd name="T7" fmla="*/ 19 h 34"/>
                <a:gd name="T8" fmla="*/ 29 w 30"/>
                <a:gd name="T9" fmla="*/ 0 h 34"/>
                <a:gd name="T10" fmla="*/ 30 w 30"/>
                <a:gd name="T11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4">
                  <a:moveTo>
                    <a:pt x="30" y="1"/>
                  </a:moveTo>
                  <a:cubicBezTo>
                    <a:pt x="30" y="29"/>
                    <a:pt x="30" y="29"/>
                    <a:pt x="30" y="29"/>
                  </a:cubicBezTo>
                  <a:cubicBezTo>
                    <a:pt x="30" y="33"/>
                    <a:pt x="28" y="34"/>
                    <a:pt x="24" y="3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30" y="1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2" name="任意多边形: 形状 331"/>
            <p:cNvSpPr/>
            <p:nvPr userDrawn="1"/>
          </p:nvSpPr>
          <p:spPr bwMode="auto">
            <a:xfrm>
              <a:off x="9734421" y="4367212"/>
              <a:ext cx="98425" cy="109538"/>
            </a:xfrm>
            <a:custGeom>
              <a:avLst/>
              <a:gdLst>
                <a:gd name="T0" fmla="*/ 30 w 30"/>
                <a:gd name="T1" fmla="*/ 0 h 33"/>
                <a:gd name="T2" fmla="*/ 30 w 30"/>
                <a:gd name="T3" fmla="*/ 28 h 33"/>
                <a:gd name="T4" fmla="*/ 24 w 30"/>
                <a:gd name="T5" fmla="*/ 32 h 33"/>
                <a:gd name="T6" fmla="*/ 0 w 30"/>
                <a:gd name="T7" fmla="*/ 18 h 33"/>
                <a:gd name="T8" fmla="*/ 30 w 30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3">
                  <a:moveTo>
                    <a:pt x="30" y="0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30" y="32"/>
                    <a:pt x="27" y="33"/>
                    <a:pt x="24" y="32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3" name="直接连接符 332"/>
            <p:cNvSpPr/>
            <p:nvPr userDrawn="1"/>
          </p:nvSpPr>
          <p:spPr bwMode="auto">
            <a:xfrm>
              <a:off x="9767758" y="4492625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4" name="直接连接符 333"/>
            <p:cNvSpPr/>
            <p:nvPr userDrawn="1"/>
          </p:nvSpPr>
          <p:spPr bwMode="auto">
            <a:xfrm>
              <a:off x="9767758" y="4529137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5" name="直接连接符 334"/>
            <p:cNvSpPr/>
            <p:nvPr userDrawn="1"/>
          </p:nvSpPr>
          <p:spPr bwMode="auto">
            <a:xfrm>
              <a:off x="9767758" y="4565650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6" name="直接连接符 335"/>
            <p:cNvSpPr/>
            <p:nvPr userDrawn="1"/>
          </p:nvSpPr>
          <p:spPr bwMode="auto">
            <a:xfrm>
              <a:off x="9767758" y="4602162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9496" y="1775391"/>
            <a:ext cx="6700041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9496" y="4601073"/>
            <a:ext cx="670004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9498" y="4304802"/>
            <a:ext cx="670004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489" name="组合 488"/>
          <p:cNvGrpSpPr/>
          <p:nvPr userDrawn="1"/>
        </p:nvGrpSpPr>
        <p:grpSpPr>
          <a:xfrm>
            <a:off x="5424953" y="1665288"/>
            <a:ext cx="6095535" cy="4575175"/>
            <a:chOff x="5789483" y="2014537"/>
            <a:chExt cx="5492750" cy="4122738"/>
          </a:xfrm>
        </p:grpSpPr>
        <p:sp>
          <p:nvSpPr>
            <p:cNvPr id="490" name="任意多边形: 形状 489"/>
            <p:cNvSpPr/>
            <p:nvPr userDrawn="1"/>
          </p:nvSpPr>
          <p:spPr bwMode="auto">
            <a:xfrm>
              <a:off x="5789483" y="2970212"/>
              <a:ext cx="5492750" cy="3167063"/>
            </a:xfrm>
            <a:custGeom>
              <a:avLst/>
              <a:gdLst>
                <a:gd name="T0" fmla="*/ 1368 w 1664"/>
                <a:gd name="T1" fmla="*/ 790 h 961"/>
                <a:gd name="T2" fmla="*/ 296 w 1664"/>
                <a:gd name="T3" fmla="*/ 790 h 961"/>
                <a:gd name="T4" fmla="*/ 296 w 1664"/>
                <a:gd name="T5" fmla="*/ 171 h 961"/>
                <a:gd name="T6" fmla="*/ 1368 w 1664"/>
                <a:gd name="T7" fmla="*/ 171 h 961"/>
                <a:gd name="T8" fmla="*/ 1368 w 1664"/>
                <a:gd name="T9" fmla="*/ 79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4" h="961">
                  <a:moveTo>
                    <a:pt x="1368" y="790"/>
                  </a:moveTo>
                  <a:cubicBezTo>
                    <a:pt x="1072" y="961"/>
                    <a:pt x="592" y="961"/>
                    <a:pt x="296" y="790"/>
                  </a:cubicBezTo>
                  <a:cubicBezTo>
                    <a:pt x="0" y="619"/>
                    <a:pt x="0" y="342"/>
                    <a:pt x="296" y="171"/>
                  </a:cubicBezTo>
                  <a:cubicBezTo>
                    <a:pt x="592" y="0"/>
                    <a:pt x="1072" y="0"/>
                    <a:pt x="1368" y="171"/>
                  </a:cubicBezTo>
                  <a:cubicBezTo>
                    <a:pt x="1664" y="342"/>
                    <a:pt x="1664" y="619"/>
                    <a:pt x="1368" y="79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1" name="任意多边形: 形状 490"/>
            <p:cNvSpPr/>
            <p:nvPr userDrawn="1"/>
          </p:nvSpPr>
          <p:spPr bwMode="auto">
            <a:xfrm>
              <a:off x="8462833" y="4403725"/>
              <a:ext cx="1947863" cy="1157288"/>
            </a:xfrm>
            <a:custGeom>
              <a:avLst/>
              <a:gdLst>
                <a:gd name="T0" fmla="*/ 572 w 590"/>
                <a:gd name="T1" fmla="*/ 92 h 351"/>
                <a:gd name="T2" fmla="*/ 132 w 590"/>
                <a:gd name="T3" fmla="*/ 346 h 351"/>
                <a:gd name="T4" fmla="*/ 105 w 590"/>
                <a:gd name="T5" fmla="*/ 346 h 351"/>
                <a:gd name="T6" fmla="*/ 0 w 590"/>
                <a:gd name="T7" fmla="*/ 286 h 351"/>
                <a:gd name="T8" fmla="*/ 494 w 590"/>
                <a:gd name="T9" fmla="*/ 0 h 351"/>
                <a:gd name="T10" fmla="*/ 572 w 590"/>
                <a:gd name="T11" fmla="*/ 45 h 351"/>
                <a:gd name="T12" fmla="*/ 572 w 590"/>
                <a:gd name="T13" fmla="*/ 9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351">
                  <a:moveTo>
                    <a:pt x="572" y="92"/>
                  </a:moveTo>
                  <a:cubicBezTo>
                    <a:pt x="132" y="346"/>
                    <a:pt x="132" y="346"/>
                    <a:pt x="132" y="346"/>
                  </a:cubicBezTo>
                  <a:cubicBezTo>
                    <a:pt x="123" y="351"/>
                    <a:pt x="113" y="351"/>
                    <a:pt x="105" y="346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494" y="0"/>
                    <a:pt x="494" y="0"/>
                    <a:pt x="494" y="0"/>
                  </a:cubicBezTo>
                  <a:cubicBezTo>
                    <a:pt x="572" y="45"/>
                    <a:pt x="572" y="45"/>
                    <a:pt x="572" y="45"/>
                  </a:cubicBezTo>
                  <a:cubicBezTo>
                    <a:pt x="590" y="56"/>
                    <a:pt x="590" y="81"/>
                    <a:pt x="572" y="92"/>
                  </a:cubicBezTo>
                  <a:close/>
                </a:path>
              </a:pathLst>
            </a:custGeom>
            <a:solidFill>
              <a:srgbClr val="C4DF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2" name="任意多边形: 形状 491"/>
            <p:cNvSpPr/>
            <p:nvPr userDrawn="1"/>
          </p:nvSpPr>
          <p:spPr bwMode="auto">
            <a:xfrm>
              <a:off x="9505821" y="5191125"/>
              <a:ext cx="1296988" cy="771525"/>
            </a:xfrm>
            <a:custGeom>
              <a:avLst/>
              <a:gdLst>
                <a:gd name="T0" fmla="*/ 381 w 393"/>
                <a:gd name="T1" fmla="*/ 61 h 234"/>
                <a:gd name="T2" fmla="*/ 87 w 393"/>
                <a:gd name="T3" fmla="*/ 231 h 234"/>
                <a:gd name="T4" fmla="*/ 69 w 393"/>
                <a:gd name="T5" fmla="*/ 231 h 234"/>
                <a:gd name="T6" fmla="*/ 0 w 393"/>
                <a:gd name="T7" fmla="*/ 190 h 234"/>
                <a:gd name="T8" fmla="*/ 329 w 393"/>
                <a:gd name="T9" fmla="*/ 0 h 234"/>
                <a:gd name="T10" fmla="*/ 381 w 393"/>
                <a:gd name="T11" fmla="*/ 30 h 234"/>
                <a:gd name="T12" fmla="*/ 381 w 393"/>
                <a:gd name="T13" fmla="*/ 6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3" h="234">
                  <a:moveTo>
                    <a:pt x="381" y="61"/>
                  </a:moveTo>
                  <a:cubicBezTo>
                    <a:pt x="87" y="231"/>
                    <a:pt x="87" y="231"/>
                    <a:pt x="87" y="231"/>
                  </a:cubicBezTo>
                  <a:cubicBezTo>
                    <a:pt x="82" y="234"/>
                    <a:pt x="75" y="234"/>
                    <a:pt x="69" y="231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81" y="30"/>
                    <a:pt x="381" y="30"/>
                    <a:pt x="381" y="30"/>
                  </a:cubicBezTo>
                  <a:cubicBezTo>
                    <a:pt x="393" y="37"/>
                    <a:pt x="393" y="54"/>
                    <a:pt x="381" y="61"/>
                  </a:cubicBezTo>
                  <a:close/>
                </a:path>
              </a:pathLst>
            </a:custGeom>
            <a:solidFill>
              <a:srgbClr val="C4DF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3" name="任意多边形: 形状 492"/>
            <p:cNvSpPr/>
            <p:nvPr userDrawn="1"/>
          </p:nvSpPr>
          <p:spPr bwMode="auto">
            <a:xfrm>
              <a:off x="8199308" y="2027237"/>
              <a:ext cx="58738" cy="42863"/>
            </a:xfrm>
            <a:custGeom>
              <a:avLst/>
              <a:gdLst>
                <a:gd name="T0" fmla="*/ 0 w 37"/>
                <a:gd name="T1" fmla="*/ 15 h 27"/>
                <a:gd name="T2" fmla="*/ 29 w 37"/>
                <a:gd name="T3" fmla="*/ 0 h 27"/>
                <a:gd name="T4" fmla="*/ 37 w 37"/>
                <a:gd name="T5" fmla="*/ 12 h 27"/>
                <a:gd name="T6" fmla="*/ 8 w 37"/>
                <a:gd name="T7" fmla="*/ 27 h 27"/>
                <a:gd name="T8" fmla="*/ 0 w 37"/>
                <a:gd name="T9" fmla="*/ 1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7">
                  <a:moveTo>
                    <a:pt x="0" y="15"/>
                  </a:moveTo>
                  <a:lnTo>
                    <a:pt x="29" y="0"/>
                  </a:lnTo>
                  <a:lnTo>
                    <a:pt x="37" y="12"/>
                  </a:lnTo>
                  <a:lnTo>
                    <a:pt x="8" y="27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4" name="任意多边形: 形状 493"/>
            <p:cNvSpPr/>
            <p:nvPr userDrawn="1"/>
          </p:nvSpPr>
          <p:spPr bwMode="auto">
            <a:xfrm>
              <a:off x="10031283" y="4541837"/>
              <a:ext cx="49213" cy="63500"/>
            </a:xfrm>
            <a:custGeom>
              <a:avLst/>
              <a:gdLst>
                <a:gd name="T0" fmla="*/ 31 w 31"/>
                <a:gd name="T1" fmla="*/ 25 h 40"/>
                <a:gd name="T2" fmla="*/ 2 w 31"/>
                <a:gd name="T3" fmla="*/ 40 h 40"/>
                <a:gd name="T4" fmla="*/ 0 w 31"/>
                <a:gd name="T5" fmla="*/ 17 h 40"/>
                <a:gd name="T6" fmla="*/ 27 w 31"/>
                <a:gd name="T7" fmla="*/ 0 h 40"/>
                <a:gd name="T8" fmla="*/ 31 w 31"/>
                <a:gd name="T9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0">
                  <a:moveTo>
                    <a:pt x="31" y="25"/>
                  </a:moveTo>
                  <a:lnTo>
                    <a:pt x="2" y="40"/>
                  </a:lnTo>
                  <a:lnTo>
                    <a:pt x="0" y="17"/>
                  </a:lnTo>
                  <a:lnTo>
                    <a:pt x="27" y="0"/>
                  </a:lnTo>
                  <a:lnTo>
                    <a:pt x="31" y="25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5" name="任意多边形: 形状 494"/>
            <p:cNvSpPr/>
            <p:nvPr userDrawn="1"/>
          </p:nvSpPr>
          <p:spPr bwMode="auto">
            <a:xfrm>
              <a:off x="8226296" y="2014537"/>
              <a:ext cx="1871663" cy="2581275"/>
            </a:xfrm>
            <a:custGeom>
              <a:avLst/>
              <a:gdLst>
                <a:gd name="T0" fmla="*/ 551 w 567"/>
                <a:gd name="T1" fmla="*/ 778 h 783"/>
                <a:gd name="T2" fmla="*/ 16 w 567"/>
                <a:gd name="T3" fmla="*/ 469 h 783"/>
                <a:gd name="T4" fmla="*/ 0 w 567"/>
                <a:gd name="T5" fmla="*/ 437 h 783"/>
                <a:gd name="T6" fmla="*/ 0 w 567"/>
                <a:gd name="T7" fmla="*/ 18 h 783"/>
                <a:gd name="T8" fmla="*/ 16 w 567"/>
                <a:gd name="T9" fmla="*/ 5 h 783"/>
                <a:gd name="T10" fmla="*/ 551 w 567"/>
                <a:gd name="T11" fmla="*/ 314 h 783"/>
                <a:gd name="T12" fmla="*/ 567 w 567"/>
                <a:gd name="T13" fmla="*/ 345 h 783"/>
                <a:gd name="T14" fmla="*/ 567 w 567"/>
                <a:gd name="T15" fmla="*/ 765 h 783"/>
                <a:gd name="T16" fmla="*/ 551 w 567"/>
                <a:gd name="T17" fmla="*/ 77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7" h="783">
                  <a:moveTo>
                    <a:pt x="551" y="778"/>
                  </a:moveTo>
                  <a:cubicBezTo>
                    <a:pt x="16" y="469"/>
                    <a:pt x="16" y="469"/>
                    <a:pt x="16" y="469"/>
                  </a:cubicBezTo>
                  <a:cubicBezTo>
                    <a:pt x="7" y="463"/>
                    <a:pt x="0" y="449"/>
                    <a:pt x="0" y="43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6"/>
                    <a:pt x="7" y="0"/>
                    <a:pt x="16" y="5"/>
                  </a:cubicBezTo>
                  <a:cubicBezTo>
                    <a:pt x="551" y="314"/>
                    <a:pt x="551" y="314"/>
                    <a:pt x="551" y="314"/>
                  </a:cubicBezTo>
                  <a:cubicBezTo>
                    <a:pt x="560" y="319"/>
                    <a:pt x="567" y="333"/>
                    <a:pt x="567" y="345"/>
                  </a:cubicBezTo>
                  <a:cubicBezTo>
                    <a:pt x="567" y="765"/>
                    <a:pt x="567" y="765"/>
                    <a:pt x="567" y="765"/>
                  </a:cubicBezTo>
                  <a:cubicBezTo>
                    <a:pt x="567" y="777"/>
                    <a:pt x="560" y="783"/>
                    <a:pt x="551" y="778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6" name="任意多边形: 形状 495"/>
            <p:cNvSpPr/>
            <p:nvPr userDrawn="1"/>
          </p:nvSpPr>
          <p:spPr bwMode="auto">
            <a:xfrm>
              <a:off x="8180258" y="2036762"/>
              <a:ext cx="1874838" cy="2581275"/>
            </a:xfrm>
            <a:custGeom>
              <a:avLst/>
              <a:gdLst>
                <a:gd name="T0" fmla="*/ 552 w 568"/>
                <a:gd name="T1" fmla="*/ 778 h 783"/>
                <a:gd name="T2" fmla="*/ 17 w 568"/>
                <a:gd name="T3" fmla="*/ 469 h 783"/>
                <a:gd name="T4" fmla="*/ 0 w 568"/>
                <a:gd name="T5" fmla="*/ 438 h 783"/>
                <a:gd name="T6" fmla="*/ 0 w 568"/>
                <a:gd name="T7" fmla="*/ 18 h 783"/>
                <a:gd name="T8" fmla="*/ 17 w 568"/>
                <a:gd name="T9" fmla="*/ 6 h 783"/>
                <a:gd name="T10" fmla="*/ 552 w 568"/>
                <a:gd name="T11" fmla="*/ 314 h 783"/>
                <a:gd name="T12" fmla="*/ 568 w 568"/>
                <a:gd name="T13" fmla="*/ 346 h 783"/>
                <a:gd name="T14" fmla="*/ 568 w 568"/>
                <a:gd name="T15" fmla="*/ 766 h 783"/>
                <a:gd name="T16" fmla="*/ 552 w 568"/>
                <a:gd name="T17" fmla="*/ 77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8" h="783">
                  <a:moveTo>
                    <a:pt x="552" y="778"/>
                  </a:moveTo>
                  <a:cubicBezTo>
                    <a:pt x="17" y="469"/>
                    <a:pt x="17" y="469"/>
                    <a:pt x="17" y="469"/>
                  </a:cubicBezTo>
                  <a:cubicBezTo>
                    <a:pt x="8" y="464"/>
                    <a:pt x="0" y="450"/>
                    <a:pt x="0" y="43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6"/>
                    <a:pt x="8" y="0"/>
                    <a:pt x="17" y="6"/>
                  </a:cubicBezTo>
                  <a:cubicBezTo>
                    <a:pt x="552" y="314"/>
                    <a:pt x="552" y="314"/>
                    <a:pt x="552" y="314"/>
                  </a:cubicBezTo>
                  <a:cubicBezTo>
                    <a:pt x="561" y="320"/>
                    <a:pt x="568" y="334"/>
                    <a:pt x="568" y="346"/>
                  </a:cubicBezTo>
                  <a:cubicBezTo>
                    <a:pt x="568" y="766"/>
                    <a:pt x="568" y="766"/>
                    <a:pt x="568" y="766"/>
                  </a:cubicBezTo>
                  <a:cubicBezTo>
                    <a:pt x="568" y="778"/>
                    <a:pt x="561" y="783"/>
                    <a:pt x="552" y="77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7" name="任意多边形: 形状 496"/>
            <p:cNvSpPr/>
            <p:nvPr userDrawn="1"/>
          </p:nvSpPr>
          <p:spPr bwMode="auto">
            <a:xfrm>
              <a:off x="8261221" y="2182812"/>
              <a:ext cx="1711325" cy="2290763"/>
            </a:xfrm>
            <a:custGeom>
              <a:avLst/>
              <a:gdLst>
                <a:gd name="T0" fmla="*/ 0 w 518"/>
                <a:gd name="T1" fmla="*/ 379 h 695"/>
                <a:gd name="T2" fmla="*/ 0 w 518"/>
                <a:gd name="T3" fmla="*/ 18 h 695"/>
                <a:gd name="T4" fmla="*/ 17 w 518"/>
                <a:gd name="T5" fmla="*/ 5 h 695"/>
                <a:gd name="T6" fmla="*/ 501 w 518"/>
                <a:gd name="T7" fmla="*/ 285 h 695"/>
                <a:gd name="T8" fmla="*/ 518 w 518"/>
                <a:gd name="T9" fmla="*/ 316 h 695"/>
                <a:gd name="T10" fmla="*/ 518 w 518"/>
                <a:gd name="T11" fmla="*/ 678 h 695"/>
                <a:gd name="T12" fmla="*/ 501 w 518"/>
                <a:gd name="T13" fmla="*/ 690 h 695"/>
                <a:gd name="T14" fmla="*/ 17 w 518"/>
                <a:gd name="T15" fmla="*/ 410 h 695"/>
                <a:gd name="T16" fmla="*/ 0 w 518"/>
                <a:gd name="T17" fmla="*/ 379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8" h="695">
                  <a:moveTo>
                    <a:pt x="0" y="379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6"/>
                    <a:pt x="8" y="0"/>
                    <a:pt x="17" y="5"/>
                  </a:cubicBezTo>
                  <a:cubicBezTo>
                    <a:pt x="501" y="285"/>
                    <a:pt x="501" y="285"/>
                    <a:pt x="501" y="285"/>
                  </a:cubicBezTo>
                  <a:cubicBezTo>
                    <a:pt x="510" y="290"/>
                    <a:pt x="518" y="304"/>
                    <a:pt x="518" y="316"/>
                  </a:cubicBezTo>
                  <a:cubicBezTo>
                    <a:pt x="518" y="678"/>
                    <a:pt x="518" y="678"/>
                    <a:pt x="518" y="678"/>
                  </a:cubicBezTo>
                  <a:cubicBezTo>
                    <a:pt x="518" y="690"/>
                    <a:pt x="510" y="695"/>
                    <a:pt x="501" y="690"/>
                  </a:cubicBezTo>
                  <a:cubicBezTo>
                    <a:pt x="17" y="410"/>
                    <a:pt x="17" y="410"/>
                    <a:pt x="17" y="410"/>
                  </a:cubicBezTo>
                  <a:cubicBezTo>
                    <a:pt x="8" y="405"/>
                    <a:pt x="0" y="391"/>
                    <a:pt x="0" y="379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8" name="矩形 497"/>
            <p:cNvSpPr/>
            <p:nvPr userDrawn="1"/>
          </p:nvSpPr>
          <p:spPr bwMode="auto">
            <a:xfrm>
              <a:off x="6921371" y="4335462"/>
              <a:ext cx="185738" cy="101600"/>
            </a:xfrm>
            <a:prstGeom prst="rect">
              <a:avLst/>
            </a:pr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9" name="矩形 498"/>
            <p:cNvSpPr/>
            <p:nvPr userDrawn="1"/>
          </p:nvSpPr>
          <p:spPr bwMode="auto">
            <a:xfrm>
              <a:off x="9939208" y="4645025"/>
              <a:ext cx="115888" cy="104775"/>
            </a:xfrm>
            <a:prstGeom prst="rect">
              <a:avLst/>
            </a:pr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0" name="任意多边形: 形状 499"/>
            <p:cNvSpPr/>
            <p:nvPr userDrawn="1"/>
          </p:nvSpPr>
          <p:spPr bwMode="auto">
            <a:xfrm>
              <a:off x="6911846" y="3681412"/>
              <a:ext cx="3152775" cy="1817688"/>
            </a:xfrm>
            <a:custGeom>
              <a:avLst/>
              <a:gdLst>
                <a:gd name="T0" fmla="*/ 545 w 955"/>
                <a:gd name="T1" fmla="*/ 546 h 551"/>
                <a:gd name="T2" fmla="*/ 9 w 955"/>
                <a:gd name="T3" fmla="*/ 237 h 551"/>
                <a:gd name="T4" fmla="*/ 12 w 955"/>
                <a:gd name="T5" fmla="*/ 217 h 551"/>
                <a:gd name="T6" fmla="*/ 376 w 955"/>
                <a:gd name="T7" fmla="*/ 7 h 551"/>
                <a:gd name="T8" fmla="*/ 411 w 955"/>
                <a:gd name="T9" fmla="*/ 6 h 551"/>
                <a:gd name="T10" fmla="*/ 946 w 955"/>
                <a:gd name="T11" fmla="*/ 315 h 551"/>
                <a:gd name="T12" fmla="*/ 943 w 955"/>
                <a:gd name="T13" fmla="*/ 335 h 551"/>
                <a:gd name="T14" fmla="*/ 580 w 955"/>
                <a:gd name="T15" fmla="*/ 545 h 551"/>
                <a:gd name="T16" fmla="*/ 545 w 955"/>
                <a:gd name="T17" fmla="*/ 546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5" h="551">
                  <a:moveTo>
                    <a:pt x="545" y="546"/>
                  </a:moveTo>
                  <a:cubicBezTo>
                    <a:pt x="9" y="237"/>
                    <a:pt x="9" y="237"/>
                    <a:pt x="9" y="237"/>
                  </a:cubicBezTo>
                  <a:cubicBezTo>
                    <a:pt x="0" y="232"/>
                    <a:pt x="2" y="223"/>
                    <a:pt x="12" y="217"/>
                  </a:cubicBezTo>
                  <a:cubicBezTo>
                    <a:pt x="376" y="7"/>
                    <a:pt x="376" y="7"/>
                    <a:pt x="376" y="7"/>
                  </a:cubicBezTo>
                  <a:cubicBezTo>
                    <a:pt x="386" y="1"/>
                    <a:pt x="402" y="0"/>
                    <a:pt x="411" y="6"/>
                  </a:cubicBezTo>
                  <a:cubicBezTo>
                    <a:pt x="946" y="315"/>
                    <a:pt x="946" y="315"/>
                    <a:pt x="946" y="315"/>
                  </a:cubicBezTo>
                  <a:cubicBezTo>
                    <a:pt x="955" y="320"/>
                    <a:pt x="954" y="329"/>
                    <a:pt x="943" y="335"/>
                  </a:cubicBezTo>
                  <a:cubicBezTo>
                    <a:pt x="580" y="545"/>
                    <a:pt x="580" y="545"/>
                    <a:pt x="580" y="545"/>
                  </a:cubicBezTo>
                  <a:cubicBezTo>
                    <a:pt x="569" y="551"/>
                    <a:pt x="554" y="551"/>
                    <a:pt x="545" y="546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1" name="任意多边形: 形状 500"/>
            <p:cNvSpPr/>
            <p:nvPr userDrawn="1"/>
          </p:nvSpPr>
          <p:spPr bwMode="auto">
            <a:xfrm>
              <a:off x="6911846" y="3582987"/>
              <a:ext cx="3152775" cy="1816100"/>
            </a:xfrm>
            <a:custGeom>
              <a:avLst/>
              <a:gdLst>
                <a:gd name="T0" fmla="*/ 545 w 955"/>
                <a:gd name="T1" fmla="*/ 546 h 551"/>
                <a:gd name="T2" fmla="*/ 9 w 955"/>
                <a:gd name="T3" fmla="*/ 237 h 551"/>
                <a:gd name="T4" fmla="*/ 12 w 955"/>
                <a:gd name="T5" fmla="*/ 217 h 551"/>
                <a:gd name="T6" fmla="*/ 376 w 955"/>
                <a:gd name="T7" fmla="*/ 7 h 551"/>
                <a:gd name="T8" fmla="*/ 411 w 955"/>
                <a:gd name="T9" fmla="*/ 6 h 551"/>
                <a:gd name="T10" fmla="*/ 946 w 955"/>
                <a:gd name="T11" fmla="*/ 315 h 551"/>
                <a:gd name="T12" fmla="*/ 943 w 955"/>
                <a:gd name="T13" fmla="*/ 335 h 551"/>
                <a:gd name="T14" fmla="*/ 580 w 955"/>
                <a:gd name="T15" fmla="*/ 545 h 551"/>
                <a:gd name="T16" fmla="*/ 545 w 955"/>
                <a:gd name="T17" fmla="*/ 546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5" h="551">
                  <a:moveTo>
                    <a:pt x="545" y="546"/>
                  </a:moveTo>
                  <a:cubicBezTo>
                    <a:pt x="9" y="237"/>
                    <a:pt x="9" y="237"/>
                    <a:pt x="9" y="237"/>
                  </a:cubicBezTo>
                  <a:cubicBezTo>
                    <a:pt x="0" y="232"/>
                    <a:pt x="2" y="223"/>
                    <a:pt x="12" y="217"/>
                  </a:cubicBezTo>
                  <a:cubicBezTo>
                    <a:pt x="376" y="7"/>
                    <a:pt x="376" y="7"/>
                    <a:pt x="376" y="7"/>
                  </a:cubicBezTo>
                  <a:cubicBezTo>
                    <a:pt x="386" y="1"/>
                    <a:pt x="402" y="0"/>
                    <a:pt x="411" y="6"/>
                  </a:cubicBezTo>
                  <a:cubicBezTo>
                    <a:pt x="946" y="315"/>
                    <a:pt x="946" y="315"/>
                    <a:pt x="946" y="315"/>
                  </a:cubicBezTo>
                  <a:cubicBezTo>
                    <a:pt x="955" y="320"/>
                    <a:pt x="954" y="329"/>
                    <a:pt x="943" y="335"/>
                  </a:cubicBezTo>
                  <a:cubicBezTo>
                    <a:pt x="580" y="545"/>
                    <a:pt x="580" y="545"/>
                    <a:pt x="580" y="545"/>
                  </a:cubicBezTo>
                  <a:cubicBezTo>
                    <a:pt x="569" y="551"/>
                    <a:pt x="554" y="551"/>
                    <a:pt x="545" y="546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2" name="任意多边形: 形状 501"/>
            <p:cNvSpPr/>
            <p:nvPr userDrawn="1"/>
          </p:nvSpPr>
          <p:spPr bwMode="auto">
            <a:xfrm>
              <a:off x="7492871" y="3678237"/>
              <a:ext cx="2409825" cy="1389063"/>
            </a:xfrm>
            <a:custGeom>
              <a:avLst/>
              <a:gdLst>
                <a:gd name="T0" fmla="*/ 9 w 730"/>
                <a:gd name="T1" fmla="*/ 117 h 421"/>
                <a:gd name="T2" fmla="*/ 203 w 730"/>
                <a:gd name="T3" fmla="*/ 5 h 421"/>
                <a:gd name="T4" fmla="*/ 232 w 730"/>
                <a:gd name="T5" fmla="*/ 4 h 421"/>
                <a:gd name="T6" fmla="*/ 723 w 730"/>
                <a:gd name="T7" fmla="*/ 287 h 421"/>
                <a:gd name="T8" fmla="*/ 721 w 730"/>
                <a:gd name="T9" fmla="*/ 304 h 421"/>
                <a:gd name="T10" fmla="*/ 526 w 730"/>
                <a:gd name="T11" fmla="*/ 416 h 421"/>
                <a:gd name="T12" fmla="*/ 498 w 730"/>
                <a:gd name="T13" fmla="*/ 417 h 421"/>
                <a:gd name="T14" fmla="*/ 7 w 730"/>
                <a:gd name="T15" fmla="*/ 133 h 421"/>
                <a:gd name="T16" fmla="*/ 9 w 730"/>
                <a:gd name="T17" fmla="*/ 11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421">
                  <a:moveTo>
                    <a:pt x="9" y="117"/>
                  </a:moveTo>
                  <a:cubicBezTo>
                    <a:pt x="203" y="5"/>
                    <a:pt x="203" y="5"/>
                    <a:pt x="203" y="5"/>
                  </a:cubicBezTo>
                  <a:cubicBezTo>
                    <a:pt x="212" y="0"/>
                    <a:pt x="224" y="0"/>
                    <a:pt x="232" y="4"/>
                  </a:cubicBezTo>
                  <a:cubicBezTo>
                    <a:pt x="723" y="287"/>
                    <a:pt x="723" y="287"/>
                    <a:pt x="723" y="287"/>
                  </a:cubicBezTo>
                  <a:cubicBezTo>
                    <a:pt x="730" y="292"/>
                    <a:pt x="729" y="299"/>
                    <a:pt x="721" y="304"/>
                  </a:cubicBezTo>
                  <a:cubicBezTo>
                    <a:pt x="526" y="416"/>
                    <a:pt x="526" y="416"/>
                    <a:pt x="526" y="416"/>
                  </a:cubicBezTo>
                  <a:cubicBezTo>
                    <a:pt x="518" y="421"/>
                    <a:pt x="506" y="421"/>
                    <a:pt x="498" y="417"/>
                  </a:cubicBezTo>
                  <a:cubicBezTo>
                    <a:pt x="7" y="133"/>
                    <a:pt x="7" y="133"/>
                    <a:pt x="7" y="133"/>
                  </a:cubicBezTo>
                  <a:cubicBezTo>
                    <a:pt x="0" y="129"/>
                    <a:pt x="1" y="122"/>
                    <a:pt x="9" y="117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3" name="任意多边形: 形状 502"/>
            <p:cNvSpPr/>
            <p:nvPr userDrawn="1"/>
          </p:nvSpPr>
          <p:spPr bwMode="auto">
            <a:xfrm>
              <a:off x="7648446" y="4473575"/>
              <a:ext cx="874713" cy="504825"/>
            </a:xfrm>
            <a:custGeom>
              <a:avLst/>
              <a:gdLst>
                <a:gd name="T0" fmla="*/ 9 w 265"/>
                <a:gd name="T1" fmla="*/ 49 h 153"/>
                <a:gd name="T2" fmla="*/ 84 w 265"/>
                <a:gd name="T3" fmla="*/ 5 h 153"/>
                <a:gd name="T4" fmla="*/ 113 w 265"/>
                <a:gd name="T5" fmla="*/ 4 h 153"/>
                <a:gd name="T6" fmla="*/ 258 w 265"/>
                <a:gd name="T7" fmla="*/ 88 h 153"/>
                <a:gd name="T8" fmla="*/ 256 w 265"/>
                <a:gd name="T9" fmla="*/ 104 h 153"/>
                <a:gd name="T10" fmla="*/ 181 w 265"/>
                <a:gd name="T11" fmla="*/ 148 h 153"/>
                <a:gd name="T12" fmla="*/ 152 w 265"/>
                <a:gd name="T13" fmla="*/ 149 h 153"/>
                <a:gd name="T14" fmla="*/ 7 w 265"/>
                <a:gd name="T15" fmla="*/ 65 h 153"/>
                <a:gd name="T16" fmla="*/ 9 w 265"/>
                <a:gd name="T17" fmla="*/ 4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5" h="153">
                  <a:moveTo>
                    <a:pt x="9" y="49"/>
                  </a:moveTo>
                  <a:cubicBezTo>
                    <a:pt x="84" y="5"/>
                    <a:pt x="84" y="5"/>
                    <a:pt x="84" y="5"/>
                  </a:cubicBezTo>
                  <a:cubicBezTo>
                    <a:pt x="93" y="0"/>
                    <a:pt x="106" y="0"/>
                    <a:pt x="113" y="4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65" y="92"/>
                    <a:pt x="265" y="99"/>
                    <a:pt x="256" y="104"/>
                  </a:cubicBezTo>
                  <a:cubicBezTo>
                    <a:pt x="181" y="148"/>
                    <a:pt x="181" y="148"/>
                    <a:pt x="181" y="148"/>
                  </a:cubicBezTo>
                  <a:cubicBezTo>
                    <a:pt x="172" y="153"/>
                    <a:pt x="159" y="153"/>
                    <a:pt x="152" y="149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0" y="61"/>
                    <a:pt x="1" y="54"/>
                    <a:pt x="9" y="49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4" name="任意多边形: 形状 503"/>
            <p:cNvSpPr/>
            <p:nvPr userDrawn="1"/>
          </p:nvSpPr>
          <p:spPr bwMode="auto">
            <a:xfrm>
              <a:off x="8123108" y="3711575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5" name="任意多边形: 形状 504"/>
            <p:cNvSpPr/>
            <p:nvPr userDrawn="1"/>
          </p:nvSpPr>
          <p:spPr bwMode="auto">
            <a:xfrm>
              <a:off x="8312021" y="381793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3 h 41"/>
                <a:gd name="T8" fmla="*/ 33 w 71"/>
                <a:gd name="T9" fmla="*/ 3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5"/>
                    <a:pt x="3" y="12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4" y="0"/>
                    <a:pt x="30" y="0"/>
                    <a:pt x="33" y="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6" name="任意多边形: 形状 505"/>
            <p:cNvSpPr/>
            <p:nvPr userDrawn="1"/>
          </p:nvSpPr>
          <p:spPr bwMode="auto">
            <a:xfrm>
              <a:off x="8496171" y="3925887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7" name="任意多边形: 形状 506"/>
            <p:cNvSpPr/>
            <p:nvPr userDrawn="1"/>
          </p:nvSpPr>
          <p:spPr bwMode="auto">
            <a:xfrm>
              <a:off x="8681908" y="4032250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8" name="任意多边形: 形状 507"/>
            <p:cNvSpPr/>
            <p:nvPr userDrawn="1"/>
          </p:nvSpPr>
          <p:spPr bwMode="auto">
            <a:xfrm>
              <a:off x="8866058" y="4140200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9" name="任意多边形: 形状 508"/>
            <p:cNvSpPr/>
            <p:nvPr userDrawn="1"/>
          </p:nvSpPr>
          <p:spPr bwMode="auto">
            <a:xfrm>
              <a:off x="9050208" y="4246562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0" name="任意多边形: 形状 509"/>
            <p:cNvSpPr/>
            <p:nvPr userDrawn="1"/>
          </p:nvSpPr>
          <p:spPr bwMode="auto">
            <a:xfrm>
              <a:off x="9239121" y="4354512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1" name="任意多边形: 形状 510"/>
            <p:cNvSpPr/>
            <p:nvPr userDrawn="1"/>
          </p:nvSpPr>
          <p:spPr bwMode="auto">
            <a:xfrm>
              <a:off x="9423271" y="4459287"/>
              <a:ext cx="234950" cy="136525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2" name="任意多边形: 形状 511"/>
            <p:cNvSpPr/>
            <p:nvPr userDrawn="1"/>
          </p:nvSpPr>
          <p:spPr bwMode="auto">
            <a:xfrm>
              <a:off x="9609008" y="4568825"/>
              <a:ext cx="233363" cy="134938"/>
            </a:xfrm>
            <a:custGeom>
              <a:avLst/>
              <a:gdLst>
                <a:gd name="T0" fmla="*/ 37 w 71"/>
                <a:gd name="T1" fmla="*/ 38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8 h 41"/>
                <a:gd name="T16" fmla="*/ 37 w 71"/>
                <a:gd name="T17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8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47" y="41"/>
                    <a:pt x="41" y="41"/>
                    <a:pt x="37" y="3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3" name="任意多边形: 形状 512"/>
            <p:cNvSpPr/>
            <p:nvPr userDrawn="1"/>
          </p:nvSpPr>
          <p:spPr bwMode="auto">
            <a:xfrm>
              <a:off x="7994521" y="3787775"/>
              <a:ext cx="320675" cy="184150"/>
            </a:xfrm>
            <a:custGeom>
              <a:avLst/>
              <a:gdLst>
                <a:gd name="T0" fmla="*/ 64 w 97"/>
                <a:gd name="T1" fmla="*/ 54 h 56"/>
                <a:gd name="T2" fmla="*/ 3 w 97"/>
                <a:gd name="T3" fmla="*/ 20 h 56"/>
                <a:gd name="T4" fmla="*/ 3 w 97"/>
                <a:gd name="T5" fmla="*/ 12 h 56"/>
                <a:gd name="T6" fmla="*/ 20 w 97"/>
                <a:gd name="T7" fmla="*/ 2 h 56"/>
                <a:gd name="T8" fmla="*/ 33 w 97"/>
                <a:gd name="T9" fmla="*/ 2 h 56"/>
                <a:gd name="T10" fmla="*/ 94 w 97"/>
                <a:gd name="T11" fmla="*/ 37 h 56"/>
                <a:gd name="T12" fmla="*/ 94 w 97"/>
                <a:gd name="T13" fmla="*/ 45 h 56"/>
                <a:gd name="T14" fmla="*/ 77 w 97"/>
                <a:gd name="T15" fmla="*/ 54 h 56"/>
                <a:gd name="T16" fmla="*/ 64 w 97"/>
                <a:gd name="T17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7" h="56">
                  <a:moveTo>
                    <a:pt x="64" y="5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7" y="39"/>
                    <a:pt x="97" y="42"/>
                    <a:pt x="94" y="45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3" y="56"/>
                    <a:pt x="67" y="56"/>
                    <a:pt x="64" y="54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4" name="任意多边形: 形状 513"/>
            <p:cNvSpPr/>
            <p:nvPr userDrawn="1"/>
          </p:nvSpPr>
          <p:spPr bwMode="auto">
            <a:xfrm>
              <a:off x="8269158" y="3946525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5" name="任意多边形: 形状 514"/>
            <p:cNvSpPr/>
            <p:nvPr userDrawn="1"/>
          </p:nvSpPr>
          <p:spPr bwMode="auto">
            <a:xfrm>
              <a:off x="8453308" y="4051300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6" name="任意多边形: 形状 515"/>
            <p:cNvSpPr/>
            <p:nvPr userDrawn="1"/>
          </p:nvSpPr>
          <p:spPr bwMode="auto">
            <a:xfrm>
              <a:off x="8639046" y="416083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7" name="任意多边形: 形状 516"/>
            <p:cNvSpPr/>
            <p:nvPr userDrawn="1"/>
          </p:nvSpPr>
          <p:spPr bwMode="auto">
            <a:xfrm>
              <a:off x="8823196" y="4265612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8" name="任意多边形: 形状 517"/>
            <p:cNvSpPr/>
            <p:nvPr userDrawn="1"/>
          </p:nvSpPr>
          <p:spPr bwMode="auto">
            <a:xfrm>
              <a:off x="9007346" y="4373562"/>
              <a:ext cx="234950" cy="136525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9" name="任意多边形: 形状 518"/>
            <p:cNvSpPr/>
            <p:nvPr userDrawn="1"/>
          </p:nvSpPr>
          <p:spPr bwMode="auto">
            <a:xfrm>
              <a:off x="9196258" y="4479925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0" name="任意多边形: 形状 519"/>
            <p:cNvSpPr/>
            <p:nvPr userDrawn="1"/>
          </p:nvSpPr>
          <p:spPr bwMode="auto">
            <a:xfrm>
              <a:off x="9383583" y="4587875"/>
              <a:ext cx="327025" cy="192088"/>
            </a:xfrm>
            <a:custGeom>
              <a:avLst/>
              <a:gdLst>
                <a:gd name="T0" fmla="*/ 65 w 99"/>
                <a:gd name="T1" fmla="*/ 55 h 58"/>
                <a:gd name="T2" fmla="*/ 4 w 99"/>
                <a:gd name="T3" fmla="*/ 20 h 58"/>
                <a:gd name="T4" fmla="*/ 4 w 99"/>
                <a:gd name="T5" fmla="*/ 12 h 58"/>
                <a:gd name="T6" fmla="*/ 21 w 99"/>
                <a:gd name="T7" fmla="*/ 2 h 58"/>
                <a:gd name="T8" fmla="*/ 34 w 99"/>
                <a:gd name="T9" fmla="*/ 2 h 58"/>
                <a:gd name="T10" fmla="*/ 96 w 99"/>
                <a:gd name="T11" fmla="*/ 38 h 58"/>
                <a:gd name="T12" fmla="*/ 96 w 99"/>
                <a:gd name="T13" fmla="*/ 46 h 58"/>
                <a:gd name="T14" fmla="*/ 79 w 99"/>
                <a:gd name="T15" fmla="*/ 55 h 58"/>
                <a:gd name="T16" fmla="*/ 65 w 99"/>
                <a:gd name="T17" fmla="*/ 5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58">
                  <a:moveTo>
                    <a:pt x="65" y="55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9" y="40"/>
                    <a:pt x="99" y="44"/>
                    <a:pt x="96" y="46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5" y="58"/>
                    <a:pt x="69" y="58"/>
                    <a:pt x="65" y="55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1" name="任意多边形: 形状 520"/>
            <p:cNvSpPr/>
            <p:nvPr userDrawn="1"/>
          </p:nvSpPr>
          <p:spPr bwMode="auto">
            <a:xfrm>
              <a:off x="7730996" y="3938587"/>
              <a:ext cx="322263" cy="185738"/>
            </a:xfrm>
            <a:custGeom>
              <a:avLst/>
              <a:gdLst>
                <a:gd name="T0" fmla="*/ 64 w 98"/>
                <a:gd name="T1" fmla="*/ 54 h 56"/>
                <a:gd name="T2" fmla="*/ 4 w 98"/>
                <a:gd name="T3" fmla="*/ 19 h 56"/>
                <a:gd name="T4" fmla="*/ 4 w 98"/>
                <a:gd name="T5" fmla="*/ 12 h 56"/>
                <a:gd name="T6" fmla="*/ 21 w 98"/>
                <a:gd name="T7" fmla="*/ 2 h 56"/>
                <a:gd name="T8" fmla="*/ 34 w 98"/>
                <a:gd name="T9" fmla="*/ 2 h 56"/>
                <a:gd name="T10" fmla="*/ 94 w 98"/>
                <a:gd name="T11" fmla="*/ 37 h 56"/>
                <a:gd name="T12" fmla="*/ 94 w 98"/>
                <a:gd name="T13" fmla="*/ 44 h 56"/>
                <a:gd name="T14" fmla="*/ 77 w 98"/>
                <a:gd name="T15" fmla="*/ 54 h 56"/>
                <a:gd name="T16" fmla="*/ 64 w 98"/>
                <a:gd name="T17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56">
                  <a:moveTo>
                    <a:pt x="64" y="54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8" y="39"/>
                    <a:pt x="98" y="42"/>
                    <a:pt x="94" y="4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3" y="56"/>
                    <a:pt x="68" y="56"/>
                    <a:pt x="64" y="54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2" name="任意多边形: 形状 521"/>
            <p:cNvSpPr/>
            <p:nvPr userDrawn="1"/>
          </p:nvSpPr>
          <p:spPr bwMode="auto">
            <a:xfrm>
              <a:off x="8004046" y="4097337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3" name="任意多边形: 形状 522"/>
            <p:cNvSpPr/>
            <p:nvPr userDrawn="1"/>
          </p:nvSpPr>
          <p:spPr bwMode="auto">
            <a:xfrm>
              <a:off x="8189783" y="4203700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4" name="任意多边形: 形状 523"/>
            <p:cNvSpPr/>
            <p:nvPr userDrawn="1"/>
          </p:nvSpPr>
          <p:spPr bwMode="auto">
            <a:xfrm>
              <a:off x="8373933" y="4311650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5" name="任意多边形: 形状 524"/>
            <p:cNvSpPr/>
            <p:nvPr userDrawn="1"/>
          </p:nvSpPr>
          <p:spPr bwMode="auto">
            <a:xfrm>
              <a:off x="8562846" y="4416425"/>
              <a:ext cx="233363" cy="136525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6" name="任意多边形: 形状 525"/>
            <p:cNvSpPr/>
            <p:nvPr userDrawn="1"/>
          </p:nvSpPr>
          <p:spPr bwMode="auto">
            <a:xfrm>
              <a:off x="8746996" y="4525962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7" name="任意多边形: 形状 526"/>
            <p:cNvSpPr/>
            <p:nvPr userDrawn="1"/>
          </p:nvSpPr>
          <p:spPr bwMode="auto">
            <a:xfrm>
              <a:off x="8932733" y="4630737"/>
              <a:ext cx="233363" cy="136525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8" name="任意多边形: 形状 527"/>
            <p:cNvSpPr/>
            <p:nvPr userDrawn="1"/>
          </p:nvSpPr>
          <p:spPr bwMode="auto">
            <a:xfrm>
              <a:off x="9123233" y="4740275"/>
              <a:ext cx="327025" cy="190500"/>
            </a:xfrm>
            <a:custGeom>
              <a:avLst/>
              <a:gdLst>
                <a:gd name="T0" fmla="*/ 65 w 99"/>
                <a:gd name="T1" fmla="*/ 55 h 58"/>
                <a:gd name="T2" fmla="*/ 3 w 99"/>
                <a:gd name="T3" fmla="*/ 20 h 58"/>
                <a:gd name="T4" fmla="*/ 3 w 99"/>
                <a:gd name="T5" fmla="*/ 12 h 58"/>
                <a:gd name="T6" fmla="*/ 20 w 99"/>
                <a:gd name="T7" fmla="*/ 2 h 58"/>
                <a:gd name="T8" fmla="*/ 33 w 99"/>
                <a:gd name="T9" fmla="*/ 2 h 58"/>
                <a:gd name="T10" fmla="*/ 95 w 99"/>
                <a:gd name="T11" fmla="*/ 38 h 58"/>
                <a:gd name="T12" fmla="*/ 95 w 99"/>
                <a:gd name="T13" fmla="*/ 46 h 58"/>
                <a:gd name="T14" fmla="*/ 78 w 99"/>
                <a:gd name="T15" fmla="*/ 55 h 58"/>
                <a:gd name="T16" fmla="*/ 65 w 99"/>
                <a:gd name="T17" fmla="*/ 5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58">
                  <a:moveTo>
                    <a:pt x="65" y="55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9" y="40"/>
                    <a:pt x="99" y="43"/>
                    <a:pt x="95" y="46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4" y="58"/>
                    <a:pt x="68" y="58"/>
                    <a:pt x="65" y="55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9" name="任意多边形: 形状 528"/>
            <p:cNvSpPr/>
            <p:nvPr userDrawn="1"/>
          </p:nvSpPr>
          <p:spPr bwMode="auto">
            <a:xfrm>
              <a:off x="7862758" y="3863975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0" name="任意多边形: 形状 529"/>
            <p:cNvSpPr/>
            <p:nvPr userDrawn="1"/>
          </p:nvSpPr>
          <p:spPr bwMode="auto">
            <a:xfrm>
              <a:off x="8046908" y="3968750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3 h 41"/>
                <a:gd name="T8" fmla="*/ 34 w 71"/>
                <a:gd name="T9" fmla="*/ 3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4" y="0"/>
                    <a:pt x="30" y="0"/>
                    <a:pt x="34" y="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1" name="任意多边形: 形状 530"/>
            <p:cNvSpPr/>
            <p:nvPr userDrawn="1"/>
          </p:nvSpPr>
          <p:spPr bwMode="auto">
            <a:xfrm>
              <a:off x="8232646" y="407828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2" name="任意多边形: 形状 531"/>
            <p:cNvSpPr/>
            <p:nvPr userDrawn="1"/>
          </p:nvSpPr>
          <p:spPr bwMode="auto">
            <a:xfrm>
              <a:off x="8416796" y="4183062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3" name="任意多边形: 形状 532"/>
            <p:cNvSpPr/>
            <p:nvPr userDrawn="1"/>
          </p:nvSpPr>
          <p:spPr bwMode="auto">
            <a:xfrm>
              <a:off x="8605708" y="4292600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19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4" name="任意多边形: 形状 533"/>
            <p:cNvSpPr/>
            <p:nvPr userDrawn="1"/>
          </p:nvSpPr>
          <p:spPr bwMode="auto">
            <a:xfrm>
              <a:off x="8789858" y="4397375"/>
              <a:ext cx="234950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5" name="任意多边形: 形状 534"/>
            <p:cNvSpPr/>
            <p:nvPr userDrawn="1"/>
          </p:nvSpPr>
          <p:spPr bwMode="auto">
            <a:xfrm>
              <a:off x="8975596" y="4506912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6" name="任意多边形: 形状 535"/>
            <p:cNvSpPr/>
            <p:nvPr userDrawn="1"/>
          </p:nvSpPr>
          <p:spPr bwMode="auto">
            <a:xfrm>
              <a:off x="9162921" y="4611687"/>
              <a:ext cx="415925" cy="244475"/>
            </a:xfrm>
            <a:custGeom>
              <a:avLst/>
              <a:gdLst>
                <a:gd name="T0" fmla="*/ 93 w 126"/>
                <a:gd name="T1" fmla="*/ 71 h 74"/>
                <a:gd name="T2" fmla="*/ 3 w 126"/>
                <a:gd name="T3" fmla="*/ 20 h 74"/>
                <a:gd name="T4" fmla="*/ 3 w 126"/>
                <a:gd name="T5" fmla="*/ 12 h 74"/>
                <a:gd name="T6" fmla="*/ 20 w 126"/>
                <a:gd name="T7" fmla="*/ 2 h 74"/>
                <a:gd name="T8" fmla="*/ 33 w 126"/>
                <a:gd name="T9" fmla="*/ 2 h 74"/>
                <a:gd name="T10" fmla="*/ 123 w 126"/>
                <a:gd name="T11" fmla="*/ 54 h 74"/>
                <a:gd name="T12" fmla="*/ 123 w 126"/>
                <a:gd name="T13" fmla="*/ 62 h 74"/>
                <a:gd name="T14" fmla="*/ 106 w 126"/>
                <a:gd name="T15" fmla="*/ 71 h 74"/>
                <a:gd name="T16" fmla="*/ 93 w 126"/>
                <a:gd name="T17" fmla="*/ 7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74">
                  <a:moveTo>
                    <a:pt x="93" y="71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6" y="56"/>
                    <a:pt x="126" y="59"/>
                    <a:pt x="123" y="62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2" y="74"/>
                    <a:pt x="96" y="74"/>
                    <a:pt x="93" y="71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7" name="任意多边形: 形状 536"/>
            <p:cNvSpPr/>
            <p:nvPr userDrawn="1"/>
          </p:nvSpPr>
          <p:spPr bwMode="auto">
            <a:xfrm>
              <a:off x="7599233" y="401478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0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1"/>
                    <a:pt x="41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8" name="任意多边形: 形状 537"/>
            <p:cNvSpPr/>
            <p:nvPr userDrawn="1"/>
          </p:nvSpPr>
          <p:spPr bwMode="auto">
            <a:xfrm>
              <a:off x="7783383" y="4121150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20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2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0" y="18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1" y="24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9" name="任意多边形: 形状 538"/>
            <p:cNvSpPr/>
            <p:nvPr userDrawn="1"/>
          </p:nvSpPr>
          <p:spPr bwMode="auto">
            <a:xfrm>
              <a:off x="7972296" y="4229100"/>
              <a:ext cx="787400" cy="455613"/>
            </a:xfrm>
            <a:custGeom>
              <a:avLst/>
              <a:gdLst>
                <a:gd name="T0" fmla="*/ 205 w 239"/>
                <a:gd name="T1" fmla="*/ 136 h 138"/>
                <a:gd name="T2" fmla="*/ 3 w 239"/>
                <a:gd name="T3" fmla="*/ 19 h 138"/>
                <a:gd name="T4" fmla="*/ 3 w 239"/>
                <a:gd name="T5" fmla="*/ 12 h 138"/>
                <a:gd name="T6" fmla="*/ 20 w 239"/>
                <a:gd name="T7" fmla="*/ 2 h 138"/>
                <a:gd name="T8" fmla="*/ 33 w 239"/>
                <a:gd name="T9" fmla="*/ 2 h 138"/>
                <a:gd name="T10" fmla="*/ 236 w 239"/>
                <a:gd name="T11" fmla="*/ 119 h 138"/>
                <a:gd name="T12" fmla="*/ 236 w 239"/>
                <a:gd name="T13" fmla="*/ 126 h 138"/>
                <a:gd name="T14" fmla="*/ 218 w 239"/>
                <a:gd name="T15" fmla="*/ 136 h 138"/>
                <a:gd name="T16" fmla="*/ 205 w 239"/>
                <a:gd name="T17" fmla="*/ 13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9" h="138">
                  <a:moveTo>
                    <a:pt x="205" y="136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39" y="121"/>
                    <a:pt x="239" y="124"/>
                    <a:pt x="236" y="126"/>
                  </a:cubicBezTo>
                  <a:cubicBezTo>
                    <a:pt x="218" y="136"/>
                    <a:pt x="218" y="136"/>
                    <a:pt x="218" y="136"/>
                  </a:cubicBezTo>
                  <a:cubicBezTo>
                    <a:pt x="215" y="138"/>
                    <a:pt x="209" y="138"/>
                    <a:pt x="205" y="136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0" name="任意多边形: 形状 539"/>
            <p:cNvSpPr/>
            <p:nvPr userDrawn="1"/>
          </p:nvSpPr>
          <p:spPr bwMode="auto">
            <a:xfrm>
              <a:off x="8710483" y="4657725"/>
              <a:ext cx="234950" cy="134938"/>
            </a:xfrm>
            <a:custGeom>
              <a:avLst/>
              <a:gdLst>
                <a:gd name="T0" fmla="*/ 38 w 71"/>
                <a:gd name="T1" fmla="*/ 39 h 41"/>
                <a:gd name="T2" fmla="*/ 4 w 71"/>
                <a:gd name="T3" fmla="*/ 19 h 41"/>
                <a:gd name="T4" fmla="*/ 4 w 71"/>
                <a:gd name="T5" fmla="*/ 12 h 41"/>
                <a:gd name="T6" fmla="*/ 21 w 71"/>
                <a:gd name="T7" fmla="*/ 2 h 41"/>
                <a:gd name="T8" fmla="*/ 34 w 71"/>
                <a:gd name="T9" fmla="*/ 2 h 41"/>
                <a:gd name="T10" fmla="*/ 68 w 71"/>
                <a:gd name="T11" fmla="*/ 21 h 41"/>
                <a:gd name="T12" fmla="*/ 68 w 71"/>
                <a:gd name="T13" fmla="*/ 29 h 41"/>
                <a:gd name="T14" fmla="*/ 51 w 71"/>
                <a:gd name="T15" fmla="*/ 39 h 41"/>
                <a:gd name="T16" fmla="*/ 38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8" y="3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0" y="17"/>
                    <a:pt x="0" y="14"/>
                    <a:pt x="4" y="1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0"/>
                    <a:pt x="31" y="0"/>
                    <a:pt x="34" y="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71" y="23"/>
                    <a:pt x="71" y="27"/>
                    <a:pt x="68" y="2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1" y="41"/>
                    <a:pt x="38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1" name="任意多边形: 形状 540"/>
            <p:cNvSpPr/>
            <p:nvPr userDrawn="1"/>
          </p:nvSpPr>
          <p:spPr bwMode="auto">
            <a:xfrm>
              <a:off x="8899396" y="4764087"/>
              <a:ext cx="233363" cy="134938"/>
            </a:xfrm>
            <a:custGeom>
              <a:avLst/>
              <a:gdLst>
                <a:gd name="T0" fmla="*/ 37 w 71"/>
                <a:gd name="T1" fmla="*/ 39 h 41"/>
                <a:gd name="T2" fmla="*/ 3 w 71"/>
                <a:gd name="T3" fmla="*/ 20 h 41"/>
                <a:gd name="T4" fmla="*/ 3 w 71"/>
                <a:gd name="T5" fmla="*/ 12 h 41"/>
                <a:gd name="T6" fmla="*/ 20 w 71"/>
                <a:gd name="T7" fmla="*/ 2 h 41"/>
                <a:gd name="T8" fmla="*/ 33 w 71"/>
                <a:gd name="T9" fmla="*/ 2 h 41"/>
                <a:gd name="T10" fmla="*/ 67 w 71"/>
                <a:gd name="T11" fmla="*/ 22 h 41"/>
                <a:gd name="T12" fmla="*/ 67 w 71"/>
                <a:gd name="T13" fmla="*/ 29 h 41"/>
                <a:gd name="T14" fmla="*/ 50 w 71"/>
                <a:gd name="T15" fmla="*/ 39 h 41"/>
                <a:gd name="T16" fmla="*/ 37 w 71"/>
                <a:gd name="T1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18"/>
                    <a:pt x="0" y="14"/>
                    <a:pt x="3" y="1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4" y="0"/>
                    <a:pt x="30" y="0"/>
                    <a:pt x="33" y="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71" y="24"/>
                    <a:pt x="71" y="27"/>
                    <a:pt x="67" y="2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6" y="41"/>
                    <a:pt x="40" y="41"/>
                    <a:pt x="37" y="39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2" name="任意多边形: 形状 541"/>
            <p:cNvSpPr/>
            <p:nvPr userDrawn="1"/>
          </p:nvSpPr>
          <p:spPr bwMode="auto">
            <a:xfrm>
              <a:off x="9083546" y="4872037"/>
              <a:ext cx="234950" cy="134938"/>
            </a:xfrm>
            <a:custGeom>
              <a:avLst/>
              <a:gdLst>
                <a:gd name="T0" fmla="*/ 37 w 71"/>
                <a:gd name="T1" fmla="*/ 38 h 41"/>
                <a:gd name="T2" fmla="*/ 3 w 71"/>
                <a:gd name="T3" fmla="*/ 19 h 41"/>
                <a:gd name="T4" fmla="*/ 3 w 71"/>
                <a:gd name="T5" fmla="*/ 11 h 41"/>
                <a:gd name="T6" fmla="*/ 21 w 71"/>
                <a:gd name="T7" fmla="*/ 2 h 41"/>
                <a:gd name="T8" fmla="*/ 34 w 71"/>
                <a:gd name="T9" fmla="*/ 2 h 41"/>
                <a:gd name="T10" fmla="*/ 67 w 71"/>
                <a:gd name="T11" fmla="*/ 21 h 41"/>
                <a:gd name="T12" fmla="*/ 67 w 71"/>
                <a:gd name="T13" fmla="*/ 29 h 41"/>
                <a:gd name="T14" fmla="*/ 50 w 71"/>
                <a:gd name="T15" fmla="*/ 38 h 41"/>
                <a:gd name="T16" fmla="*/ 37 w 71"/>
                <a:gd name="T17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1">
                  <a:moveTo>
                    <a:pt x="37" y="38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0"/>
                    <a:pt x="30" y="0"/>
                    <a:pt x="34" y="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71" y="23"/>
                    <a:pt x="71" y="26"/>
                    <a:pt x="67" y="29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46" y="41"/>
                    <a:pt x="41" y="41"/>
                    <a:pt x="37" y="38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3" name="任意多边形: 形状 542"/>
            <p:cNvSpPr/>
            <p:nvPr userDrawn="1"/>
          </p:nvSpPr>
          <p:spPr bwMode="auto">
            <a:xfrm>
              <a:off x="9661396" y="4862512"/>
              <a:ext cx="122238" cy="101600"/>
            </a:xfrm>
            <a:custGeom>
              <a:avLst/>
              <a:gdLst>
                <a:gd name="T0" fmla="*/ 0 w 37"/>
                <a:gd name="T1" fmla="*/ 29 h 31"/>
                <a:gd name="T2" fmla="*/ 0 w 37"/>
                <a:gd name="T3" fmla="*/ 23 h 31"/>
                <a:gd name="T4" fmla="*/ 2 w 37"/>
                <a:gd name="T5" fmla="*/ 20 h 31"/>
                <a:gd name="T6" fmla="*/ 35 w 37"/>
                <a:gd name="T7" fmla="*/ 0 h 31"/>
                <a:gd name="T8" fmla="*/ 37 w 37"/>
                <a:gd name="T9" fmla="*/ 2 h 31"/>
                <a:gd name="T10" fmla="*/ 37 w 37"/>
                <a:gd name="T11" fmla="*/ 8 h 31"/>
                <a:gd name="T12" fmla="*/ 35 w 37"/>
                <a:gd name="T13" fmla="*/ 11 h 31"/>
                <a:gd name="T14" fmla="*/ 2 w 37"/>
                <a:gd name="T15" fmla="*/ 30 h 31"/>
                <a:gd name="T16" fmla="*/ 0 w 37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1">
                  <a:moveTo>
                    <a:pt x="0" y="29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2"/>
                    <a:pt x="0" y="20"/>
                    <a:pt x="2" y="2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0"/>
                    <a:pt x="37" y="2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9"/>
                    <a:pt x="36" y="11"/>
                    <a:pt x="35" y="1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1"/>
                    <a:pt x="0" y="30"/>
                    <a:pt x="0" y="29"/>
                  </a:cubicBez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4" name="任意多边形: 形状 543"/>
            <p:cNvSpPr/>
            <p:nvPr userDrawn="1"/>
          </p:nvSpPr>
          <p:spPr bwMode="auto">
            <a:xfrm>
              <a:off x="9496296" y="4954587"/>
              <a:ext cx="122238" cy="104775"/>
            </a:xfrm>
            <a:custGeom>
              <a:avLst/>
              <a:gdLst>
                <a:gd name="T0" fmla="*/ 0 w 37"/>
                <a:gd name="T1" fmla="*/ 30 h 32"/>
                <a:gd name="T2" fmla="*/ 0 w 37"/>
                <a:gd name="T3" fmla="*/ 24 h 32"/>
                <a:gd name="T4" fmla="*/ 2 w 37"/>
                <a:gd name="T5" fmla="*/ 20 h 32"/>
                <a:gd name="T6" fmla="*/ 35 w 37"/>
                <a:gd name="T7" fmla="*/ 1 h 32"/>
                <a:gd name="T8" fmla="*/ 37 w 37"/>
                <a:gd name="T9" fmla="*/ 2 h 32"/>
                <a:gd name="T10" fmla="*/ 37 w 37"/>
                <a:gd name="T11" fmla="*/ 8 h 32"/>
                <a:gd name="T12" fmla="*/ 35 w 37"/>
                <a:gd name="T13" fmla="*/ 12 h 32"/>
                <a:gd name="T14" fmla="*/ 2 w 37"/>
                <a:gd name="T15" fmla="*/ 31 h 32"/>
                <a:gd name="T16" fmla="*/ 0 w 37"/>
                <a:gd name="T17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2">
                  <a:moveTo>
                    <a:pt x="0" y="3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1" y="21"/>
                    <a:pt x="2" y="20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0"/>
                    <a:pt x="37" y="1"/>
                    <a:pt x="37" y="2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10"/>
                    <a:pt x="36" y="11"/>
                    <a:pt x="35" y="1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2"/>
                    <a:pt x="0" y="31"/>
                    <a:pt x="0" y="30"/>
                  </a:cubicBez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5" name="任意多边形: 形状 544"/>
            <p:cNvSpPr/>
            <p:nvPr userDrawn="1"/>
          </p:nvSpPr>
          <p:spPr bwMode="auto">
            <a:xfrm>
              <a:off x="8067546" y="2614612"/>
              <a:ext cx="633413" cy="1225550"/>
            </a:xfrm>
            <a:custGeom>
              <a:avLst/>
              <a:gdLst>
                <a:gd name="T0" fmla="*/ 185 w 192"/>
                <a:gd name="T1" fmla="*/ 254 h 372"/>
                <a:gd name="T2" fmla="*/ 55 w 192"/>
                <a:gd name="T3" fmla="*/ 372 h 372"/>
                <a:gd name="T4" fmla="*/ 0 w 192"/>
                <a:gd name="T5" fmla="*/ 123 h 372"/>
                <a:gd name="T6" fmla="*/ 131 w 192"/>
                <a:gd name="T7" fmla="*/ 4 h 372"/>
                <a:gd name="T8" fmla="*/ 142 w 192"/>
                <a:gd name="T9" fmla="*/ 10 h 372"/>
                <a:gd name="T10" fmla="*/ 191 w 192"/>
                <a:gd name="T11" fmla="*/ 233 h 372"/>
                <a:gd name="T12" fmla="*/ 185 w 192"/>
                <a:gd name="T13" fmla="*/ 25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372">
                  <a:moveTo>
                    <a:pt x="185" y="254"/>
                  </a:moveTo>
                  <a:cubicBezTo>
                    <a:pt x="55" y="372"/>
                    <a:pt x="55" y="372"/>
                    <a:pt x="55" y="37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36" y="0"/>
                    <a:pt x="141" y="3"/>
                    <a:pt x="142" y="10"/>
                  </a:cubicBezTo>
                  <a:cubicBezTo>
                    <a:pt x="191" y="233"/>
                    <a:pt x="191" y="233"/>
                    <a:pt x="191" y="233"/>
                  </a:cubicBezTo>
                  <a:cubicBezTo>
                    <a:pt x="192" y="240"/>
                    <a:pt x="190" y="250"/>
                    <a:pt x="185" y="2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6" name="任意多边形: 形状 545"/>
            <p:cNvSpPr/>
            <p:nvPr userDrawn="1"/>
          </p:nvSpPr>
          <p:spPr bwMode="auto">
            <a:xfrm>
              <a:off x="8100883" y="2682875"/>
              <a:ext cx="560388" cy="419100"/>
            </a:xfrm>
            <a:custGeom>
              <a:avLst/>
              <a:gdLst>
                <a:gd name="T0" fmla="*/ 95 w 353"/>
                <a:gd name="T1" fmla="*/ 264 h 264"/>
                <a:gd name="T2" fmla="*/ 0 w 353"/>
                <a:gd name="T3" fmla="*/ 233 h 264"/>
                <a:gd name="T4" fmla="*/ 257 w 353"/>
                <a:gd name="T5" fmla="*/ 0 h 264"/>
                <a:gd name="T6" fmla="*/ 353 w 353"/>
                <a:gd name="T7" fmla="*/ 31 h 264"/>
                <a:gd name="T8" fmla="*/ 95 w 353"/>
                <a:gd name="T9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264">
                  <a:moveTo>
                    <a:pt x="95" y="264"/>
                  </a:moveTo>
                  <a:lnTo>
                    <a:pt x="0" y="233"/>
                  </a:lnTo>
                  <a:lnTo>
                    <a:pt x="257" y="0"/>
                  </a:lnTo>
                  <a:lnTo>
                    <a:pt x="353" y="31"/>
                  </a:lnTo>
                  <a:lnTo>
                    <a:pt x="95" y="264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7" name="任意多边形: 形状 546"/>
            <p:cNvSpPr/>
            <p:nvPr userDrawn="1"/>
          </p:nvSpPr>
          <p:spPr bwMode="auto">
            <a:xfrm>
              <a:off x="8067546" y="3022600"/>
              <a:ext cx="327025" cy="869950"/>
            </a:xfrm>
            <a:custGeom>
              <a:avLst/>
              <a:gdLst>
                <a:gd name="T0" fmla="*/ 0 w 206"/>
                <a:gd name="T1" fmla="*/ 0 h 548"/>
                <a:gd name="T2" fmla="*/ 93 w 206"/>
                <a:gd name="T3" fmla="*/ 31 h 548"/>
                <a:gd name="T4" fmla="*/ 206 w 206"/>
                <a:gd name="T5" fmla="*/ 548 h 548"/>
                <a:gd name="T6" fmla="*/ 112 w 206"/>
                <a:gd name="T7" fmla="*/ 519 h 548"/>
                <a:gd name="T8" fmla="*/ 0 w 206"/>
                <a:gd name="T9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548">
                  <a:moveTo>
                    <a:pt x="0" y="0"/>
                  </a:moveTo>
                  <a:lnTo>
                    <a:pt x="93" y="31"/>
                  </a:lnTo>
                  <a:lnTo>
                    <a:pt x="206" y="548"/>
                  </a:lnTo>
                  <a:lnTo>
                    <a:pt x="112" y="5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8" name="任意多边形: 形状 547"/>
            <p:cNvSpPr/>
            <p:nvPr userDrawn="1"/>
          </p:nvSpPr>
          <p:spPr bwMode="auto">
            <a:xfrm>
              <a:off x="8215183" y="2667000"/>
              <a:ext cx="635000" cy="1225550"/>
            </a:xfrm>
            <a:custGeom>
              <a:avLst/>
              <a:gdLst>
                <a:gd name="T0" fmla="*/ 185 w 192"/>
                <a:gd name="T1" fmla="*/ 254 h 372"/>
                <a:gd name="T2" fmla="*/ 54 w 192"/>
                <a:gd name="T3" fmla="*/ 372 h 372"/>
                <a:gd name="T4" fmla="*/ 0 w 192"/>
                <a:gd name="T5" fmla="*/ 123 h 372"/>
                <a:gd name="T6" fmla="*/ 130 w 192"/>
                <a:gd name="T7" fmla="*/ 4 h 372"/>
                <a:gd name="T8" fmla="*/ 142 w 192"/>
                <a:gd name="T9" fmla="*/ 9 h 372"/>
                <a:gd name="T10" fmla="*/ 190 w 192"/>
                <a:gd name="T11" fmla="*/ 233 h 372"/>
                <a:gd name="T12" fmla="*/ 185 w 192"/>
                <a:gd name="T13" fmla="*/ 25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372">
                  <a:moveTo>
                    <a:pt x="185" y="254"/>
                  </a:moveTo>
                  <a:cubicBezTo>
                    <a:pt x="54" y="372"/>
                    <a:pt x="54" y="372"/>
                    <a:pt x="54" y="37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130" y="4"/>
                    <a:pt x="130" y="4"/>
                    <a:pt x="130" y="4"/>
                  </a:cubicBezTo>
                  <a:cubicBezTo>
                    <a:pt x="135" y="0"/>
                    <a:pt x="140" y="2"/>
                    <a:pt x="142" y="9"/>
                  </a:cubicBezTo>
                  <a:cubicBezTo>
                    <a:pt x="190" y="233"/>
                    <a:pt x="190" y="233"/>
                    <a:pt x="190" y="233"/>
                  </a:cubicBezTo>
                  <a:cubicBezTo>
                    <a:pt x="192" y="240"/>
                    <a:pt x="189" y="249"/>
                    <a:pt x="185" y="254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9" name="任意多边形: 形状 548"/>
            <p:cNvSpPr/>
            <p:nvPr userDrawn="1"/>
          </p:nvSpPr>
          <p:spPr bwMode="auto">
            <a:xfrm>
              <a:off x="8453308" y="2673350"/>
              <a:ext cx="604838" cy="1282700"/>
            </a:xfrm>
            <a:custGeom>
              <a:avLst/>
              <a:gdLst>
                <a:gd name="T0" fmla="*/ 172 w 183"/>
                <a:gd name="T1" fmla="*/ 290 h 389"/>
                <a:gd name="T2" fmla="*/ 0 w 183"/>
                <a:gd name="T3" fmla="*/ 389 h 389"/>
                <a:gd name="T4" fmla="*/ 0 w 183"/>
                <a:gd name="T5" fmla="*/ 103 h 389"/>
                <a:gd name="T6" fmla="*/ 172 w 183"/>
                <a:gd name="T7" fmla="*/ 4 h 389"/>
                <a:gd name="T8" fmla="*/ 183 w 183"/>
                <a:gd name="T9" fmla="*/ 12 h 389"/>
                <a:gd name="T10" fmla="*/ 183 w 183"/>
                <a:gd name="T11" fmla="*/ 269 h 389"/>
                <a:gd name="T12" fmla="*/ 172 w 183"/>
                <a:gd name="T13" fmla="*/ 29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389">
                  <a:moveTo>
                    <a:pt x="172" y="290"/>
                  </a:moveTo>
                  <a:cubicBezTo>
                    <a:pt x="0" y="389"/>
                    <a:pt x="0" y="389"/>
                    <a:pt x="0" y="38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2" y="4"/>
                    <a:pt x="172" y="4"/>
                    <a:pt x="172" y="4"/>
                  </a:cubicBezTo>
                  <a:cubicBezTo>
                    <a:pt x="178" y="0"/>
                    <a:pt x="183" y="4"/>
                    <a:pt x="183" y="12"/>
                  </a:cubicBezTo>
                  <a:cubicBezTo>
                    <a:pt x="183" y="269"/>
                    <a:pt x="183" y="269"/>
                    <a:pt x="183" y="269"/>
                  </a:cubicBezTo>
                  <a:cubicBezTo>
                    <a:pt x="183" y="277"/>
                    <a:pt x="178" y="287"/>
                    <a:pt x="172" y="290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0" name="任意多边形: 形状 549"/>
            <p:cNvSpPr/>
            <p:nvPr userDrawn="1"/>
          </p:nvSpPr>
          <p:spPr bwMode="auto">
            <a:xfrm>
              <a:off x="8483471" y="2749550"/>
              <a:ext cx="688975" cy="395288"/>
            </a:xfrm>
            <a:custGeom>
              <a:avLst/>
              <a:gdLst>
                <a:gd name="T0" fmla="*/ 95 w 434"/>
                <a:gd name="T1" fmla="*/ 249 h 249"/>
                <a:gd name="T2" fmla="*/ 0 w 434"/>
                <a:gd name="T3" fmla="*/ 195 h 249"/>
                <a:gd name="T4" fmla="*/ 337 w 434"/>
                <a:gd name="T5" fmla="*/ 0 h 249"/>
                <a:gd name="T6" fmla="*/ 434 w 434"/>
                <a:gd name="T7" fmla="*/ 54 h 249"/>
                <a:gd name="T8" fmla="*/ 95 w 434"/>
                <a:gd name="T9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249">
                  <a:moveTo>
                    <a:pt x="95" y="249"/>
                  </a:moveTo>
                  <a:lnTo>
                    <a:pt x="0" y="195"/>
                  </a:lnTo>
                  <a:lnTo>
                    <a:pt x="337" y="0"/>
                  </a:lnTo>
                  <a:lnTo>
                    <a:pt x="434" y="54"/>
                  </a:lnTo>
                  <a:lnTo>
                    <a:pt x="95" y="249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1" name="任意多边形: 形状 550"/>
            <p:cNvSpPr/>
            <p:nvPr userDrawn="1"/>
          </p:nvSpPr>
          <p:spPr bwMode="auto">
            <a:xfrm>
              <a:off x="8450133" y="3016250"/>
              <a:ext cx="152400" cy="1031875"/>
            </a:xfrm>
            <a:custGeom>
              <a:avLst/>
              <a:gdLst>
                <a:gd name="T0" fmla="*/ 0 w 96"/>
                <a:gd name="T1" fmla="*/ 0 h 650"/>
                <a:gd name="T2" fmla="*/ 96 w 96"/>
                <a:gd name="T3" fmla="*/ 56 h 650"/>
                <a:gd name="T4" fmla="*/ 96 w 96"/>
                <a:gd name="T5" fmla="*/ 650 h 650"/>
                <a:gd name="T6" fmla="*/ 0 w 96"/>
                <a:gd name="T7" fmla="*/ 596 h 650"/>
                <a:gd name="T8" fmla="*/ 0 w 96"/>
                <a:gd name="T9" fmla="*/ 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50">
                  <a:moveTo>
                    <a:pt x="0" y="0"/>
                  </a:moveTo>
                  <a:lnTo>
                    <a:pt x="96" y="56"/>
                  </a:lnTo>
                  <a:lnTo>
                    <a:pt x="96" y="650"/>
                  </a:lnTo>
                  <a:lnTo>
                    <a:pt x="0" y="5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2" name="任意多边形: 形状 551"/>
            <p:cNvSpPr/>
            <p:nvPr userDrawn="1"/>
          </p:nvSpPr>
          <p:spPr bwMode="auto">
            <a:xfrm>
              <a:off x="8602533" y="2765425"/>
              <a:ext cx="603250" cy="1282700"/>
            </a:xfrm>
            <a:custGeom>
              <a:avLst/>
              <a:gdLst>
                <a:gd name="T0" fmla="*/ 172 w 183"/>
                <a:gd name="T1" fmla="*/ 290 h 389"/>
                <a:gd name="T2" fmla="*/ 0 w 183"/>
                <a:gd name="T3" fmla="*/ 389 h 389"/>
                <a:gd name="T4" fmla="*/ 0 w 183"/>
                <a:gd name="T5" fmla="*/ 103 h 389"/>
                <a:gd name="T6" fmla="*/ 172 w 183"/>
                <a:gd name="T7" fmla="*/ 4 h 389"/>
                <a:gd name="T8" fmla="*/ 183 w 183"/>
                <a:gd name="T9" fmla="*/ 12 h 389"/>
                <a:gd name="T10" fmla="*/ 183 w 183"/>
                <a:gd name="T11" fmla="*/ 269 h 389"/>
                <a:gd name="T12" fmla="*/ 172 w 183"/>
                <a:gd name="T13" fmla="*/ 29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389">
                  <a:moveTo>
                    <a:pt x="172" y="290"/>
                  </a:moveTo>
                  <a:cubicBezTo>
                    <a:pt x="0" y="389"/>
                    <a:pt x="0" y="389"/>
                    <a:pt x="0" y="38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2" y="4"/>
                    <a:pt x="172" y="4"/>
                    <a:pt x="172" y="4"/>
                  </a:cubicBezTo>
                  <a:cubicBezTo>
                    <a:pt x="178" y="0"/>
                    <a:pt x="183" y="4"/>
                    <a:pt x="183" y="12"/>
                  </a:cubicBezTo>
                  <a:cubicBezTo>
                    <a:pt x="183" y="269"/>
                    <a:pt x="183" y="269"/>
                    <a:pt x="183" y="269"/>
                  </a:cubicBezTo>
                  <a:cubicBezTo>
                    <a:pt x="183" y="277"/>
                    <a:pt x="178" y="287"/>
                    <a:pt x="172" y="290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3" name="任意多边形: 形状 552"/>
            <p:cNvSpPr/>
            <p:nvPr userDrawn="1"/>
          </p:nvSpPr>
          <p:spPr bwMode="auto">
            <a:xfrm>
              <a:off x="8639046" y="3028950"/>
              <a:ext cx="481013" cy="1028700"/>
            </a:xfrm>
            <a:custGeom>
              <a:avLst/>
              <a:gdLst>
                <a:gd name="T0" fmla="*/ 137 w 146"/>
                <a:gd name="T1" fmla="*/ 233 h 312"/>
                <a:gd name="T2" fmla="*/ 0 w 146"/>
                <a:gd name="T3" fmla="*/ 312 h 312"/>
                <a:gd name="T4" fmla="*/ 0 w 146"/>
                <a:gd name="T5" fmla="*/ 82 h 312"/>
                <a:gd name="T6" fmla="*/ 137 w 146"/>
                <a:gd name="T7" fmla="*/ 3 h 312"/>
                <a:gd name="T8" fmla="*/ 146 w 146"/>
                <a:gd name="T9" fmla="*/ 10 h 312"/>
                <a:gd name="T10" fmla="*/ 146 w 146"/>
                <a:gd name="T11" fmla="*/ 216 h 312"/>
                <a:gd name="T12" fmla="*/ 137 w 146"/>
                <a:gd name="T13" fmla="*/ 23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312">
                  <a:moveTo>
                    <a:pt x="137" y="233"/>
                  </a:moveTo>
                  <a:cubicBezTo>
                    <a:pt x="0" y="312"/>
                    <a:pt x="0" y="312"/>
                    <a:pt x="0" y="31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2" y="0"/>
                    <a:pt x="146" y="3"/>
                    <a:pt x="146" y="10"/>
                  </a:cubicBezTo>
                  <a:cubicBezTo>
                    <a:pt x="146" y="216"/>
                    <a:pt x="146" y="216"/>
                    <a:pt x="146" y="216"/>
                  </a:cubicBezTo>
                  <a:cubicBezTo>
                    <a:pt x="146" y="222"/>
                    <a:pt x="142" y="230"/>
                    <a:pt x="137" y="233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4" name="任意多边形: 形状 553"/>
            <p:cNvSpPr/>
            <p:nvPr userDrawn="1"/>
          </p:nvSpPr>
          <p:spPr bwMode="auto">
            <a:xfrm>
              <a:off x="8658096" y="3089275"/>
              <a:ext cx="554038" cy="319088"/>
            </a:xfrm>
            <a:custGeom>
              <a:avLst/>
              <a:gdLst>
                <a:gd name="T0" fmla="*/ 79 w 349"/>
                <a:gd name="T1" fmla="*/ 201 h 201"/>
                <a:gd name="T2" fmla="*/ 0 w 349"/>
                <a:gd name="T3" fmla="*/ 155 h 201"/>
                <a:gd name="T4" fmla="*/ 272 w 349"/>
                <a:gd name="T5" fmla="*/ 0 h 201"/>
                <a:gd name="T6" fmla="*/ 349 w 349"/>
                <a:gd name="T7" fmla="*/ 45 h 201"/>
                <a:gd name="T8" fmla="*/ 79 w 349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201">
                  <a:moveTo>
                    <a:pt x="79" y="201"/>
                  </a:moveTo>
                  <a:lnTo>
                    <a:pt x="0" y="155"/>
                  </a:lnTo>
                  <a:lnTo>
                    <a:pt x="272" y="0"/>
                  </a:lnTo>
                  <a:lnTo>
                    <a:pt x="349" y="45"/>
                  </a:lnTo>
                  <a:lnTo>
                    <a:pt x="79" y="2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5" name="任意多边形: 形状 554"/>
            <p:cNvSpPr/>
            <p:nvPr userDrawn="1"/>
          </p:nvSpPr>
          <p:spPr bwMode="auto">
            <a:xfrm>
              <a:off x="8634283" y="3303587"/>
              <a:ext cx="122238" cy="830263"/>
            </a:xfrm>
            <a:custGeom>
              <a:avLst/>
              <a:gdLst>
                <a:gd name="T0" fmla="*/ 0 w 77"/>
                <a:gd name="T1" fmla="*/ 0 h 523"/>
                <a:gd name="T2" fmla="*/ 77 w 77"/>
                <a:gd name="T3" fmla="*/ 45 h 523"/>
                <a:gd name="T4" fmla="*/ 77 w 77"/>
                <a:gd name="T5" fmla="*/ 523 h 523"/>
                <a:gd name="T6" fmla="*/ 0 w 77"/>
                <a:gd name="T7" fmla="*/ 477 h 523"/>
                <a:gd name="T8" fmla="*/ 0 w 77"/>
                <a:gd name="T9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23">
                  <a:moveTo>
                    <a:pt x="0" y="0"/>
                  </a:moveTo>
                  <a:lnTo>
                    <a:pt x="77" y="45"/>
                  </a:lnTo>
                  <a:lnTo>
                    <a:pt x="77" y="523"/>
                  </a:lnTo>
                  <a:lnTo>
                    <a:pt x="0" y="4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6" name="任意多边形: 形状 555"/>
            <p:cNvSpPr/>
            <p:nvPr userDrawn="1"/>
          </p:nvSpPr>
          <p:spPr bwMode="auto">
            <a:xfrm>
              <a:off x="8756521" y="3101975"/>
              <a:ext cx="485775" cy="1031875"/>
            </a:xfrm>
            <a:custGeom>
              <a:avLst/>
              <a:gdLst>
                <a:gd name="T0" fmla="*/ 138 w 147"/>
                <a:gd name="T1" fmla="*/ 233 h 313"/>
                <a:gd name="T2" fmla="*/ 0 w 147"/>
                <a:gd name="T3" fmla="*/ 313 h 313"/>
                <a:gd name="T4" fmla="*/ 0 w 147"/>
                <a:gd name="T5" fmla="*/ 83 h 313"/>
                <a:gd name="T6" fmla="*/ 138 w 147"/>
                <a:gd name="T7" fmla="*/ 3 h 313"/>
                <a:gd name="T8" fmla="*/ 147 w 147"/>
                <a:gd name="T9" fmla="*/ 10 h 313"/>
                <a:gd name="T10" fmla="*/ 147 w 147"/>
                <a:gd name="T11" fmla="*/ 216 h 313"/>
                <a:gd name="T12" fmla="*/ 138 w 147"/>
                <a:gd name="T13" fmla="*/ 233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13">
                  <a:moveTo>
                    <a:pt x="138" y="233"/>
                  </a:moveTo>
                  <a:cubicBezTo>
                    <a:pt x="0" y="313"/>
                    <a:pt x="0" y="313"/>
                    <a:pt x="0" y="31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43" y="0"/>
                    <a:pt x="147" y="3"/>
                    <a:pt x="147" y="10"/>
                  </a:cubicBezTo>
                  <a:cubicBezTo>
                    <a:pt x="147" y="216"/>
                    <a:pt x="147" y="216"/>
                    <a:pt x="147" y="216"/>
                  </a:cubicBezTo>
                  <a:cubicBezTo>
                    <a:pt x="147" y="223"/>
                    <a:pt x="143" y="230"/>
                    <a:pt x="138" y="233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7" name="任意多边形: 形状 556"/>
            <p:cNvSpPr/>
            <p:nvPr userDrawn="1"/>
          </p:nvSpPr>
          <p:spPr bwMode="auto">
            <a:xfrm>
              <a:off x="8847008" y="2897187"/>
              <a:ext cx="600075" cy="1285875"/>
            </a:xfrm>
            <a:custGeom>
              <a:avLst/>
              <a:gdLst>
                <a:gd name="T0" fmla="*/ 171 w 182"/>
                <a:gd name="T1" fmla="*/ 291 h 390"/>
                <a:gd name="T2" fmla="*/ 0 w 182"/>
                <a:gd name="T3" fmla="*/ 390 h 390"/>
                <a:gd name="T4" fmla="*/ 0 w 182"/>
                <a:gd name="T5" fmla="*/ 103 h 390"/>
                <a:gd name="T6" fmla="*/ 171 w 182"/>
                <a:gd name="T7" fmla="*/ 4 h 390"/>
                <a:gd name="T8" fmla="*/ 182 w 182"/>
                <a:gd name="T9" fmla="*/ 12 h 390"/>
                <a:gd name="T10" fmla="*/ 182 w 182"/>
                <a:gd name="T11" fmla="*/ 269 h 390"/>
                <a:gd name="T12" fmla="*/ 171 w 182"/>
                <a:gd name="T13" fmla="*/ 29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390">
                  <a:moveTo>
                    <a:pt x="171" y="291"/>
                  </a:moveTo>
                  <a:cubicBezTo>
                    <a:pt x="0" y="390"/>
                    <a:pt x="0" y="390"/>
                    <a:pt x="0" y="39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177" y="0"/>
                    <a:pt x="182" y="4"/>
                    <a:pt x="182" y="12"/>
                  </a:cubicBezTo>
                  <a:cubicBezTo>
                    <a:pt x="182" y="269"/>
                    <a:pt x="182" y="269"/>
                    <a:pt x="182" y="269"/>
                  </a:cubicBezTo>
                  <a:cubicBezTo>
                    <a:pt x="182" y="278"/>
                    <a:pt x="177" y="287"/>
                    <a:pt x="171" y="291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8" name="任意多边形: 形状 557"/>
            <p:cNvSpPr/>
            <p:nvPr userDrawn="1"/>
          </p:nvSpPr>
          <p:spPr bwMode="auto">
            <a:xfrm>
              <a:off x="8872408" y="2973387"/>
              <a:ext cx="690563" cy="398463"/>
            </a:xfrm>
            <a:custGeom>
              <a:avLst/>
              <a:gdLst>
                <a:gd name="T0" fmla="*/ 98 w 435"/>
                <a:gd name="T1" fmla="*/ 251 h 251"/>
                <a:gd name="T2" fmla="*/ 0 w 435"/>
                <a:gd name="T3" fmla="*/ 195 h 251"/>
                <a:gd name="T4" fmla="*/ 339 w 435"/>
                <a:gd name="T5" fmla="*/ 0 h 251"/>
                <a:gd name="T6" fmla="*/ 435 w 435"/>
                <a:gd name="T7" fmla="*/ 56 h 251"/>
                <a:gd name="T8" fmla="*/ 98 w 435"/>
                <a:gd name="T9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251">
                  <a:moveTo>
                    <a:pt x="98" y="251"/>
                  </a:moveTo>
                  <a:lnTo>
                    <a:pt x="0" y="195"/>
                  </a:lnTo>
                  <a:lnTo>
                    <a:pt x="339" y="0"/>
                  </a:lnTo>
                  <a:lnTo>
                    <a:pt x="435" y="56"/>
                  </a:lnTo>
                  <a:lnTo>
                    <a:pt x="98" y="251"/>
                  </a:ln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9" name="任意多边形: 形状 558"/>
            <p:cNvSpPr/>
            <p:nvPr userDrawn="1"/>
          </p:nvSpPr>
          <p:spPr bwMode="auto">
            <a:xfrm>
              <a:off x="8842246" y="3240087"/>
              <a:ext cx="152400" cy="1035050"/>
            </a:xfrm>
            <a:custGeom>
              <a:avLst/>
              <a:gdLst>
                <a:gd name="T0" fmla="*/ 0 w 96"/>
                <a:gd name="T1" fmla="*/ 0 h 652"/>
                <a:gd name="T2" fmla="*/ 96 w 96"/>
                <a:gd name="T3" fmla="*/ 56 h 652"/>
                <a:gd name="T4" fmla="*/ 96 w 96"/>
                <a:gd name="T5" fmla="*/ 652 h 652"/>
                <a:gd name="T6" fmla="*/ 0 w 96"/>
                <a:gd name="T7" fmla="*/ 596 h 652"/>
                <a:gd name="T8" fmla="*/ 0 w 96"/>
                <a:gd name="T9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52">
                  <a:moveTo>
                    <a:pt x="0" y="0"/>
                  </a:moveTo>
                  <a:lnTo>
                    <a:pt x="96" y="56"/>
                  </a:lnTo>
                  <a:lnTo>
                    <a:pt x="96" y="652"/>
                  </a:lnTo>
                  <a:lnTo>
                    <a:pt x="0" y="5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0" name="任意多边形: 形状 559"/>
            <p:cNvSpPr/>
            <p:nvPr userDrawn="1"/>
          </p:nvSpPr>
          <p:spPr bwMode="auto">
            <a:xfrm>
              <a:off x="8994646" y="2989262"/>
              <a:ext cx="600075" cy="1285875"/>
            </a:xfrm>
            <a:custGeom>
              <a:avLst/>
              <a:gdLst>
                <a:gd name="T0" fmla="*/ 171 w 182"/>
                <a:gd name="T1" fmla="*/ 291 h 390"/>
                <a:gd name="T2" fmla="*/ 0 w 182"/>
                <a:gd name="T3" fmla="*/ 390 h 390"/>
                <a:gd name="T4" fmla="*/ 0 w 182"/>
                <a:gd name="T5" fmla="*/ 103 h 390"/>
                <a:gd name="T6" fmla="*/ 171 w 182"/>
                <a:gd name="T7" fmla="*/ 4 h 390"/>
                <a:gd name="T8" fmla="*/ 182 w 182"/>
                <a:gd name="T9" fmla="*/ 12 h 390"/>
                <a:gd name="T10" fmla="*/ 182 w 182"/>
                <a:gd name="T11" fmla="*/ 269 h 390"/>
                <a:gd name="T12" fmla="*/ 171 w 182"/>
                <a:gd name="T13" fmla="*/ 29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390">
                  <a:moveTo>
                    <a:pt x="171" y="291"/>
                  </a:moveTo>
                  <a:cubicBezTo>
                    <a:pt x="0" y="390"/>
                    <a:pt x="0" y="390"/>
                    <a:pt x="0" y="39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177" y="0"/>
                    <a:pt x="182" y="4"/>
                    <a:pt x="182" y="12"/>
                  </a:cubicBezTo>
                  <a:cubicBezTo>
                    <a:pt x="182" y="269"/>
                    <a:pt x="182" y="269"/>
                    <a:pt x="182" y="269"/>
                  </a:cubicBezTo>
                  <a:cubicBezTo>
                    <a:pt x="182" y="278"/>
                    <a:pt x="177" y="287"/>
                    <a:pt x="171" y="2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1" name="任意多边形: 形状 560"/>
            <p:cNvSpPr/>
            <p:nvPr userDrawn="1"/>
          </p:nvSpPr>
          <p:spPr bwMode="auto">
            <a:xfrm>
              <a:off x="9083546" y="3181350"/>
              <a:ext cx="538163" cy="1143000"/>
            </a:xfrm>
            <a:custGeom>
              <a:avLst/>
              <a:gdLst>
                <a:gd name="T0" fmla="*/ 153 w 163"/>
                <a:gd name="T1" fmla="*/ 258 h 347"/>
                <a:gd name="T2" fmla="*/ 0 w 163"/>
                <a:gd name="T3" fmla="*/ 347 h 347"/>
                <a:gd name="T4" fmla="*/ 0 w 163"/>
                <a:gd name="T5" fmla="*/ 91 h 347"/>
                <a:gd name="T6" fmla="*/ 153 w 163"/>
                <a:gd name="T7" fmla="*/ 3 h 347"/>
                <a:gd name="T8" fmla="*/ 163 w 163"/>
                <a:gd name="T9" fmla="*/ 11 h 347"/>
                <a:gd name="T10" fmla="*/ 163 w 163"/>
                <a:gd name="T11" fmla="*/ 240 h 347"/>
                <a:gd name="T12" fmla="*/ 153 w 163"/>
                <a:gd name="T13" fmla="*/ 25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347">
                  <a:moveTo>
                    <a:pt x="153" y="258"/>
                  </a:moveTo>
                  <a:cubicBezTo>
                    <a:pt x="0" y="347"/>
                    <a:pt x="0" y="347"/>
                    <a:pt x="0" y="347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8" y="0"/>
                    <a:pt x="163" y="3"/>
                    <a:pt x="163" y="11"/>
                  </a:cubicBezTo>
                  <a:cubicBezTo>
                    <a:pt x="163" y="240"/>
                    <a:pt x="163" y="240"/>
                    <a:pt x="163" y="240"/>
                  </a:cubicBezTo>
                  <a:cubicBezTo>
                    <a:pt x="163" y="247"/>
                    <a:pt x="158" y="255"/>
                    <a:pt x="153" y="258"/>
                  </a:cubicBez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2" name="任意多边形: 形状 561"/>
            <p:cNvSpPr/>
            <p:nvPr userDrawn="1"/>
          </p:nvSpPr>
          <p:spPr bwMode="auto">
            <a:xfrm>
              <a:off x="9107358" y="3246437"/>
              <a:ext cx="617538" cy="357188"/>
            </a:xfrm>
            <a:custGeom>
              <a:avLst/>
              <a:gdLst>
                <a:gd name="T0" fmla="*/ 87 w 389"/>
                <a:gd name="T1" fmla="*/ 225 h 225"/>
                <a:gd name="T2" fmla="*/ 0 w 389"/>
                <a:gd name="T3" fmla="*/ 175 h 225"/>
                <a:gd name="T4" fmla="*/ 301 w 389"/>
                <a:gd name="T5" fmla="*/ 0 h 225"/>
                <a:gd name="T6" fmla="*/ 389 w 389"/>
                <a:gd name="T7" fmla="*/ 50 h 225"/>
                <a:gd name="T8" fmla="*/ 87 w 389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9" h="225">
                  <a:moveTo>
                    <a:pt x="87" y="225"/>
                  </a:moveTo>
                  <a:lnTo>
                    <a:pt x="0" y="175"/>
                  </a:lnTo>
                  <a:lnTo>
                    <a:pt x="301" y="0"/>
                  </a:lnTo>
                  <a:lnTo>
                    <a:pt x="389" y="50"/>
                  </a:lnTo>
                  <a:lnTo>
                    <a:pt x="87" y="225"/>
                  </a:ln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3" name="任意多边形: 形状 562"/>
            <p:cNvSpPr/>
            <p:nvPr userDrawn="1"/>
          </p:nvSpPr>
          <p:spPr bwMode="auto">
            <a:xfrm>
              <a:off x="9080371" y="3487737"/>
              <a:ext cx="134938" cy="915988"/>
            </a:xfrm>
            <a:custGeom>
              <a:avLst/>
              <a:gdLst>
                <a:gd name="T0" fmla="*/ 0 w 85"/>
                <a:gd name="T1" fmla="*/ 0 h 577"/>
                <a:gd name="T2" fmla="*/ 85 w 85"/>
                <a:gd name="T3" fmla="*/ 48 h 577"/>
                <a:gd name="T4" fmla="*/ 85 w 85"/>
                <a:gd name="T5" fmla="*/ 577 h 577"/>
                <a:gd name="T6" fmla="*/ 0 w 85"/>
                <a:gd name="T7" fmla="*/ 529 h 577"/>
                <a:gd name="T8" fmla="*/ 0 w 85"/>
                <a:gd name="T9" fmla="*/ 0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77">
                  <a:moveTo>
                    <a:pt x="0" y="0"/>
                  </a:moveTo>
                  <a:lnTo>
                    <a:pt x="85" y="48"/>
                  </a:lnTo>
                  <a:lnTo>
                    <a:pt x="85" y="577"/>
                  </a:lnTo>
                  <a:lnTo>
                    <a:pt x="0" y="5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4" name="任意多边形: 形状 563"/>
            <p:cNvSpPr/>
            <p:nvPr userDrawn="1"/>
          </p:nvSpPr>
          <p:spPr bwMode="auto">
            <a:xfrm>
              <a:off x="9215308" y="3263900"/>
              <a:ext cx="538163" cy="1139825"/>
            </a:xfrm>
            <a:custGeom>
              <a:avLst/>
              <a:gdLst>
                <a:gd name="T0" fmla="*/ 153 w 163"/>
                <a:gd name="T1" fmla="*/ 258 h 346"/>
                <a:gd name="T2" fmla="*/ 0 w 163"/>
                <a:gd name="T3" fmla="*/ 346 h 346"/>
                <a:gd name="T4" fmla="*/ 0 w 163"/>
                <a:gd name="T5" fmla="*/ 91 h 346"/>
                <a:gd name="T6" fmla="*/ 153 w 163"/>
                <a:gd name="T7" fmla="*/ 3 h 346"/>
                <a:gd name="T8" fmla="*/ 163 w 163"/>
                <a:gd name="T9" fmla="*/ 11 h 346"/>
                <a:gd name="T10" fmla="*/ 163 w 163"/>
                <a:gd name="T11" fmla="*/ 239 h 346"/>
                <a:gd name="T12" fmla="*/ 153 w 163"/>
                <a:gd name="T13" fmla="*/ 25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346">
                  <a:moveTo>
                    <a:pt x="153" y="258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8" y="0"/>
                    <a:pt x="163" y="3"/>
                    <a:pt x="163" y="11"/>
                  </a:cubicBezTo>
                  <a:cubicBezTo>
                    <a:pt x="163" y="239"/>
                    <a:pt x="163" y="239"/>
                    <a:pt x="163" y="239"/>
                  </a:cubicBezTo>
                  <a:cubicBezTo>
                    <a:pt x="163" y="247"/>
                    <a:pt x="158" y="255"/>
                    <a:pt x="153" y="258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5" name="任意多边形: 形状 564"/>
            <p:cNvSpPr/>
            <p:nvPr userDrawn="1"/>
          </p:nvSpPr>
          <p:spPr bwMode="auto">
            <a:xfrm>
              <a:off x="8070721" y="4549775"/>
              <a:ext cx="42863" cy="80963"/>
            </a:xfrm>
            <a:custGeom>
              <a:avLst/>
              <a:gdLst>
                <a:gd name="T0" fmla="*/ 3 w 13"/>
                <a:gd name="T1" fmla="*/ 0 h 25"/>
                <a:gd name="T2" fmla="*/ 2 w 13"/>
                <a:gd name="T3" fmla="*/ 12 h 25"/>
                <a:gd name="T4" fmla="*/ 1 w 13"/>
                <a:gd name="T5" fmla="*/ 20 h 25"/>
                <a:gd name="T6" fmla="*/ 8 w 13"/>
                <a:gd name="T7" fmla="*/ 23 h 25"/>
                <a:gd name="T8" fmla="*/ 12 w 13"/>
                <a:gd name="T9" fmla="*/ 14 h 25"/>
                <a:gd name="T10" fmla="*/ 11 w 13"/>
                <a:gd name="T11" fmla="*/ 3 h 25"/>
                <a:gd name="T12" fmla="*/ 7 w 13"/>
                <a:gd name="T13" fmla="*/ 1 h 25"/>
                <a:gd name="T14" fmla="*/ 5 w 13"/>
                <a:gd name="T15" fmla="*/ 1 h 25"/>
                <a:gd name="T16" fmla="*/ 3 w 13"/>
                <a:gd name="T17" fmla="*/ 0 h 25"/>
                <a:gd name="T18" fmla="*/ 2 w 13"/>
                <a:gd name="T19" fmla="*/ 4 h 25"/>
                <a:gd name="T20" fmla="*/ 2 w 13"/>
                <a:gd name="T21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5">
                  <a:moveTo>
                    <a:pt x="3" y="0"/>
                  </a:moveTo>
                  <a:cubicBezTo>
                    <a:pt x="0" y="1"/>
                    <a:pt x="3" y="3"/>
                    <a:pt x="2" y="12"/>
                  </a:cubicBezTo>
                  <a:cubicBezTo>
                    <a:pt x="1" y="16"/>
                    <a:pt x="1" y="20"/>
                    <a:pt x="1" y="20"/>
                  </a:cubicBezTo>
                  <a:cubicBezTo>
                    <a:pt x="2" y="23"/>
                    <a:pt x="6" y="22"/>
                    <a:pt x="8" y="23"/>
                  </a:cubicBezTo>
                  <a:cubicBezTo>
                    <a:pt x="13" y="25"/>
                    <a:pt x="11" y="17"/>
                    <a:pt x="12" y="14"/>
                  </a:cubicBezTo>
                  <a:cubicBezTo>
                    <a:pt x="12" y="10"/>
                    <a:pt x="11" y="4"/>
                    <a:pt x="11" y="3"/>
                  </a:cubicBezTo>
                  <a:cubicBezTo>
                    <a:pt x="10" y="1"/>
                    <a:pt x="8" y="0"/>
                    <a:pt x="7" y="1"/>
                  </a:cubicBezTo>
                  <a:cubicBezTo>
                    <a:pt x="5" y="3"/>
                    <a:pt x="6" y="4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6" name="任意多边形: 形状 565"/>
            <p:cNvSpPr/>
            <p:nvPr userDrawn="1"/>
          </p:nvSpPr>
          <p:spPr bwMode="auto">
            <a:xfrm>
              <a:off x="7630983" y="4370387"/>
              <a:ext cx="63500" cy="53975"/>
            </a:xfrm>
            <a:custGeom>
              <a:avLst/>
              <a:gdLst>
                <a:gd name="T0" fmla="*/ 13 w 19"/>
                <a:gd name="T1" fmla="*/ 0 h 16"/>
                <a:gd name="T2" fmla="*/ 5 w 19"/>
                <a:gd name="T3" fmla="*/ 5 h 16"/>
                <a:gd name="T4" fmla="*/ 2 w 19"/>
                <a:gd name="T5" fmla="*/ 6 h 16"/>
                <a:gd name="T6" fmla="*/ 1 w 19"/>
                <a:gd name="T7" fmla="*/ 11 h 16"/>
                <a:gd name="T8" fmla="*/ 1 w 19"/>
                <a:gd name="T9" fmla="*/ 13 h 16"/>
                <a:gd name="T10" fmla="*/ 2 w 19"/>
                <a:gd name="T11" fmla="*/ 15 h 16"/>
                <a:gd name="T12" fmla="*/ 11 w 19"/>
                <a:gd name="T13" fmla="*/ 12 h 16"/>
                <a:gd name="T14" fmla="*/ 18 w 19"/>
                <a:gd name="T15" fmla="*/ 6 h 16"/>
                <a:gd name="T16" fmla="*/ 17 w 19"/>
                <a:gd name="T17" fmla="*/ 4 h 16"/>
                <a:gd name="T18" fmla="*/ 15 w 19"/>
                <a:gd name="T19" fmla="*/ 1 h 16"/>
                <a:gd name="T20" fmla="*/ 13 w 19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3" y="0"/>
                  </a:moveTo>
                  <a:cubicBezTo>
                    <a:pt x="13" y="0"/>
                    <a:pt x="5" y="5"/>
                    <a:pt x="5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0" y="8"/>
                    <a:pt x="1" y="10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4" y="16"/>
                    <a:pt x="7" y="14"/>
                    <a:pt x="11" y="12"/>
                  </a:cubicBezTo>
                  <a:cubicBezTo>
                    <a:pt x="13" y="10"/>
                    <a:pt x="19" y="9"/>
                    <a:pt x="18" y="6"/>
                  </a:cubicBezTo>
                  <a:cubicBezTo>
                    <a:pt x="18" y="5"/>
                    <a:pt x="18" y="4"/>
                    <a:pt x="17" y="4"/>
                  </a:cubicBezTo>
                  <a:cubicBezTo>
                    <a:pt x="18" y="2"/>
                    <a:pt x="17" y="1"/>
                    <a:pt x="15" y="1"/>
                  </a:cubicBezTo>
                  <a:cubicBezTo>
                    <a:pt x="15" y="0"/>
                    <a:pt x="14" y="0"/>
                    <a:pt x="13" y="0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7" name="任意多边形: 形状 566"/>
            <p:cNvSpPr/>
            <p:nvPr userDrawn="1"/>
          </p:nvSpPr>
          <p:spPr bwMode="auto">
            <a:xfrm>
              <a:off x="7651621" y="3833812"/>
              <a:ext cx="385763" cy="576263"/>
            </a:xfrm>
            <a:custGeom>
              <a:avLst/>
              <a:gdLst>
                <a:gd name="T0" fmla="*/ 90 w 117"/>
                <a:gd name="T1" fmla="*/ 0 h 175"/>
                <a:gd name="T2" fmla="*/ 86 w 117"/>
                <a:gd name="T3" fmla="*/ 3 h 175"/>
                <a:gd name="T4" fmla="*/ 66 w 117"/>
                <a:gd name="T5" fmla="*/ 30 h 175"/>
                <a:gd name="T6" fmla="*/ 64 w 117"/>
                <a:gd name="T7" fmla="*/ 88 h 175"/>
                <a:gd name="T8" fmla="*/ 60 w 117"/>
                <a:gd name="T9" fmla="*/ 103 h 175"/>
                <a:gd name="T10" fmla="*/ 46 w 117"/>
                <a:gd name="T11" fmla="*/ 114 h 175"/>
                <a:gd name="T12" fmla="*/ 29 w 117"/>
                <a:gd name="T13" fmla="*/ 133 h 175"/>
                <a:gd name="T14" fmla="*/ 2 w 117"/>
                <a:gd name="T15" fmla="*/ 163 h 175"/>
                <a:gd name="T16" fmla="*/ 4 w 117"/>
                <a:gd name="T17" fmla="*/ 169 h 175"/>
                <a:gd name="T18" fmla="*/ 6 w 117"/>
                <a:gd name="T19" fmla="*/ 173 h 175"/>
                <a:gd name="T20" fmla="*/ 14 w 117"/>
                <a:gd name="T21" fmla="*/ 173 h 175"/>
                <a:gd name="T22" fmla="*/ 53 w 117"/>
                <a:gd name="T23" fmla="*/ 155 h 175"/>
                <a:gd name="T24" fmla="*/ 107 w 117"/>
                <a:gd name="T25" fmla="*/ 95 h 175"/>
                <a:gd name="T26" fmla="*/ 113 w 117"/>
                <a:gd name="T27" fmla="*/ 38 h 175"/>
                <a:gd name="T28" fmla="*/ 90 w 117"/>
                <a:gd name="T2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7" h="175">
                  <a:moveTo>
                    <a:pt x="90" y="0"/>
                  </a:moveTo>
                  <a:cubicBezTo>
                    <a:pt x="88" y="0"/>
                    <a:pt x="86" y="1"/>
                    <a:pt x="86" y="3"/>
                  </a:cubicBezTo>
                  <a:cubicBezTo>
                    <a:pt x="75" y="12"/>
                    <a:pt x="69" y="17"/>
                    <a:pt x="66" y="30"/>
                  </a:cubicBezTo>
                  <a:cubicBezTo>
                    <a:pt x="61" y="46"/>
                    <a:pt x="63" y="77"/>
                    <a:pt x="64" y="88"/>
                  </a:cubicBezTo>
                  <a:cubicBezTo>
                    <a:pt x="65" y="98"/>
                    <a:pt x="67" y="100"/>
                    <a:pt x="60" y="103"/>
                  </a:cubicBezTo>
                  <a:cubicBezTo>
                    <a:pt x="54" y="106"/>
                    <a:pt x="54" y="105"/>
                    <a:pt x="46" y="114"/>
                  </a:cubicBezTo>
                  <a:cubicBezTo>
                    <a:pt x="35" y="126"/>
                    <a:pt x="44" y="117"/>
                    <a:pt x="29" y="133"/>
                  </a:cubicBezTo>
                  <a:cubicBezTo>
                    <a:pt x="16" y="146"/>
                    <a:pt x="2" y="163"/>
                    <a:pt x="2" y="163"/>
                  </a:cubicBezTo>
                  <a:cubicBezTo>
                    <a:pt x="0" y="166"/>
                    <a:pt x="5" y="170"/>
                    <a:pt x="4" y="169"/>
                  </a:cubicBezTo>
                  <a:cubicBezTo>
                    <a:pt x="5" y="170"/>
                    <a:pt x="4" y="172"/>
                    <a:pt x="6" y="173"/>
                  </a:cubicBezTo>
                  <a:cubicBezTo>
                    <a:pt x="9" y="175"/>
                    <a:pt x="11" y="174"/>
                    <a:pt x="14" y="173"/>
                  </a:cubicBezTo>
                  <a:cubicBezTo>
                    <a:pt x="34" y="167"/>
                    <a:pt x="41" y="163"/>
                    <a:pt x="53" y="155"/>
                  </a:cubicBezTo>
                  <a:cubicBezTo>
                    <a:pt x="82" y="133"/>
                    <a:pt x="94" y="147"/>
                    <a:pt x="107" y="95"/>
                  </a:cubicBezTo>
                  <a:cubicBezTo>
                    <a:pt x="108" y="94"/>
                    <a:pt x="117" y="49"/>
                    <a:pt x="113" y="38"/>
                  </a:cubicBezTo>
                  <a:cubicBezTo>
                    <a:pt x="113" y="37"/>
                    <a:pt x="99" y="0"/>
                    <a:pt x="90" y="0"/>
                  </a:cubicBezTo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8" name="任意多边形: 形状 567"/>
            <p:cNvSpPr/>
            <p:nvPr userDrawn="1"/>
          </p:nvSpPr>
          <p:spPr bwMode="auto">
            <a:xfrm>
              <a:off x="7927846" y="3833812"/>
              <a:ext cx="258763" cy="750888"/>
            </a:xfrm>
            <a:custGeom>
              <a:avLst/>
              <a:gdLst>
                <a:gd name="T0" fmla="*/ 50 w 78"/>
                <a:gd name="T1" fmla="*/ 0 h 228"/>
                <a:gd name="T2" fmla="*/ 48 w 78"/>
                <a:gd name="T3" fmla="*/ 1 h 228"/>
                <a:gd name="T4" fmla="*/ 18 w 78"/>
                <a:gd name="T5" fmla="*/ 10 h 228"/>
                <a:gd name="T6" fmla="*/ 6 w 78"/>
                <a:gd name="T7" fmla="*/ 13 h 228"/>
                <a:gd name="T8" fmla="*/ 6 w 78"/>
                <a:gd name="T9" fmla="*/ 20 h 228"/>
                <a:gd name="T10" fmla="*/ 30 w 78"/>
                <a:gd name="T11" fmla="*/ 93 h 228"/>
                <a:gd name="T12" fmla="*/ 31 w 78"/>
                <a:gd name="T13" fmla="*/ 158 h 228"/>
                <a:gd name="T14" fmla="*/ 33 w 78"/>
                <a:gd name="T15" fmla="*/ 177 h 228"/>
                <a:gd name="T16" fmla="*/ 33 w 78"/>
                <a:gd name="T17" fmla="*/ 177 h 228"/>
                <a:gd name="T18" fmla="*/ 35 w 78"/>
                <a:gd name="T19" fmla="*/ 190 h 228"/>
                <a:gd name="T20" fmla="*/ 35 w 78"/>
                <a:gd name="T21" fmla="*/ 189 h 228"/>
                <a:gd name="T22" fmla="*/ 38 w 78"/>
                <a:gd name="T23" fmla="*/ 206 h 228"/>
                <a:gd name="T24" fmla="*/ 42 w 78"/>
                <a:gd name="T25" fmla="*/ 223 h 228"/>
                <a:gd name="T26" fmla="*/ 52 w 78"/>
                <a:gd name="T27" fmla="*/ 228 h 228"/>
                <a:gd name="T28" fmla="*/ 72 w 78"/>
                <a:gd name="T29" fmla="*/ 136 h 228"/>
                <a:gd name="T30" fmla="*/ 73 w 78"/>
                <a:gd name="T31" fmla="*/ 62 h 228"/>
                <a:gd name="T32" fmla="*/ 73 w 78"/>
                <a:gd name="T33" fmla="*/ 62 h 228"/>
                <a:gd name="T34" fmla="*/ 65 w 78"/>
                <a:gd name="T35" fmla="*/ 34 h 228"/>
                <a:gd name="T36" fmla="*/ 50 w 78"/>
                <a:gd name="T3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" h="228">
                  <a:moveTo>
                    <a:pt x="50" y="0"/>
                  </a:moveTo>
                  <a:cubicBezTo>
                    <a:pt x="50" y="0"/>
                    <a:pt x="49" y="1"/>
                    <a:pt x="48" y="1"/>
                  </a:cubicBezTo>
                  <a:cubicBezTo>
                    <a:pt x="47" y="1"/>
                    <a:pt x="32" y="8"/>
                    <a:pt x="18" y="10"/>
                  </a:cubicBezTo>
                  <a:cubicBezTo>
                    <a:pt x="13" y="11"/>
                    <a:pt x="9" y="11"/>
                    <a:pt x="6" y="13"/>
                  </a:cubicBezTo>
                  <a:cubicBezTo>
                    <a:pt x="3" y="14"/>
                    <a:pt x="3" y="18"/>
                    <a:pt x="6" y="20"/>
                  </a:cubicBezTo>
                  <a:cubicBezTo>
                    <a:pt x="0" y="49"/>
                    <a:pt x="13" y="67"/>
                    <a:pt x="30" y="93"/>
                  </a:cubicBezTo>
                  <a:cubicBezTo>
                    <a:pt x="40" y="109"/>
                    <a:pt x="31" y="118"/>
                    <a:pt x="31" y="158"/>
                  </a:cubicBezTo>
                  <a:cubicBezTo>
                    <a:pt x="31" y="163"/>
                    <a:pt x="31" y="167"/>
                    <a:pt x="33" y="177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34" y="182"/>
                    <a:pt x="34" y="186"/>
                    <a:pt x="35" y="190"/>
                  </a:cubicBezTo>
                  <a:cubicBezTo>
                    <a:pt x="35" y="189"/>
                    <a:pt x="35" y="189"/>
                    <a:pt x="35" y="189"/>
                  </a:cubicBezTo>
                  <a:cubicBezTo>
                    <a:pt x="37" y="201"/>
                    <a:pt x="38" y="206"/>
                    <a:pt x="38" y="206"/>
                  </a:cubicBezTo>
                  <a:cubicBezTo>
                    <a:pt x="40" y="209"/>
                    <a:pt x="42" y="224"/>
                    <a:pt x="42" y="223"/>
                  </a:cubicBezTo>
                  <a:cubicBezTo>
                    <a:pt x="43" y="227"/>
                    <a:pt x="48" y="228"/>
                    <a:pt x="52" y="228"/>
                  </a:cubicBezTo>
                  <a:cubicBezTo>
                    <a:pt x="57" y="228"/>
                    <a:pt x="55" y="227"/>
                    <a:pt x="72" y="136"/>
                  </a:cubicBezTo>
                  <a:cubicBezTo>
                    <a:pt x="78" y="105"/>
                    <a:pt x="77" y="83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1" y="53"/>
                    <a:pt x="68" y="43"/>
                    <a:pt x="65" y="34"/>
                  </a:cubicBezTo>
                  <a:cubicBezTo>
                    <a:pt x="56" y="10"/>
                    <a:pt x="57" y="0"/>
                    <a:pt x="50" y="0"/>
                  </a:cubicBezTo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9" name="任意多边形: 形状 568"/>
            <p:cNvSpPr/>
            <p:nvPr userDrawn="1"/>
          </p:nvSpPr>
          <p:spPr bwMode="auto">
            <a:xfrm>
              <a:off x="8140571" y="3009900"/>
              <a:ext cx="200025" cy="454025"/>
            </a:xfrm>
            <a:custGeom>
              <a:avLst/>
              <a:gdLst>
                <a:gd name="T0" fmla="*/ 13 w 61"/>
                <a:gd name="T1" fmla="*/ 0 h 138"/>
                <a:gd name="T2" fmla="*/ 13 w 61"/>
                <a:gd name="T3" fmla="*/ 0 h 138"/>
                <a:gd name="T4" fmla="*/ 9 w 61"/>
                <a:gd name="T5" fmla="*/ 5 h 138"/>
                <a:gd name="T6" fmla="*/ 9 w 61"/>
                <a:gd name="T7" fmla="*/ 8 h 138"/>
                <a:gd name="T8" fmla="*/ 16 w 61"/>
                <a:gd name="T9" fmla="*/ 32 h 138"/>
                <a:gd name="T10" fmla="*/ 16 w 61"/>
                <a:gd name="T11" fmla="*/ 32 h 138"/>
                <a:gd name="T12" fmla="*/ 16 w 61"/>
                <a:gd name="T13" fmla="*/ 32 h 138"/>
                <a:gd name="T14" fmla="*/ 16 w 61"/>
                <a:gd name="T15" fmla="*/ 32 h 138"/>
                <a:gd name="T16" fmla="*/ 16 w 61"/>
                <a:gd name="T17" fmla="*/ 32 h 138"/>
                <a:gd name="T18" fmla="*/ 16 w 61"/>
                <a:gd name="T19" fmla="*/ 32 h 138"/>
                <a:gd name="T20" fmla="*/ 16 w 61"/>
                <a:gd name="T21" fmla="*/ 32 h 138"/>
                <a:gd name="T22" fmla="*/ 16 w 61"/>
                <a:gd name="T23" fmla="*/ 32 h 138"/>
                <a:gd name="T24" fmla="*/ 16 w 61"/>
                <a:gd name="T25" fmla="*/ 32 h 138"/>
                <a:gd name="T26" fmla="*/ 16 w 61"/>
                <a:gd name="T27" fmla="*/ 32 h 138"/>
                <a:gd name="T28" fmla="*/ 16 w 61"/>
                <a:gd name="T29" fmla="*/ 33 h 138"/>
                <a:gd name="T30" fmla="*/ 16 w 61"/>
                <a:gd name="T31" fmla="*/ 33 h 138"/>
                <a:gd name="T32" fmla="*/ 18 w 61"/>
                <a:gd name="T33" fmla="*/ 34 h 138"/>
                <a:gd name="T34" fmla="*/ 18 w 61"/>
                <a:gd name="T35" fmla="*/ 34 h 138"/>
                <a:gd name="T36" fmla="*/ 18 w 61"/>
                <a:gd name="T37" fmla="*/ 35 h 138"/>
                <a:gd name="T38" fmla="*/ 18 w 61"/>
                <a:gd name="T39" fmla="*/ 35 h 138"/>
                <a:gd name="T40" fmla="*/ 22 w 61"/>
                <a:gd name="T41" fmla="*/ 38 h 138"/>
                <a:gd name="T42" fmla="*/ 22 w 61"/>
                <a:gd name="T43" fmla="*/ 38 h 138"/>
                <a:gd name="T44" fmla="*/ 22 w 61"/>
                <a:gd name="T45" fmla="*/ 38 h 138"/>
                <a:gd name="T46" fmla="*/ 22 w 61"/>
                <a:gd name="T47" fmla="*/ 38 h 138"/>
                <a:gd name="T48" fmla="*/ 22 w 61"/>
                <a:gd name="T49" fmla="*/ 38 h 138"/>
                <a:gd name="T50" fmla="*/ 27 w 61"/>
                <a:gd name="T51" fmla="*/ 67 h 138"/>
                <a:gd name="T52" fmla="*/ 27 w 61"/>
                <a:gd name="T53" fmla="*/ 67 h 138"/>
                <a:gd name="T54" fmla="*/ 12 w 61"/>
                <a:gd name="T55" fmla="*/ 117 h 138"/>
                <a:gd name="T56" fmla="*/ 1 w 61"/>
                <a:gd name="T57" fmla="*/ 129 h 138"/>
                <a:gd name="T58" fmla="*/ 3 w 61"/>
                <a:gd name="T59" fmla="*/ 132 h 138"/>
                <a:gd name="T60" fmla="*/ 5 w 61"/>
                <a:gd name="T61" fmla="*/ 134 h 138"/>
                <a:gd name="T62" fmla="*/ 9 w 61"/>
                <a:gd name="T63" fmla="*/ 137 h 138"/>
                <a:gd name="T64" fmla="*/ 34 w 61"/>
                <a:gd name="T65" fmla="*/ 118 h 138"/>
                <a:gd name="T66" fmla="*/ 34 w 61"/>
                <a:gd name="T67" fmla="*/ 118 h 138"/>
                <a:gd name="T68" fmla="*/ 54 w 61"/>
                <a:gd name="T69" fmla="*/ 81 h 138"/>
                <a:gd name="T70" fmla="*/ 40 w 61"/>
                <a:gd name="T71" fmla="*/ 39 h 138"/>
                <a:gd name="T72" fmla="*/ 40 w 61"/>
                <a:gd name="T73" fmla="*/ 39 h 138"/>
                <a:gd name="T74" fmla="*/ 34 w 61"/>
                <a:gd name="T75" fmla="*/ 28 h 138"/>
                <a:gd name="T76" fmla="*/ 20 w 61"/>
                <a:gd name="T77" fmla="*/ 4 h 138"/>
                <a:gd name="T78" fmla="*/ 20 w 61"/>
                <a:gd name="T79" fmla="*/ 4 h 138"/>
                <a:gd name="T80" fmla="*/ 16 w 61"/>
                <a:gd name="T81" fmla="*/ 1 h 138"/>
                <a:gd name="T82" fmla="*/ 16 w 61"/>
                <a:gd name="T83" fmla="*/ 1 h 138"/>
                <a:gd name="T84" fmla="*/ 13 w 61"/>
                <a:gd name="T85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1" h="138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7" y="2"/>
                    <a:pt x="9" y="5"/>
                  </a:cubicBezTo>
                  <a:cubicBezTo>
                    <a:pt x="9" y="6"/>
                    <a:pt x="9" y="8"/>
                    <a:pt x="9" y="8"/>
                  </a:cubicBezTo>
                  <a:cubicBezTo>
                    <a:pt x="10" y="14"/>
                    <a:pt x="10" y="27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3"/>
                    <a:pt x="17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7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4" y="42"/>
                    <a:pt x="23" y="4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33" y="101"/>
                    <a:pt x="43" y="80"/>
                    <a:pt x="12" y="117"/>
                  </a:cubicBezTo>
                  <a:cubicBezTo>
                    <a:pt x="5" y="125"/>
                    <a:pt x="3" y="127"/>
                    <a:pt x="1" y="129"/>
                  </a:cubicBezTo>
                  <a:cubicBezTo>
                    <a:pt x="0" y="130"/>
                    <a:pt x="1" y="133"/>
                    <a:pt x="3" y="132"/>
                  </a:cubicBezTo>
                  <a:cubicBezTo>
                    <a:pt x="3" y="133"/>
                    <a:pt x="4" y="134"/>
                    <a:pt x="5" y="134"/>
                  </a:cubicBezTo>
                  <a:cubicBezTo>
                    <a:pt x="7" y="135"/>
                    <a:pt x="6" y="136"/>
                    <a:pt x="9" y="137"/>
                  </a:cubicBezTo>
                  <a:cubicBezTo>
                    <a:pt x="14" y="138"/>
                    <a:pt x="20" y="130"/>
                    <a:pt x="34" y="118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55" y="101"/>
                    <a:pt x="61" y="103"/>
                    <a:pt x="54" y="81"/>
                  </a:cubicBezTo>
                  <a:cubicBezTo>
                    <a:pt x="43" y="44"/>
                    <a:pt x="42" y="43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36" y="30"/>
                    <a:pt x="36" y="33"/>
                    <a:pt x="34" y="28"/>
                  </a:cubicBezTo>
                  <a:cubicBezTo>
                    <a:pt x="34" y="17"/>
                    <a:pt x="33" y="12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9" y="3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0"/>
                    <a:pt x="14" y="0"/>
                    <a:pt x="13" y="0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0" name="任意多边形: 形状 569"/>
            <p:cNvSpPr/>
            <p:nvPr userDrawn="1"/>
          </p:nvSpPr>
          <p:spPr bwMode="auto">
            <a:xfrm>
              <a:off x="7630983" y="3714750"/>
              <a:ext cx="195263" cy="342900"/>
            </a:xfrm>
            <a:custGeom>
              <a:avLst/>
              <a:gdLst>
                <a:gd name="T0" fmla="*/ 57 w 59"/>
                <a:gd name="T1" fmla="*/ 5 h 104"/>
                <a:gd name="T2" fmla="*/ 52 w 59"/>
                <a:gd name="T3" fmla="*/ 0 h 104"/>
                <a:gd name="T4" fmla="*/ 47 w 59"/>
                <a:gd name="T5" fmla="*/ 3 h 104"/>
                <a:gd name="T6" fmla="*/ 45 w 59"/>
                <a:gd name="T7" fmla="*/ 4 h 104"/>
                <a:gd name="T8" fmla="*/ 26 w 59"/>
                <a:gd name="T9" fmla="*/ 49 h 104"/>
                <a:gd name="T10" fmla="*/ 21 w 59"/>
                <a:gd name="T11" fmla="*/ 59 h 104"/>
                <a:gd name="T12" fmla="*/ 15 w 59"/>
                <a:gd name="T13" fmla="*/ 67 h 104"/>
                <a:gd name="T14" fmla="*/ 4 w 59"/>
                <a:gd name="T15" fmla="*/ 75 h 104"/>
                <a:gd name="T16" fmla="*/ 1 w 59"/>
                <a:gd name="T17" fmla="*/ 82 h 104"/>
                <a:gd name="T18" fmla="*/ 1 w 59"/>
                <a:gd name="T19" fmla="*/ 95 h 104"/>
                <a:gd name="T20" fmla="*/ 4 w 59"/>
                <a:gd name="T21" fmla="*/ 103 h 104"/>
                <a:gd name="T22" fmla="*/ 10 w 59"/>
                <a:gd name="T23" fmla="*/ 94 h 104"/>
                <a:gd name="T24" fmla="*/ 19 w 59"/>
                <a:gd name="T25" fmla="*/ 82 h 104"/>
                <a:gd name="T26" fmla="*/ 26 w 59"/>
                <a:gd name="T27" fmla="*/ 76 h 104"/>
                <a:gd name="T28" fmla="*/ 26 w 59"/>
                <a:gd name="T29" fmla="*/ 75 h 104"/>
                <a:gd name="T30" fmla="*/ 53 w 59"/>
                <a:gd name="T31" fmla="*/ 26 h 104"/>
                <a:gd name="T32" fmla="*/ 56 w 59"/>
                <a:gd name="T33" fmla="*/ 20 h 104"/>
                <a:gd name="T34" fmla="*/ 57 w 59"/>
                <a:gd name="T35" fmla="*/ 17 h 104"/>
                <a:gd name="T36" fmla="*/ 57 w 59"/>
                <a:gd name="T37" fmla="*/ 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" h="104">
                  <a:moveTo>
                    <a:pt x="57" y="5"/>
                  </a:moveTo>
                  <a:cubicBezTo>
                    <a:pt x="56" y="2"/>
                    <a:pt x="55" y="0"/>
                    <a:pt x="52" y="0"/>
                  </a:cubicBezTo>
                  <a:cubicBezTo>
                    <a:pt x="50" y="0"/>
                    <a:pt x="49" y="1"/>
                    <a:pt x="47" y="3"/>
                  </a:cubicBezTo>
                  <a:cubicBezTo>
                    <a:pt x="46" y="3"/>
                    <a:pt x="46" y="3"/>
                    <a:pt x="45" y="4"/>
                  </a:cubicBezTo>
                  <a:cubicBezTo>
                    <a:pt x="40" y="14"/>
                    <a:pt x="31" y="36"/>
                    <a:pt x="26" y="49"/>
                  </a:cubicBezTo>
                  <a:cubicBezTo>
                    <a:pt x="24" y="53"/>
                    <a:pt x="22" y="56"/>
                    <a:pt x="21" y="59"/>
                  </a:cubicBezTo>
                  <a:cubicBezTo>
                    <a:pt x="19" y="63"/>
                    <a:pt x="18" y="65"/>
                    <a:pt x="15" y="67"/>
                  </a:cubicBezTo>
                  <a:cubicBezTo>
                    <a:pt x="7" y="72"/>
                    <a:pt x="6" y="73"/>
                    <a:pt x="4" y="75"/>
                  </a:cubicBezTo>
                  <a:cubicBezTo>
                    <a:pt x="1" y="80"/>
                    <a:pt x="1" y="82"/>
                    <a:pt x="1" y="82"/>
                  </a:cubicBezTo>
                  <a:cubicBezTo>
                    <a:pt x="0" y="90"/>
                    <a:pt x="1" y="93"/>
                    <a:pt x="1" y="95"/>
                  </a:cubicBezTo>
                  <a:cubicBezTo>
                    <a:pt x="2" y="100"/>
                    <a:pt x="1" y="103"/>
                    <a:pt x="4" y="103"/>
                  </a:cubicBezTo>
                  <a:cubicBezTo>
                    <a:pt x="8" y="104"/>
                    <a:pt x="9" y="98"/>
                    <a:pt x="10" y="94"/>
                  </a:cubicBezTo>
                  <a:cubicBezTo>
                    <a:pt x="12" y="86"/>
                    <a:pt x="14" y="85"/>
                    <a:pt x="19" y="82"/>
                  </a:cubicBezTo>
                  <a:cubicBezTo>
                    <a:pt x="24" y="78"/>
                    <a:pt x="25" y="78"/>
                    <a:pt x="26" y="76"/>
                  </a:cubicBezTo>
                  <a:cubicBezTo>
                    <a:pt x="26" y="76"/>
                    <a:pt x="26" y="75"/>
                    <a:pt x="26" y="75"/>
                  </a:cubicBezTo>
                  <a:cubicBezTo>
                    <a:pt x="32" y="70"/>
                    <a:pt x="36" y="56"/>
                    <a:pt x="53" y="26"/>
                  </a:cubicBezTo>
                  <a:cubicBezTo>
                    <a:pt x="55" y="22"/>
                    <a:pt x="54" y="22"/>
                    <a:pt x="56" y="20"/>
                  </a:cubicBezTo>
                  <a:cubicBezTo>
                    <a:pt x="57" y="18"/>
                    <a:pt x="58" y="18"/>
                    <a:pt x="57" y="17"/>
                  </a:cubicBezTo>
                  <a:cubicBezTo>
                    <a:pt x="59" y="13"/>
                    <a:pt x="59" y="10"/>
                    <a:pt x="57" y="5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1" name="任意多边形: 形状 570"/>
            <p:cNvSpPr/>
            <p:nvPr userDrawn="1"/>
          </p:nvSpPr>
          <p:spPr bwMode="auto">
            <a:xfrm>
              <a:off x="7734171" y="3827462"/>
              <a:ext cx="3175" cy="3175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9A9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2" name="任意多边形: 形状 571"/>
            <p:cNvSpPr/>
            <p:nvPr userDrawn="1"/>
          </p:nvSpPr>
          <p:spPr bwMode="auto">
            <a:xfrm>
              <a:off x="8061196" y="4598987"/>
              <a:ext cx="147638" cy="79375"/>
            </a:xfrm>
            <a:custGeom>
              <a:avLst/>
              <a:gdLst>
                <a:gd name="T0" fmla="*/ 12 w 45"/>
                <a:gd name="T1" fmla="*/ 2 h 24"/>
                <a:gd name="T2" fmla="*/ 5 w 45"/>
                <a:gd name="T3" fmla="*/ 2 h 24"/>
                <a:gd name="T4" fmla="*/ 0 w 45"/>
                <a:gd name="T5" fmla="*/ 11 h 24"/>
                <a:gd name="T6" fmla="*/ 4 w 45"/>
                <a:gd name="T7" fmla="*/ 20 h 24"/>
                <a:gd name="T8" fmla="*/ 27 w 45"/>
                <a:gd name="T9" fmla="*/ 23 h 24"/>
                <a:gd name="T10" fmla="*/ 43 w 45"/>
                <a:gd name="T11" fmla="*/ 19 h 24"/>
                <a:gd name="T12" fmla="*/ 43 w 45"/>
                <a:gd name="T13" fmla="*/ 13 h 24"/>
                <a:gd name="T14" fmla="*/ 40 w 45"/>
                <a:gd name="T15" fmla="*/ 12 h 24"/>
                <a:gd name="T16" fmla="*/ 32 w 45"/>
                <a:gd name="T17" fmla="*/ 8 h 24"/>
                <a:gd name="T18" fmla="*/ 12 w 45"/>
                <a:gd name="T19" fmla="*/ 2 h 24"/>
                <a:gd name="T20" fmla="*/ 17 w 45"/>
                <a:gd name="T21" fmla="*/ 23 h 24"/>
                <a:gd name="T22" fmla="*/ 17 w 45"/>
                <a:gd name="T23" fmla="*/ 23 h 24"/>
                <a:gd name="T24" fmla="*/ 19 w 45"/>
                <a:gd name="T25" fmla="*/ 23 h 24"/>
                <a:gd name="T26" fmla="*/ 19 w 45"/>
                <a:gd name="T27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24">
                  <a:moveTo>
                    <a:pt x="12" y="2"/>
                  </a:moveTo>
                  <a:cubicBezTo>
                    <a:pt x="10" y="3"/>
                    <a:pt x="6" y="1"/>
                    <a:pt x="5" y="2"/>
                  </a:cubicBezTo>
                  <a:cubicBezTo>
                    <a:pt x="1" y="3"/>
                    <a:pt x="0" y="8"/>
                    <a:pt x="0" y="11"/>
                  </a:cubicBezTo>
                  <a:cubicBezTo>
                    <a:pt x="0" y="15"/>
                    <a:pt x="1" y="18"/>
                    <a:pt x="4" y="20"/>
                  </a:cubicBezTo>
                  <a:cubicBezTo>
                    <a:pt x="7" y="21"/>
                    <a:pt x="19" y="24"/>
                    <a:pt x="27" y="23"/>
                  </a:cubicBezTo>
                  <a:cubicBezTo>
                    <a:pt x="35" y="22"/>
                    <a:pt x="41" y="22"/>
                    <a:pt x="43" y="19"/>
                  </a:cubicBezTo>
                  <a:cubicBezTo>
                    <a:pt x="45" y="17"/>
                    <a:pt x="45" y="14"/>
                    <a:pt x="43" y="13"/>
                  </a:cubicBezTo>
                  <a:cubicBezTo>
                    <a:pt x="42" y="12"/>
                    <a:pt x="41" y="12"/>
                    <a:pt x="40" y="12"/>
                  </a:cubicBezTo>
                  <a:cubicBezTo>
                    <a:pt x="33" y="9"/>
                    <a:pt x="34" y="9"/>
                    <a:pt x="32" y="8"/>
                  </a:cubicBezTo>
                  <a:cubicBezTo>
                    <a:pt x="19" y="0"/>
                    <a:pt x="18" y="1"/>
                    <a:pt x="12" y="2"/>
                  </a:cubicBezTo>
                  <a:moveTo>
                    <a:pt x="17" y="23"/>
                  </a:moveTo>
                  <a:cubicBezTo>
                    <a:pt x="18" y="23"/>
                    <a:pt x="18" y="23"/>
                    <a:pt x="17" y="23"/>
                  </a:cubicBezTo>
                  <a:moveTo>
                    <a:pt x="19" y="23"/>
                  </a:moveTo>
                  <a:cubicBezTo>
                    <a:pt x="18" y="23"/>
                    <a:pt x="18" y="23"/>
                    <a:pt x="19" y="23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3" name="任意多边形: 形状 572"/>
            <p:cNvSpPr/>
            <p:nvPr userDrawn="1"/>
          </p:nvSpPr>
          <p:spPr bwMode="auto">
            <a:xfrm>
              <a:off x="7578596" y="4367212"/>
              <a:ext cx="85725" cy="174625"/>
            </a:xfrm>
            <a:custGeom>
              <a:avLst/>
              <a:gdLst>
                <a:gd name="T0" fmla="*/ 11 w 26"/>
                <a:gd name="T1" fmla="*/ 0 h 53"/>
                <a:gd name="T2" fmla="*/ 1 w 26"/>
                <a:gd name="T3" fmla="*/ 5 h 53"/>
                <a:gd name="T4" fmla="*/ 2 w 26"/>
                <a:gd name="T5" fmla="*/ 16 h 53"/>
                <a:gd name="T6" fmla="*/ 9 w 26"/>
                <a:gd name="T7" fmla="*/ 29 h 53"/>
                <a:gd name="T8" fmla="*/ 18 w 26"/>
                <a:gd name="T9" fmla="*/ 49 h 53"/>
                <a:gd name="T10" fmla="*/ 25 w 26"/>
                <a:gd name="T11" fmla="*/ 50 h 53"/>
                <a:gd name="T12" fmla="*/ 26 w 26"/>
                <a:gd name="T13" fmla="*/ 32 h 53"/>
                <a:gd name="T14" fmla="*/ 24 w 26"/>
                <a:gd name="T15" fmla="*/ 17 h 53"/>
                <a:gd name="T16" fmla="*/ 19 w 26"/>
                <a:gd name="T17" fmla="*/ 7 h 53"/>
                <a:gd name="T18" fmla="*/ 18 w 26"/>
                <a:gd name="T19" fmla="*/ 5 h 53"/>
                <a:gd name="T20" fmla="*/ 11 w 26"/>
                <a:gd name="T21" fmla="*/ 0 h 53"/>
                <a:gd name="T22" fmla="*/ 11 w 26"/>
                <a:gd name="T23" fmla="*/ 0 h 53"/>
                <a:gd name="T24" fmla="*/ 22 w 26"/>
                <a:gd name="T25" fmla="*/ 15 h 53"/>
                <a:gd name="T26" fmla="*/ 22 w 26"/>
                <a:gd name="T27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53">
                  <a:moveTo>
                    <a:pt x="11" y="0"/>
                  </a:moveTo>
                  <a:cubicBezTo>
                    <a:pt x="7" y="0"/>
                    <a:pt x="3" y="2"/>
                    <a:pt x="1" y="5"/>
                  </a:cubicBezTo>
                  <a:cubicBezTo>
                    <a:pt x="0" y="8"/>
                    <a:pt x="0" y="11"/>
                    <a:pt x="2" y="16"/>
                  </a:cubicBezTo>
                  <a:cubicBezTo>
                    <a:pt x="4" y="25"/>
                    <a:pt x="6" y="24"/>
                    <a:pt x="9" y="29"/>
                  </a:cubicBezTo>
                  <a:cubicBezTo>
                    <a:pt x="12" y="36"/>
                    <a:pt x="14" y="44"/>
                    <a:pt x="18" y="49"/>
                  </a:cubicBezTo>
                  <a:cubicBezTo>
                    <a:pt x="22" y="53"/>
                    <a:pt x="25" y="51"/>
                    <a:pt x="25" y="50"/>
                  </a:cubicBezTo>
                  <a:cubicBezTo>
                    <a:pt x="26" y="48"/>
                    <a:pt x="26" y="33"/>
                    <a:pt x="26" y="32"/>
                  </a:cubicBezTo>
                  <a:cubicBezTo>
                    <a:pt x="25" y="23"/>
                    <a:pt x="26" y="20"/>
                    <a:pt x="24" y="17"/>
                  </a:cubicBezTo>
                  <a:cubicBezTo>
                    <a:pt x="23" y="14"/>
                    <a:pt x="18" y="15"/>
                    <a:pt x="19" y="7"/>
                  </a:cubicBezTo>
                  <a:cubicBezTo>
                    <a:pt x="19" y="6"/>
                    <a:pt x="18" y="5"/>
                    <a:pt x="18" y="5"/>
                  </a:cubicBezTo>
                  <a:cubicBezTo>
                    <a:pt x="17" y="1"/>
                    <a:pt x="14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moveTo>
                    <a:pt x="22" y="15"/>
                  </a:moveTo>
                  <a:cubicBezTo>
                    <a:pt x="22" y="15"/>
                    <a:pt x="22" y="15"/>
                    <a:pt x="22" y="15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4" name="任意多边形: 形状 573"/>
            <p:cNvSpPr/>
            <p:nvPr userDrawn="1"/>
          </p:nvSpPr>
          <p:spPr bwMode="auto">
            <a:xfrm>
              <a:off x="7759571" y="3332162"/>
              <a:ext cx="534988" cy="571500"/>
            </a:xfrm>
            <a:custGeom>
              <a:avLst/>
              <a:gdLst>
                <a:gd name="T0" fmla="*/ 143 w 162"/>
                <a:gd name="T1" fmla="*/ 0 h 173"/>
                <a:gd name="T2" fmla="*/ 128 w 162"/>
                <a:gd name="T3" fmla="*/ 10 h 173"/>
                <a:gd name="T4" fmla="*/ 124 w 162"/>
                <a:gd name="T5" fmla="*/ 13 h 173"/>
                <a:gd name="T6" fmla="*/ 118 w 162"/>
                <a:gd name="T7" fmla="*/ 17 h 173"/>
                <a:gd name="T8" fmla="*/ 104 w 162"/>
                <a:gd name="T9" fmla="*/ 26 h 173"/>
                <a:gd name="T10" fmla="*/ 88 w 162"/>
                <a:gd name="T11" fmla="*/ 30 h 173"/>
                <a:gd name="T12" fmla="*/ 84 w 162"/>
                <a:gd name="T13" fmla="*/ 31 h 173"/>
                <a:gd name="T14" fmla="*/ 84 w 162"/>
                <a:gd name="T15" fmla="*/ 31 h 173"/>
                <a:gd name="T16" fmla="*/ 80 w 162"/>
                <a:gd name="T17" fmla="*/ 33 h 173"/>
                <a:gd name="T18" fmla="*/ 78 w 162"/>
                <a:gd name="T19" fmla="*/ 34 h 173"/>
                <a:gd name="T20" fmla="*/ 70 w 162"/>
                <a:gd name="T21" fmla="*/ 36 h 173"/>
                <a:gd name="T22" fmla="*/ 67 w 162"/>
                <a:gd name="T23" fmla="*/ 37 h 173"/>
                <a:gd name="T24" fmla="*/ 67 w 162"/>
                <a:gd name="T25" fmla="*/ 37 h 173"/>
                <a:gd name="T26" fmla="*/ 67 w 162"/>
                <a:gd name="T27" fmla="*/ 37 h 173"/>
                <a:gd name="T28" fmla="*/ 67 w 162"/>
                <a:gd name="T29" fmla="*/ 37 h 173"/>
                <a:gd name="T30" fmla="*/ 56 w 162"/>
                <a:gd name="T31" fmla="*/ 39 h 173"/>
                <a:gd name="T32" fmla="*/ 35 w 162"/>
                <a:gd name="T33" fmla="*/ 52 h 173"/>
                <a:gd name="T34" fmla="*/ 35 w 162"/>
                <a:gd name="T35" fmla="*/ 52 h 173"/>
                <a:gd name="T36" fmla="*/ 17 w 162"/>
                <a:gd name="T37" fmla="*/ 87 h 173"/>
                <a:gd name="T38" fmla="*/ 2 w 162"/>
                <a:gd name="T39" fmla="*/ 121 h 173"/>
                <a:gd name="T40" fmla="*/ 2 w 162"/>
                <a:gd name="T41" fmla="*/ 121 h 173"/>
                <a:gd name="T42" fmla="*/ 2 w 162"/>
                <a:gd name="T43" fmla="*/ 121 h 173"/>
                <a:gd name="T44" fmla="*/ 2 w 162"/>
                <a:gd name="T45" fmla="*/ 121 h 173"/>
                <a:gd name="T46" fmla="*/ 4 w 162"/>
                <a:gd name="T47" fmla="*/ 132 h 173"/>
                <a:gd name="T48" fmla="*/ 9 w 162"/>
                <a:gd name="T49" fmla="*/ 137 h 173"/>
                <a:gd name="T50" fmla="*/ 9 w 162"/>
                <a:gd name="T51" fmla="*/ 137 h 173"/>
                <a:gd name="T52" fmla="*/ 26 w 162"/>
                <a:gd name="T53" fmla="*/ 128 h 173"/>
                <a:gd name="T54" fmla="*/ 33 w 162"/>
                <a:gd name="T55" fmla="*/ 117 h 173"/>
                <a:gd name="T56" fmla="*/ 37 w 162"/>
                <a:gd name="T57" fmla="*/ 119 h 173"/>
                <a:gd name="T58" fmla="*/ 36 w 162"/>
                <a:gd name="T59" fmla="*/ 151 h 173"/>
                <a:gd name="T60" fmla="*/ 41 w 162"/>
                <a:gd name="T61" fmla="*/ 170 h 173"/>
                <a:gd name="T62" fmla="*/ 52 w 162"/>
                <a:gd name="T63" fmla="*/ 171 h 173"/>
                <a:gd name="T64" fmla="*/ 68 w 162"/>
                <a:gd name="T65" fmla="*/ 172 h 173"/>
                <a:gd name="T66" fmla="*/ 76 w 162"/>
                <a:gd name="T67" fmla="*/ 172 h 173"/>
                <a:gd name="T68" fmla="*/ 101 w 162"/>
                <a:gd name="T69" fmla="*/ 169 h 173"/>
                <a:gd name="T70" fmla="*/ 111 w 162"/>
                <a:gd name="T71" fmla="*/ 158 h 173"/>
                <a:gd name="T72" fmla="*/ 114 w 162"/>
                <a:gd name="T73" fmla="*/ 87 h 173"/>
                <a:gd name="T74" fmla="*/ 114 w 162"/>
                <a:gd name="T75" fmla="*/ 79 h 173"/>
                <a:gd name="T76" fmla="*/ 119 w 162"/>
                <a:gd name="T77" fmla="*/ 62 h 173"/>
                <a:gd name="T78" fmla="*/ 118 w 162"/>
                <a:gd name="T79" fmla="*/ 62 h 173"/>
                <a:gd name="T80" fmla="*/ 122 w 162"/>
                <a:gd name="T81" fmla="*/ 58 h 173"/>
                <a:gd name="T82" fmla="*/ 122 w 162"/>
                <a:gd name="T83" fmla="*/ 58 h 173"/>
                <a:gd name="T84" fmla="*/ 142 w 162"/>
                <a:gd name="T85" fmla="*/ 41 h 173"/>
                <a:gd name="T86" fmla="*/ 149 w 162"/>
                <a:gd name="T87" fmla="*/ 36 h 173"/>
                <a:gd name="T88" fmla="*/ 149 w 162"/>
                <a:gd name="T89" fmla="*/ 36 h 173"/>
                <a:gd name="T90" fmla="*/ 150 w 162"/>
                <a:gd name="T91" fmla="*/ 35 h 173"/>
                <a:gd name="T92" fmla="*/ 160 w 162"/>
                <a:gd name="T93" fmla="*/ 23 h 173"/>
                <a:gd name="T94" fmla="*/ 160 w 162"/>
                <a:gd name="T95" fmla="*/ 24 h 173"/>
                <a:gd name="T96" fmla="*/ 162 w 162"/>
                <a:gd name="T97" fmla="*/ 19 h 173"/>
                <a:gd name="T98" fmla="*/ 151 w 162"/>
                <a:gd name="T99" fmla="*/ 7 h 173"/>
                <a:gd name="T100" fmla="*/ 143 w 162"/>
                <a:gd name="T101" fmla="*/ 0 h 173"/>
                <a:gd name="T102" fmla="*/ 13 w 162"/>
                <a:gd name="T103" fmla="*/ 134 h 173"/>
                <a:gd name="T104" fmla="*/ 13 w 162"/>
                <a:gd name="T105" fmla="*/ 134 h 173"/>
                <a:gd name="T106" fmla="*/ 13 w 162"/>
                <a:gd name="T107" fmla="*/ 13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2" h="173">
                  <a:moveTo>
                    <a:pt x="143" y="0"/>
                  </a:moveTo>
                  <a:cubicBezTo>
                    <a:pt x="139" y="0"/>
                    <a:pt x="135" y="5"/>
                    <a:pt x="128" y="10"/>
                  </a:cubicBezTo>
                  <a:cubicBezTo>
                    <a:pt x="125" y="12"/>
                    <a:pt x="124" y="13"/>
                    <a:pt x="124" y="13"/>
                  </a:cubicBezTo>
                  <a:cubicBezTo>
                    <a:pt x="122" y="15"/>
                    <a:pt x="117" y="17"/>
                    <a:pt x="118" y="17"/>
                  </a:cubicBezTo>
                  <a:cubicBezTo>
                    <a:pt x="110" y="21"/>
                    <a:pt x="110" y="22"/>
                    <a:pt x="104" y="26"/>
                  </a:cubicBezTo>
                  <a:cubicBezTo>
                    <a:pt x="101" y="28"/>
                    <a:pt x="98" y="28"/>
                    <a:pt x="88" y="30"/>
                  </a:cubicBezTo>
                  <a:cubicBezTo>
                    <a:pt x="85" y="31"/>
                    <a:pt x="86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3" y="31"/>
                    <a:pt x="80" y="33"/>
                  </a:cubicBezTo>
                  <a:cubicBezTo>
                    <a:pt x="79" y="34"/>
                    <a:pt x="80" y="33"/>
                    <a:pt x="78" y="34"/>
                  </a:cubicBezTo>
                  <a:cubicBezTo>
                    <a:pt x="75" y="35"/>
                    <a:pt x="74" y="36"/>
                    <a:pt x="70" y="36"/>
                  </a:cubicBezTo>
                  <a:cubicBezTo>
                    <a:pt x="70" y="36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1" y="37"/>
                    <a:pt x="57" y="39"/>
                    <a:pt x="56" y="39"/>
                  </a:cubicBezTo>
                  <a:cubicBezTo>
                    <a:pt x="53" y="40"/>
                    <a:pt x="44" y="40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28" y="62"/>
                    <a:pt x="21" y="77"/>
                    <a:pt x="17" y="87"/>
                  </a:cubicBezTo>
                  <a:cubicBezTo>
                    <a:pt x="11" y="101"/>
                    <a:pt x="5" y="113"/>
                    <a:pt x="2" y="121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0" y="126"/>
                    <a:pt x="0" y="128"/>
                    <a:pt x="4" y="132"/>
                  </a:cubicBezTo>
                  <a:cubicBezTo>
                    <a:pt x="6" y="135"/>
                    <a:pt x="9" y="137"/>
                    <a:pt x="9" y="137"/>
                  </a:cubicBezTo>
                  <a:cubicBezTo>
                    <a:pt x="9" y="137"/>
                    <a:pt x="9" y="137"/>
                    <a:pt x="9" y="137"/>
                  </a:cubicBezTo>
                  <a:cubicBezTo>
                    <a:pt x="11" y="139"/>
                    <a:pt x="13" y="148"/>
                    <a:pt x="26" y="128"/>
                  </a:cubicBezTo>
                  <a:cubicBezTo>
                    <a:pt x="28" y="124"/>
                    <a:pt x="28" y="123"/>
                    <a:pt x="33" y="117"/>
                  </a:cubicBezTo>
                  <a:cubicBezTo>
                    <a:pt x="38" y="111"/>
                    <a:pt x="37" y="111"/>
                    <a:pt x="37" y="119"/>
                  </a:cubicBezTo>
                  <a:cubicBezTo>
                    <a:pt x="36" y="151"/>
                    <a:pt x="36" y="151"/>
                    <a:pt x="36" y="151"/>
                  </a:cubicBezTo>
                  <a:cubicBezTo>
                    <a:pt x="36" y="160"/>
                    <a:pt x="33" y="168"/>
                    <a:pt x="41" y="170"/>
                  </a:cubicBezTo>
                  <a:cubicBezTo>
                    <a:pt x="46" y="172"/>
                    <a:pt x="47" y="171"/>
                    <a:pt x="52" y="171"/>
                  </a:cubicBezTo>
                  <a:cubicBezTo>
                    <a:pt x="56" y="172"/>
                    <a:pt x="56" y="173"/>
                    <a:pt x="68" y="172"/>
                  </a:cubicBezTo>
                  <a:cubicBezTo>
                    <a:pt x="73" y="172"/>
                    <a:pt x="72" y="172"/>
                    <a:pt x="76" y="172"/>
                  </a:cubicBezTo>
                  <a:cubicBezTo>
                    <a:pt x="92" y="172"/>
                    <a:pt x="98" y="169"/>
                    <a:pt x="101" y="169"/>
                  </a:cubicBezTo>
                  <a:cubicBezTo>
                    <a:pt x="111" y="168"/>
                    <a:pt x="111" y="164"/>
                    <a:pt x="111" y="158"/>
                  </a:cubicBezTo>
                  <a:cubicBezTo>
                    <a:pt x="109" y="107"/>
                    <a:pt x="111" y="128"/>
                    <a:pt x="114" y="87"/>
                  </a:cubicBezTo>
                  <a:cubicBezTo>
                    <a:pt x="114" y="79"/>
                    <a:pt x="114" y="79"/>
                    <a:pt x="114" y="79"/>
                  </a:cubicBezTo>
                  <a:cubicBezTo>
                    <a:pt x="116" y="62"/>
                    <a:pt x="116" y="64"/>
                    <a:pt x="119" y="62"/>
                  </a:cubicBezTo>
                  <a:cubicBezTo>
                    <a:pt x="118" y="62"/>
                    <a:pt x="118" y="62"/>
                    <a:pt x="118" y="62"/>
                  </a:cubicBezTo>
                  <a:cubicBezTo>
                    <a:pt x="118" y="62"/>
                    <a:pt x="120" y="60"/>
                    <a:pt x="122" y="58"/>
                  </a:cubicBezTo>
                  <a:cubicBezTo>
                    <a:pt x="122" y="58"/>
                    <a:pt x="122" y="58"/>
                    <a:pt x="122" y="58"/>
                  </a:cubicBezTo>
                  <a:cubicBezTo>
                    <a:pt x="126" y="56"/>
                    <a:pt x="139" y="43"/>
                    <a:pt x="142" y="41"/>
                  </a:cubicBezTo>
                  <a:cubicBezTo>
                    <a:pt x="146" y="39"/>
                    <a:pt x="144" y="40"/>
                    <a:pt x="149" y="36"/>
                  </a:cubicBezTo>
                  <a:cubicBezTo>
                    <a:pt x="149" y="36"/>
                    <a:pt x="149" y="36"/>
                    <a:pt x="149" y="36"/>
                  </a:cubicBezTo>
                  <a:cubicBezTo>
                    <a:pt x="149" y="36"/>
                    <a:pt x="150" y="35"/>
                    <a:pt x="150" y="35"/>
                  </a:cubicBezTo>
                  <a:cubicBezTo>
                    <a:pt x="148" y="36"/>
                    <a:pt x="155" y="31"/>
                    <a:pt x="160" y="23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61" y="22"/>
                    <a:pt x="162" y="20"/>
                    <a:pt x="162" y="19"/>
                  </a:cubicBezTo>
                  <a:cubicBezTo>
                    <a:pt x="162" y="15"/>
                    <a:pt x="160" y="17"/>
                    <a:pt x="151" y="7"/>
                  </a:cubicBezTo>
                  <a:cubicBezTo>
                    <a:pt x="149" y="4"/>
                    <a:pt x="147" y="0"/>
                    <a:pt x="143" y="0"/>
                  </a:cubicBezTo>
                  <a:moveTo>
                    <a:pt x="13" y="134"/>
                  </a:moveTo>
                  <a:cubicBezTo>
                    <a:pt x="13" y="134"/>
                    <a:pt x="13" y="134"/>
                    <a:pt x="13" y="134"/>
                  </a:cubicBezTo>
                  <a:cubicBezTo>
                    <a:pt x="14" y="133"/>
                    <a:pt x="14" y="133"/>
                    <a:pt x="13" y="134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5" name="任意多边形: 形状 574"/>
            <p:cNvSpPr/>
            <p:nvPr userDrawn="1"/>
          </p:nvSpPr>
          <p:spPr bwMode="auto">
            <a:xfrm>
              <a:off x="7862758" y="3243262"/>
              <a:ext cx="211138" cy="492125"/>
            </a:xfrm>
            <a:custGeom>
              <a:avLst/>
              <a:gdLst>
                <a:gd name="T0" fmla="*/ 23 w 64"/>
                <a:gd name="T1" fmla="*/ 0 h 149"/>
                <a:gd name="T2" fmla="*/ 7 w 64"/>
                <a:gd name="T3" fmla="*/ 9 h 149"/>
                <a:gd name="T4" fmla="*/ 4 w 64"/>
                <a:gd name="T5" fmla="*/ 14 h 149"/>
                <a:gd name="T6" fmla="*/ 2 w 64"/>
                <a:gd name="T7" fmla="*/ 23 h 149"/>
                <a:gd name="T8" fmla="*/ 2 w 64"/>
                <a:gd name="T9" fmla="*/ 24 h 149"/>
                <a:gd name="T10" fmla="*/ 2 w 64"/>
                <a:gd name="T11" fmla="*/ 24 h 149"/>
                <a:gd name="T12" fmla="*/ 2 w 64"/>
                <a:gd name="T13" fmla="*/ 24 h 149"/>
                <a:gd name="T14" fmla="*/ 2 w 64"/>
                <a:gd name="T15" fmla="*/ 58 h 149"/>
                <a:gd name="T16" fmla="*/ 4 w 64"/>
                <a:gd name="T17" fmla="*/ 93 h 149"/>
                <a:gd name="T18" fmla="*/ 4 w 64"/>
                <a:gd name="T19" fmla="*/ 93 h 149"/>
                <a:gd name="T20" fmla="*/ 7 w 64"/>
                <a:gd name="T21" fmla="*/ 103 h 149"/>
                <a:gd name="T22" fmla="*/ 7 w 64"/>
                <a:gd name="T23" fmla="*/ 103 h 149"/>
                <a:gd name="T24" fmla="*/ 7 w 64"/>
                <a:gd name="T25" fmla="*/ 103 h 149"/>
                <a:gd name="T26" fmla="*/ 7 w 64"/>
                <a:gd name="T27" fmla="*/ 103 h 149"/>
                <a:gd name="T28" fmla="*/ 7 w 64"/>
                <a:gd name="T29" fmla="*/ 103 h 149"/>
                <a:gd name="T30" fmla="*/ 7 w 64"/>
                <a:gd name="T31" fmla="*/ 103 h 149"/>
                <a:gd name="T32" fmla="*/ 18 w 64"/>
                <a:gd name="T33" fmla="*/ 121 h 149"/>
                <a:gd name="T34" fmla="*/ 24 w 64"/>
                <a:gd name="T35" fmla="*/ 131 h 149"/>
                <a:gd name="T36" fmla="*/ 31 w 64"/>
                <a:gd name="T37" fmla="*/ 141 h 149"/>
                <a:gd name="T38" fmla="*/ 33 w 64"/>
                <a:gd name="T39" fmla="*/ 146 h 149"/>
                <a:gd name="T40" fmla="*/ 39 w 64"/>
                <a:gd name="T41" fmla="*/ 146 h 149"/>
                <a:gd name="T42" fmla="*/ 50 w 64"/>
                <a:gd name="T43" fmla="*/ 130 h 149"/>
                <a:gd name="T44" fmla="*/ 49 w 64"/>
                <a:gd name="T45" fmla="*/ 130 h 149"/>
                <a:gd name="T46" fmla="*/ 58 w 64"/>
                <a:gd name="T47" fmla="*/ 78 h 149"/>
                <a:gd name="T48" fmla="*/ 58 w 64"/>
                <a:gd name="T49" fmla="*/ 78 h 149"/>
                <a:gd name="T50" fmla="*/ 59 w 64"/>
                <a:gd name="T51" fmla="*/ 43 h 149"/>
                <a:gd name="T52" fmla="*/ 48 w 64"/>
                <a:gd name="T53" fmla="*/ 20 h 149"/>
                <a:gd name="T54" fmla="*/ 35 w 64"/>
                <a:gd name="T55" fmla="*/ 4 h 149"/>
                <a:gd name="T56" fmla="*/ 23 w 64"/>
                <a:gd name="T57" fmla="*/ 0 h 149"/>
                <a:gd name="T58" fmla="*/ 23 w 64"/>
                <a:gd name="T5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4" h="149">
                  <a:moveTo>
                    <a:pt x="23" y="0"/>
                  </a:moveTo>
                  <a:cubicBezTo>
                    <a:pt x="15" y="0"/>
                    <a:pt x="11" y="4"/>
                    <a:pt x="7" y="9"/>
                  </a:cubicBezTo>
                  <a:cubicBezTo>
                    <a:pt x="6" y="11"/>
                    <a:pt x="5" y="12"/>
                    <a:pt x="4" y="14"/>
                  </a:cubicBezTo>
                  <a:cubicBezTo>
                    <a:pt x="3" y="17"/>
                    <a:pt x="2" y="20"/>
                    <a:pt x="2" y="23"/>
                  </a:cubicBezTo>
                  <a:cubicBezTo>
                    <a:pt x="2" y="23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43"/>
                    <a:pt x="2" y="42"/>
                    <a:pt x="2" y="58"/>
                  </a:cubicBezTo>
                  <a:cubicBezTo>
                    <a:pt x="3" y="74"/>
                    <a:pt x="0" y="75"/>
                    <a:pt x="4" y="93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5" y="96"/>
                    <a:pt x="6" y="100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11" y="112"/>
                    <a:pt x="14" y="114"/>
                    <a:pt x="18" y="121"/>
                  </a:cubicBezTo>
                  <a:cubicBezTo>
                    <a:pt x="19" y="124"/>
                    <a:pt x="23" y="130"/>
                    <a:pt x="24" y="131"/>
                  </a:cubicBezTo>
                  <a:cubicBezTo>
                    <a:pt x="27" y="137"/>
                    <a:pt x="29" y="137"/>
                    <a:pt x="31" y="141"/>
                  </a:cubicBezTo>
                  <a:cubicBezTo>
                    <a:pt x="31" y="143"/>
                    <a:pt x="32" y="144"/>
                    <a:pt x="33" y="146"/>
                  </a:cubicBezTo>
                  <a:cubicBezTo>
                    <a:pt x="34" y="147"/>
                    <a:pt x="36" y="149"/>
                    <a:pt x="39" y="146"/>
                  </a:cubicBezTo>
                  <a:cubicBezTo>
                    <a:pt x="42" y="144"/>
                    <a:pt x="45" y="142"/>
                    <a:pt x="50" y="130"/>
                  </a:cubicBezTo>
                  <a:cubicBezTo>
                    <a:pt x="49" y="130"/>
                    <a:pt x="49" y="130"/>
                    <a:pt x="49" y="130"/>
                  </a:cubicBezTo>
                  <a:cubicBezTo>
                    <a:pt x="56" y="115"/>
                    <a:pt x="48" y="114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64" y="61"/>
                    <a:pt x="62" y="52"/>
                    <a:pt x="59" y="43"/>
                  </a:cubicBezTo>
                  <a:cubicBezTo>
                    <a:pt x="56" y="31"/>
                    <a:pt x="56" y="32"/>
                    <a:pt x="48" y="20"/>
                  </a:cubicBezTo>
                  <a:cubicBezTo>
                    <a:pt x="48" y="19"/>
                    <a:pt x="41" y="9"/>
                    <a:pt x="35" y="4"/>
                  </a:cubicBezTo>
                  <a:cubicBezTo>
                    <a:pt x="33" y="3"/>
                    <a:pt x="31" y="1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6" name="任意多边形: 形状 575"/>
            <p:cNvSpPr/>
            <p:nvPr userDrawn="1"/>
          </p:nvSpPr>
          <p:spPr bwMode="auto">
            <a:xfrm>
              <a:off x="8348533" y="5670550"/>
              <a:ext cx="138113" cy="214313"/>
            </a:xfrm>
            <a:custGeom>
              <a:avLst/>
              <a:gdLst>
                <a:gd name="T0" fmla="*/ 31 w 42"/>
                <a:gd name="T1" fmla="*/ 0 h 65"/>
                <a:gd name="T2" fmla="*/ 27 w 42"/>
                <a:gd name="T3" fmla="*/ 2 h 65"/>
                <a:gd name="T4" fmla="*/ 24 w 42"/>
                <a:gd name="T5" fmla="*/ 4 h 65"/>
                <a:gd name="T6" fmla="*/ 21 w 42"/>
                <a:gd name="T7" fmla="*/ 16 h 65"/>
                <a:gd name="T8" fmla="*/ 21 w 42"/>
                <a:gd name="T9" fmla="*/ 16 h 65"/>
                <a:gd name="T10" fmla="*/ 4 w 42"/>
                <a:gd name="T11" fmla="*/ 44 h 65"/>
                <a:gd name="T12" fmla="*/ 4 w 42"/>
                <a:gd name="T13" fmla="*/ 44 h 65"/>
                <a:gd name="T14" fmla="*/ 4 w 42"/>
                <a:gd name="T15" fmla="*/ 45 h 65"/>
                <a:gd name="T16" fmla="*/ 4 w 42"/>
                <a:gd name="T17" fmla="*/ 44 h 65"/>
                <a:gd name="T18" fmla="*/ 1 w 42"/>
                <a:gd name="T19" fmla="*/ 52 h 65"/>
                <a:gd name="T20" fmla="*/ 3 w 42"/>
                <a:gd name="T21" fmla="*/ 62 h 65"/>
                <a:gd name="T22" fmla="*/ 18 w 42"/>
                <a:gd name="T23" fmla="*/ 58 h 65"/>
                <a:gd name="T24" fmla="*/ 34 w 42"/>
                <a:gd name="T25" fmla="*/ 43 h 65"/>
                <a:gd name="T26" fmla="*/ 37 w 42"/>
                <a:gd name="T27" fmla="*/ 40 h 65"/>
                <a:gd name="T28" fmla="*/ 38 w 42"/>
                <a:gd name="T29" fmla="*/ 15 h 65"/>
                <a:gd name="T30" fmla="*/ 35 w 42"/>
                <a:gd name="T31" fmla="*/ 4 h 65"/>
                <a:gd name="T32" fmla="*/ 31 w 42"/>
                <a:gd name="T3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65">
                  <a:moveTo>
                    <a:pt x="31" y="0"/>
                  </a:moveTo>
                  <a:cubicBezTo>
                    <a:pt x="29" y="0"/>
                    <a:pt x="28" y="1"/>
                    <a:pt x="27" y="2"/>
                  </a:cubicBezTo>
                  <a:cubicBezTo>
                    <a:pt x="26" y="1"/>
                    <a:pt x="24" y="2"/>
                    <a:pt x="24" y="4"/>
                  </a:cubicBezTo>
                  <a:cubicBezTo>
                    <a:pt x="23" y="8"/>
                    <a:pt x="23" y="9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15" y="31"/>
                    <a:pt x="11" y="28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3" y="48"/>
                    <a:pt x="1" y="53"/>
                    <a:pt x="1" y="52"/>
                  </a:cubicBezTo>
                  <a:cubicBezTo>
                    <a:pt x="0" y="58"/>
                    <a:pt x="0" y="61"/>
                    <a:pt x="3" y="62"/>
                  </a:cubicBezTo>
                  <a:cubicBezTo>
                    <a:pt x="6" y="65"/>
                    <a:pt x="14" y="61"/>
                    <a:pt x="18" y="58"/>
                  </a:cubicBezTo>
                  <a:cubicBezTo>
                    <a:pt x="32" y="47"/>
                    <a:pt x="35" y="43"/>
                    <a:pt x="34" y="43"/>
                  </a:cubicBezTo>
                  <a:cubicBezTo>
                    <a:pt x="36" y="42"/>
                    <a:pt x="36" y="41"/>
                    <a:pt x="37" y="40"/>
                  </a:cubicBezTo>
                  <a:cubicBezTo>
                    <a:pt x="42" y="27"/>
                    <a:pt x="41" y="24"/>
                    <a:pt x="38" y="15"/>
                  </a:cubicBezTo>
                  <a:cubicBezTo>
                    <a:pt x="36" y="6"/>
                    <a:pt x="37" y="6"/>
                    <a:pt x="35" y="4"/>
                  </a:cubicBezTo>
                  <a:cubicBezTo>
                    <a:pt x="35" y="2"/>
                    <a:pt x="33" y="0"/>
                    <a:pt x="31" y="0"/>
                  </a:cubicBezTo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7" name="任意多边形: 形状 576"/>
            <p:cNvSpPr/>
            <p:nvPr userDrawn="1"/>
          </p:nvSpPr>
          <p:spPr bwMode="auto">
            <a:xfrm>
              <a:off x="8254871" y="5588000"/>
              <a:ext cx="161925" cy="230188"/>
            </a:xfrm>
            <a:custGeom>
              <a:avLst/>
              <a:gdLst>
                <a:gd name="T0" fmla="*/ 34 w 49"/>
                <a:gd name="T1" fmla="*/ 0 h 70"/>
                <a:gd name="T2" fmla="*/ 25 w 49"/>
                <a:gd name="T3" fmla="*/ 6 h 70"/>
                <a:gd name="T4" fmla="*/ 24 w 49"/>
                <a:gd name="T5" fmla="*/ 7 h 70"/>
                <a:gd name="T6" fmla="*/ 24 w 49"/>
                <a:gd name="T7" fmla="*/ 9 h 70"/>
                <a:gd name="T8" fmla="*/ 23 w 49"/>
                <a:gd name="T9" fmla="*/ 19 h 70"/>
                <a:gd name="T10" fmla="*/ 6 w 49"/>
                <a:gd name="T11" fmla="*/ 48 h 70"/>
                <a:gd name="T12" fmla="*/ 6 w 49"/>
                <a:gd name="T13" fmla="*/ 48 h 70"/>
                <a:gd name="T14" fmla="*/ 32 w 49"/>
                <a:gd name="T15" fmla="*/ 47 h 70"/>
                <a:gd name="T16" fmla="*/ 31 w 49"/>
                <a:gd name="T17" fmla="*/ 47 h 70"/>
                <a:gd name="T18" fmla="*/ 37 w 49"/>
                <a:gd name="T19" fmla="*/ 42 h 70"/>
                <a:gd name="T20" fmla="*/ 44 w 49"/>
                <a:gd name="T21" fmla="*/ 20 h 70"/>
                <a:gd name="T22" fmla="*/ 37 w 49"/>
                <a:gd name="T23" fmla="*/ 0 h 70"/>
                <a:gd name="T24" fmla="*/ 34 w 49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70">
                  <a:moveTo>
                    <a:pt x="34" y="0"/>
                  </a:moveTo>
                  <a:cubicBezTo>
                    <a:pt x="32" y="0"/>
                    <a:pt x="26" y="2"/>
                    <a:pt x="25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8"/>
                    <a:pt x="24" y="9"/>
                    <a:pt x="24" y="9"/>
                  </a:cubicBezTo>
                  <a:cubicBezTo>
                    <a:pt x="23" y="12"/>
                    <a:pt x="23" y="15"/>
                    <a:pt x="23" y="19"/>
                  </a:cubicBezTo>
                  <a:cubicBezTo>
                    <a:pt x="21" y="29"/>
                    <a:pt x="10" y="3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0" y="61"/>
                    <a:pt x="4" y="70"/>
                    <a:pt x="32" y="47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3" y="46"/>
                    <a:pt x="34" y="45"/>
                    <a:pt x="37" y="42"/>
                  </a:cubicBezTo>
                  <a:cubicBezTo>
                    <a:pt x="45" y="34"/>
                    <a:pt x="49" y="31"/>
                    <a:pt x="44" y="20"/>
                  </a:cubicBezTo>
                  <a:cubicBezTo>
                    <a:pt x="39" y="9"/>
                    <a:pt x="42" y="3"/>
                    <a:pt x="37" y="0"/>
                  </a:cubicBezTo>
                  <a:cubicBezTo>
                    <a:pt x="36" y="0"/>
                    <a:pt x="35" y="0"/>
                    <a:pt x="34" y="0"/>
                  </a:cubicBezTo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8" name="任意多边形: 形状 577"/>
            <p:cNvSpPr/>
            <p:nvPr userDrawn="1"/>
          </p:nvSpPr>
          <p:spPr bwMode="auto">
            <a:xfrm>
              <a:off x="8394571" y="5148262"/>
              <a:ext cx="404813" cy="596900"/>
            </a:xfrm>
            <a:custGeom>
              <a:avLst/>
              <a:gdLst>
                <a:gd name="T0" fmla="*/ 95 w 123"/>
                <a:gd name="T1" fmla="*/ 0 h 181"/>
                <a:gd name="T2" fmla="*/ 85 w 123"/>
                <a:gd name="T3" fmla="*/ 5 h 181"/>
                <a:gd name="T4" fmla="*/ 83 w 123"/>
                <a:gd name="T5" fmla="*/ 11 h 181"/>
                <a:gd name="T6" fmla="*/ 39 w 123"/>
                <a:gd name="T7" fmla="*/ 51 h 181"/>
                <a:gd name="T8" fmla="*/ 8 w 123"/>
                <a:gd name="T9" fmla="*/ 139 h 181"/>
                <a:gd name="T10" fmla="*/ 0 w 123"/>
                <a:gd name="T11" fmla="*/ 169 h 181"/>
                <a:gd name="T12" fmla="*/ 6 w 123"/>
                <a:gd name="T13" fmla="*/ 179 h 181"/>
                <a:gd name="T14" fmla="*/ 20 w 123"/>
                <a:gd name="T15" fmla="*/ 180 h 181"/>
                <a:gd name="T16" fmla="*/ 26 w 123"/>
                <a:gd name="T17" fmla="*/ 178 h 181"/>
                <a:gd name="T18" fmla="*/ 33 w 123"/>
                <a:gd name="T19" fmla="*/ 150 h 181"/>
                <a:gd name="T20" fmla="*/ 57 w 123"/>
                <a:gd name="T21" fmla="*/ 95 h 181"/>
                <a:gd name="T22" fmla="*/ 72 w 123"/>
                <a:gd name="T23" fmla="*/ 69 h 181"/>
                <a:gd name="T24" fmla="*/ 79 w 123"/>
                <a:gd name="T25" fmla="*/ 64 h 181"/>
                <a:gd name="T26" fmla="*/ 108 w 123"/>
                <a:gd name="T27" fmla="*/ 47 h 181"/>
                <a:gd name="T28" fmla="*/ 121 w 123"/>
                <a:gd name="T29" fmla="*/ 25 h 181"/>
                <a:gd name="T30" fmla="*/ 114 w 123"/>
                <a:gd name="T31" fmla="*/ 14 h 181"/>
                <a:gd name="T32" fmla="*/ 107 w 123"/>
                <a:gd name="T33" fmla="*/ 7 h 181"/>
                <a:gd name="T34" fmla="*/ 98 w 123"/>
                <a:gd name="T35" fmla="*/ 0 h 181"/>
                <a:gd name="T36" fmla="*/ 95 w 123"/>
                <a:gd name="T37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81">
                  <a:moveTo>
                    <a:pt x="95" y="0"/>
                  </a:moveTo>
                  <a:cubicBezTo>
                    <a:pt x="90" y="0"/>
                    <a:pt x="88" y="2"/>
                    <a:pt x="85" y="5"/>
                  </a:cubicBezTo>
                  <a:cubicBezTo>
                    <a:pt x="83" y="6"/>
                    <a:pt x="81" y="8"/>
                    <a:pt x="83" y="11"/>
                  </a:cubicBezTo>
                  <a:cubicBezTo>
                    <a:pt x="61" y="27"/>
                    <a:pt x="42" y="47"/>
                    <a:pt x="39" y="51"/>
                  </a:cubicBezTo>
                  <a:cubicBezTo>
                    <a:pt x="31" y="62"/>
                    <a:pt x="17" y="100"/>
                    <a:pt x="8" y="139"/>
                  </a:cubicBezTo>
                  <a:cubicBezTo>
                    <a:pt x="3" y="159"/>
                    <a:pt x="1" y="163"/>
                    <a:pt x="0" y="169"/>
                  </a:cubicBezTo>
                  <a:cubicBezTo>
                    <a:pt x="0" y="173"/>
                    <a:pt x="2" y="177"/>
                    <a:pt x="6" y="179"/>
                  </a:cubicBezTo>
                  <a:cubicBezTo>
                    <a:pt x="10" y="180"/>
                    <a:pt x="12" y="180"/>
                    <a:pt x="20" y="180"/>
                  </a:cubicBezTo>
                  <a:cubicBezTo>
                    <a:pt x="23" y="180"/>
                    <a:pt x="24" y="181"/>
                    <a:pt x="26" y="178"/>
                  </a:cubicBezTo>
                  <a:cubicBezTo>
                    <a:pt x="30" y="173"/>
                    <a:pt x="31" y="157"/>
                    <a:pt x="33" y="150"/>
                  </a:cubicBezTo>
                  <a:cubicBezTo>
                    <a:pt x="38" y="135"/>
                    <a:pt x="53" y="111"/>
                    <a:pt x="57" y="95"/>
                  </a:cubicBezTo>
                  <a:cubicBezTo>
                    <a:pt x="61" y="78"/>
                    <a:pt x="57" y="77"/>
                    <a:pt x="72" y="69"/>
                  </a:cubicBezTo>
                  <a:cubicBezTo>
                    <a:pt x="76" y="66"/>
                    <a:pt x="77" y="66"/>
                    <a:pt x="79" y="64"/>
                  </a:cubicBezTo>
                  <a:cubicBezTo>
                    <a:pt x="85" y="59"/>
                    <a:pt x="103" y="51"/>
                    <a:pt x="108" y="47"/>
                  </a:cubicBezTo>
                  <a:cubicBezTo>
                    <a:pt x="115" y="42"/>
                    <a:pt x="123" y="37"/>
                    <a:pt x="121" y="25"/>
                  </a:cubicBezTo>
                  <a:cubicBezTo>
                    <a:pt x="119" y="18"/>
                    <a:pt x="117" y="17"/>
                    <a:pt x="114" y="14"/>
                  </a:cubicBezTo>
                  <a:cubicBezTo>
                    <a:pt x="110" y="10"/>
                    <a:pt x="109" y="10"/>
                    <a:pt x="107" y="7"/>
                  </a:cubicBezTo>
                  <a:cubicBezTo>
                    <a:pt x="105" y="3"/>
                    <a:pt x="103" y="1"/>
                    <a:pt x="98" y="0"/>
                  </a:cubicBezTo>
                  <a:cubicBezTo>
                    <a:pt x="97" y="0"/>
                    <a:pt x="96" y="0"/>
                    <a:pt x="95" y="0"/>
                  </a:cubicBezTo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9" name="任意多边形: 形状 578"/>
            <p:cNvSpPr/>
            <p:nvPr userDrawn="1"/>
          </p:nvSpPr>
          <p:spPr bwMode="auto">
            <a:xfrm>
              <a:off x="8294558" y="5105400"/>
              <a:ext cx="350838" cy="541338"/>
            </a:xfrm>
            <a:custGeom>
              <a:avLst/>
              <a:gdLst>
                <a:gd name="T0" fmla="*/ 86 w 106"/>
                <a:gd name="T1" fmla="*/ 0 h 164"/>
                <a:gd name="T2" fmla="*/ 64 w 106"/>
                <a:gd name="T3" fmla="*/ 10 h 164"/>
                <a:gd name="T4" fmla="*/ 42 w 106"/>
                <a:gd name="T5" fmla="*/ 25 h 164"/>
                <a:gd name="T6" fmla="*/ 8 w 106"/>
                <a:gd name="T7" fmla="*/ 53 h 164"/>
                <a:gd name="T8" fmla="*/ 1 w 106"/>
                <a:gd name="T9" fmla="*/ 76 h 164"/>
                <a:gd name="T10" fmla="*/ 5 w 106"/>
                <a:gd name="T11" fmla="*/ 145 h 164"/>
                <a:gd name="T12" fmla="*/ 11 w 106"/>
                <a:gd name="T13" fmla="*/ 162 h 164"/>
                <a:gd name="T14" fmla="*/ 15 w 106"/>
                <a:gd name="T15" fmla="*/ 163 h 164"/>
                <a:gd name="T16" fmla="*/ 27 w 106"/>
                <a:gd name="T17" fmla="*/ 161 h 164"/>
                <a:gd name="T18" fmla="*/ 34 w 106"/>
                <a:gd name="T19" fmla="*/ 134 h 164"/>
                <a:gd name="T20" fmla="*/ 37 w 106"/>
                <a:gd name="T21" fmla="*/ 88 h 164"/>
                <a:gd name="T22" fmla="*/ 35 w 106"/>
                <a:gd name="T23" fmla="*/ 70 h 164"/>
                <a:gd name="T24" fmla="*/ 38 w 106"/>
                <a:gd name="T25" fmla="*/ 66 h 164"/>
                <a:gd name="T26" fmla="*/ 55 w 106"/>
                <a:gd name="T27" fmla="*/ 56 h 164"/>
                <a:gd name="T28" fmla="*/ 65 w 106"/>
                <a:gd name="T29" fmla="*/ 49 h 164"/>
                <a:gd name="T30" fmla="*/ 65 w 106"/>
                <a:gd name="T31" fmla="*/ 49 h 164"/>
                <a:gd name="T32" fmla="*/ 65 w 106"/>
                <a:gd name="T33" fmla="*/ 49 h 164"/>
                <a:gd name="T34" fmla="*/ 65 w 106"/>
                <a:gd name="T35" fmla="*/ 49 h 164"/>
                <a:gd name="T36" fmla="*/ 65 w 106"/>
                <a:gd name="T37" fmla="*/ 49 h 164"/>
                <a:gd name="T38" fmla="*/ 65 w 106"/>
                <a:gd name="T39" fmla="*/ 49 h 164"/>
                <a:gd name="T40" fmla="*/ 74 w 106"/>
                <a:gd name="T41" fmla="*/ 43 h 164"/>
                <a:gd name="T42" fmla="*/ 106 w 106"/>
                <a:gd name="T43" fmla="*/ 19 h 164"/>
                <a:gd name="T44" fmla="*/ 103 w 106"/>
                <a:gd name="T45" fmla="*/ 12 h 164"/>
                <a:gd name="T46" fmla="*/ 96 w 106"/>
                <a:gd name="T47" fmla="*/ 5 h 164"/>
                <a:gd name="T48" fmla="*/ 86 w 106"/>
                <a:gd name="T4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" h="164">
                  <a:moveTo>
                    <a:pt x="86" y="0"/>
                  </a:moveTo>
                  <a:cubicBezTo>
                    <a:pt x="81" y="0"/>
                    <a:pt x="77" y="3"/>
                    <a:pt x="64" y="10"/>
                  </a:cubicBezTo>
                  <a:cubicBezTo>
                    <a:pt x="52" y="17"/>
                    <a:pt x="54" y="17"/>
                    <a:pt x="42" y="25"/>
                  </a:cubicBezTo>
                  <a:cubicBezTo>
                    <a:pt x="16" y="42"/>
                    <a:pt x="11" y="48"/>
                    <a:pt x="8" y="53"/>
                  </a:cubicBezTo>
                  <a:cubicBezTo>
                    <a:pt x="2" y="65"/>
                    <a:pt x="2" y="70"/>
                    <a:pt x="1" y="76"/>
                  </a:cubicBezTo>
                  <a:cubicBezTo>
                    <a:pt x="1" y="77"/>
                    <a:pt x="0" y="118"/>
                    <a:pt x="5" y="145"/>
                  </a:cubicBezTo>
                  <a:cubicBezTo>
                    <a:pt x="7" y="160"/>
                    <a:pt x="7" y="160"/>
                    <a:pt x="11" y="162"/>
                  </a:cubicBezTo>
                  <a:cubicBezTo>
                    <a:pt x="13" y="163"/>
                    <a:pt x="16" y="163"/>
                    <a:pt x="15" y="163"/>
                  </a:cubicBezTo>
                  <a:cubicBezTo>
                    <a:pt x="19" y="164"/>
                    <a:pt x="22" y="164"/>
                    <a:pt x="27" y="161"/>
                  </a:cubicBezTo>
                  <a:cubicBezTo>
                    <a:pt x="31" y="160"/>
                    <a:pt x="32" y="159"/>
                    <a:pt x="34" y="134"/>
                  </a:cubicBezTo>
                  <a:cubicBezTo>
                    <a:pt x="36" y="103"/>
                    <a:pt x="39" y="95"/>
                    <a:pt x="37" y="88"/>
                  </a:cubicBezTo>
                  <a:cubicBezTo>
                    <a:pt x="35" y="82"/>
                    <a:pt x="32" y="78"/>
                    <a:pt x="35" y="70"/>
                  </a:cubicBezTo>
                  <a:cubicBezTo>
                    <a:pt x="35" y="69"/>
                    <a:pt x="37" y="67"/>
                    <a:pt x="38" y="66"/>
                  </a:cubicBezTo>
                  <a:cubicBezTo>
                    <a:pt x="47" y="58"/>
                    <a:pt x="51" y="58"/>
                    <a:pt x="55" y="56"/>
                  </a:cubicBezTo>
                  <a:cubicBezTo>
                    <a:pt x="58" y="54"/>
                    <a:pt x="64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74" y="43"/>
                    <a:pt x="74" y="43"/>
                  </a:cubicBezTo>
                  <a:cubicBezTo>
                    <a:pt x="100" y="24"/>
                    <a:pt x="106" y="27"/>
                    <a:pt x="106" y="19"/>
                  </a:cubicBezTo>
                  <a:cubicBezTo>
                    <a:pt x="106" y="17"/>
                    <a:pt x="105" y="16"/>
                    <a:pt x="103" y="12"/>
                  </a:cubicBezTo>
                  <a:cubicBezTo>
                    <a:pt x="100" y="6"/>
                    <a:pt x="99" y="7"/>
                    <a:pt x="96" y="5"/>
                  </a:cubicBezTo>
                  <a:cubicBezTo>
                    <a:pt x="91" y="1"/>
                    <a:pt x="89" y="0"/>
                    <a:pt x="86" y="0"/>
                  </a:cubicBezTo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0" name="任意多边形: 形状 579"/>
            <p:cNvSpPr/>
            <p:nvPr userDrawn="1"/>
          </p:nvSpPr>
          <p:spPr bwMode="auto">
            <a:xfrm>
              <a:off x="8519983" y="4710112"/>
              <a:ext cx="425450" cy="593725"/>
            </a:xfrm>
            <a:custGeom>
              <a:avLst/>
              <a:gdLst>
                <a:gd name="T0" fmla="*/ 129 w 129"/>
                <a:gd name="T1" fmla="*/ 102 h 180"/>
                <a:gd name="T2" fmla="*/ 127 w 129"/>
                <a:gd name="T3" fmla="*/ 79 h 180"/>
                <a:gd name="T4" fmla="*/ 126 w 129"/>
                <a:gd name="T5" fmla="*/ 78 h 180"/>
                <a:gd name="T6" fmla="*/ 126 w 129"/>
                <a:gd name="T7" fmla="*/ 76 h 180"/>
                <a:gd name="T8" fmla="*/ 126 w 129"/>
                <a:gd name="T9" fmla="*/ 76 h 180"/>
                <a:gd name="T10" fmla="*/ 126 w 129"/>
                <a:gd name="T11" fmla="*/ 76 h 180"/>
                <a:gd name="T12" fmla="*/ 126 w 129"/>
                <a:gd name="T13" fmla="*/ 76 h 180"/>
                <a:gd name="T14" fmla="*/ 126 w 129"/>
                <a:gd name="T15" fmla="*/ 76 h 180"/>
                <a:gd name="T16" fmla="*/ 126 w 129"/>
                <a:gd name="T17" fmla="*/ 76 h 180"/>
                <a:gd name="T18" fmla="*/ 98 w 129"/>
                <a:gd name="T19" fmla="*/ 26 h 180"/>
                <a:gd name="T20" fmla="*/ 83 w 129"/>
                <a:gd name="T21" fmla="*/ 18 h 180"/>
                <a:gd name="T22" fmla="*/ 64 w 129"/>
                <a:gd name="T23" fmla="*/ 13 h 180"/>
                <a:gd name="T24" fmla="*/ 62 w 129"/>
                <a:gd name="T25" fmla="*/ 8 h 180"/>
                <a:gd name="T26" fmla="*/ 59 w 129"/>
                <a:gd name="T27" fmla="*/ 5 h 180"/>
                <a:gd name="T28" fmla="*/ 53 w 129"/>
                <a:gd name="T29" fmla="*/ 2 h 180"/>
                <a:gd name="T30" fmla="*/ 47 w 129"/>
                <a:gd name="T31" fmla="*/ 0 h 180"/>
                <a:gd name="T32" fmla="*/ 45 w 129"/>
                <a:gd name="T33" fmla="*/ 0 h 180"/>
                <a:gd name="T34" fmla="*/ 27 w 129"/>
                <a:gd name="T35" fmla="*/ 11 h 180"/>
                <a:gd name="T36" fmla="*/ 12 w 129"/>
                <a:gd name="T37" fmla="*/ 37 h 180"/>
                <a:gd name="T38" fmla="*/ 2 w 129"/>
                <a:gd name="T39" fmla="*/ 59 h 180"/>
                <a:gd name="T40" fmla="*/ 2 w 129"/>
                <a:gd name="T41" fmla="*/ 67 h 180"/>
                <a:gd name="T42" fmla="*/ 4 w 129"/>
                <a:gd name="T43" fmla="*/ 69 h 180"/>
                <a:gd name="T44" fmla="*/ 20 w 129"/>
                <a:gd name="T45" fmla="*/ 80 h 180"/>
                <a:gd name="T46" fmla="*/ 22 w 129"/>
                <a:gd name="T47" fmla="*/ 82 h 180"/>
                <a:gd name="T48" fmla="*/ 10 w 129"/>
                <a:gd name="T49" fmla="*/ 116 h 180"/>
                <a:gd name="T50" fmla="*/ 4 w 129"/>
                <a:gd name="T51" fmla="*/ 129 h 180"/>
                <a:gd name="T52" fmla="*/ 4 w 129"/>
                <a:gd name="T53" fmla="*/ 129 h 180"/>
                <a:gd name="T54" fmla="*/ 3 w 129"/>
                <a:gd name="T55" fmla="*/ 133 h 180"/>
                <a:gd name="T56" fmla="*/ 3 w 129"/>
                <a:gd name="T57" fmla="*/ 133 h 180"/>
                <a:gd name="T58" fmla="*/ 3 w 129"/>
                <a:gd name="T59" fmla="*/ 139 h 180"/>
                <a:gd name="T60" fmla="*/ 17 w 129"/>
                <a:gd name="T61" fmla="*/ 150 h 180"/>
                <a:gd name="T62" fmla="*/ 29 w 129"/>
                <a:gd name="T63" fmla="*/ 157 h 180"/>
                <a:gd name="T64" fmla="*/ 48 w 129"/>
                <a:gd name="T65" fmla="*/ 169 h 180"/>
                <a:gd name="T66" fmla="*/ 56 w 129"/>
                <a:gd name="T67" fmla="*/ 173 h 180"/>
                <a:gd name="T68" fmla="*/ 56 w 129"/>
                <a:gd name="T69" fmla="*/ 173 h 180"/>
                <a:gd name="T70" fmla="*/ 68 w 129"/>
                <a:gd name="T71" fmla="*/ 179 h 180"/>
                <a:gd name="T72" fmla="*/ 86 w 129"/>
                <a:gd name="T73" fmla="*/ 171 h 180"/>
                <a:gd name="T74" fmla="*/ 89 w 129"/>
                <a:gd name="T75" fmla="*/ 169 h 180"/>
                <a:gd name="T76" fmla="*/ 93 w 129"/>
                <a:gd name="T77" fmla="*/ 163 h 180"/>
                <a:gd name="T78" fmla="*/ 100 w 129"/>
                <a:gd name="T79" fmla="*/ 144 h 180"/>
                <a:gd name="T80" fmla="*/ 100 w 129"/>
                <a:gd name="T81" fmla="*/ 142 h 180"/>
                <a:gd name="T82" fmla="*/ 101 w 129"/>
                <a:gd name="T83" fmla="*/ 137 h 180"/>
                <a:gd name="T84" fmla="*/ 102 w 129"/>
                <a:gd name="T85" fmla="*/ 111 h 180"/>
                <a:gd name="T86" fmla="*/ 103 w 129"/>
                <a:gd name="T87" fmla="*/ 110 h 180"/>
                <a:gd name="T88" fmla="*/ 108 w 129"/>
                <a:gd name="T89" fmla="*/ 110 h 180"/>
                <a:gd name="T90" fmla="*/ 115 w 129"/>
                <a:gd name="T91" fmla="*/ 110 h 180"/>
                <a:gd name="T92" fmla="*/ 124 w 129"/>
                <a:gd name="T93" fmla="*/ 108 h 180"/>
                <a:gd name="T94" fmla="*/ 129 w 129"/>
                <a:gd name="T95" fmla="*/ 10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" h="180">
                  <a:moveTo>
                    <a:pt x="129" y="102"/>
                  </a:moveTo>
                  <a:cubicBezTo>
                    <a:pt x="129" y="98"/>
                    <a:pt x="127" y="79"/>
                    <a:pt x="127" y="79"/>
                  </a:cubicBezTo>
                  <a:cubicBezTo>
                    <a:pt x="127" y="79"/>
                    <a:pt x="126" y="78"/>
                    <a:pt x="126" y="78"/>
                  </a:cubicBezTo>
                  <a:cubicBezTo>
                    <a:pt x="126" y="77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4" y="37"/>
                    <a:pt x="116" y="41"/>
                    <a:pt x="98" y="26"/>
                  </a:cubicBezTo>
                  <a:cubicBezTo>
                    <a:pt x="92" y="22"/>
                    <a:pt x="88" y="21"/>
                    <a:pt x="83" y="18"/>
                  </a:cubicBezTo>
                  <a:cubicBezTo>
                    <a:pt x="74" y="12"/>
                    <a:pt x="67" y="25"/>
                    <a:pt x="64" y="13"/>
                  </a:cubicBezTo>
                  <a:cubicBezTo>
                    <a:pt x="65" y="11"/>
                    <a:pt x="64" y="9"/>
                    <a:pt x="62" y="8"/>
                  </a:cubicBezTo>
                  <a:cubicBezTo>
                    <a:pt x="61" y="7"/>
                    <a:pt x="60" y="6"/>
                    <a:pt x="59" y="5"/>
                  </a:cubicBezTo>
                  <a:cubicBezTo>
                    <a:pt x="56" y="4"/>
                    <a:pt x="56" y="4"/>
                    <a:pt x="53" y="2"/>
                  </a:cubicBezTo>
                  <a:cubicBezTo>
                    <a:pt x="51" y="1"/>
                    <a:pt x="49" y="1"/>
                    <a:pt x="47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38" y="0"/>
                    <a:pt x="31" y="5"/>
                    <a:pt x="27" y="11"/>
                  </a:cubicBezTo>
                  <a:cubicBezTo>
                    <a:pt x="20" y="19"/>
                    <a:pt x="20" y="23"/>
                    <a:pt x="12" y="37"/>
                  </a:cubicBezTo>
                  <a:cubicBezTo>
                    <a:pt x="4" y="51"/>
                    <a:pt x="5" y="51"/>
                    <a:pt x="2" y="59"/>
                  </a:cubicBezTo>
                  <a:cubicBezTo>
                    <a:pt x="0" y="63"/>
                    <a:pt x="1" y="65"/>
                    <a:pt x="2" y="67"/>
                  </a:cubicBezTo>
                  <a:cubicBezTo>
                    <a:pt x="2" y="67"/>
                    <a:pt x="3" y="68"/>
                    <a:pt x="4" y="69"/>
                  </a:cubicBezTo>
                  <a:cubicBezTo>
                    <a:pt x="10" y="76"/>
                    <a:pt x="16" y="79"/>
                    <a:pt x="20" y="80"/>
                  </a:cubicBezTo>
                  <a:cubicBezTo>
                    <a:pt x="21" y="81"/>
                    <a:pt x="22" y="81"/>
                    <a:pt x="22" y="82"/>
                  </a:cubicBezTo>
                  <a:cubicBezTo>
                    <a:pt x="23" y="85"/>
                    <a:pt x="12" y="109"/>
                    <a:pt x="10" y="116"/>
                  </a:cubicBezTo>
                  <a:cubicBezTo>
                    <a:pt x="8" y="120"/>
                    <a:pt x="5" y="124"/>
                    <a:pt x="4" y="129"/>
                  </a:cubicBezTo>
                  <a:cubicBezTo>
                    <a:pt x="4" y="129"/>
                    <a:pt x="4" y="129"/>
                    <a:pt x="4" y="129"/>
                  </a:cubicBezTo>
                  <a:cubicBezTo>
                    <a:pt x="3" y="130"/>
                    <a:pt x="3" y="132"/>
                    <a:pt x="3" y="133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3" y="135"/>
                    <a:pt x="3" y="137"/>
                    <a:pt x="3" y="139"/>
                  </a:cubicBezTo>
                  <a:cubicBezTo>
                    <a:pt x="4" y="144"/>
                    <a:pt x="12" y="148"/>
                    <a:pt x="17" y="150"/>
                  </a:cubicBezTo>
                  <a:cubicBezTo>
                    <a:pt x="17" y="150"/>
                    <a:pt x="22" y="153"/>
                    <a:pt x="29" y="157"/>
                  </a:cubicBezTo>
                  <a:cubicBezTo>
                    <a:pt x="35" y="161"/>
                    <a:pt x="43" y="166"/>
                    <a:pt x="48" y="169"/>
                  </a:cubicBezTo>
                  <a:cubicBezTo>
                    <a:pt x="54" y="171"/>
                    <a:pt x="56" y="173"/>
                    <a:pt x="56" y="173"/>
                  </a:cubicBezTo>
                  <a:cubicBezTo>
                    <a:pt x="56" y="173"/>
                    <a:pt x="56" y="173"/>
                    <a:pt x="56" y="173"/>
                  </a:cubicBezTo>
                  <a:cubicBezTo>
                    <a:pt x="58" y="175"/>
                    <a:pt x="67" y="179"/>
                    <a:pt x="68" y="179"/>
                  </a:cubicBezTo>
                  <a:cubicBezTo>
                    <a:pt x="72" y="180"/>
                    <a:pt x="80" y="177"/>
                    <a:pt x="86" y="171"/>
                  </a:cubicBezTo>
                  <a:cubicBezTo>
                    <a:pt x="87" y="170"/>
                    <a:pt x="88" y="169"/>
                    <a:pt x="89" y="169"/>
                  </a:cubicBezTo>
                  <a:cubicBezTo>
                    <a:pt x="91" y="167"/>
                    <a:pt x="91" y="166"/>
                    <a:pt x="93" y="163"/>
                  </a:cubicBezTo>
                  <a:cubicBezTo>
                    <a:pt x="99" y="156"/>
                    <a:pt x="100" y="148"/>
                    <a:pt x="100" y="144"/>
                  </a:cubicBezTo>
                  <a:cubicBezTo>
                    <a:pt x="100" y="143"/>
                    <a:pt x="100" y="143"/>
                    <a:pt x="100" y="142"/>
                  </a:cubicBezTo>
                  <a:cubicBezTo>
                    <a:pt x="100" y="142"/>
                    <a:pt x="101" y="137"/>
                    <a:pt x="101" y="137"/>
                  </a:cubicBezTo>
                  <a:cubicBezTo>
                    <a:pt x="103" y="117"/>
                    <a:pt x="103" y="122"/>
                    <a:pt x="102" y="111"/>
                  </a:cubicBezTo>
                  <a:cubicBezTo>
                    <a:pt x="102" y="110"/>
                    <a:pt x="102" y="109"/>
                    <a:pt x="103" y="110"/>
                  </a:cubicBezTo>
                  <a:cubicBezTo>
                    <a:pt x="104" y="110"/>
                    <a:pt x="105" y="110"/>
                    <a:pt x="108" y="110"/>
                  </a:cubicBezTo>
                  <a:cubicBezTo>
                    <a:pt x="110" y="111"/>
                    <a:pt x="113" y="110"/>
                    <a:pt x="115" y="110"/>
                  </a:cubicBezTo>
                  <a:cubicBezTo>
                    <a:pt x="119" y="109"/>
                    <a:pt x="122" y="109"/>
                    <a:pt x="124" y="108"/>
                  </a:cubicBezTo>
                  <a:cubicBezTo>
                    <a:pt x="127" y="107"/>
                    <a:pt x="129" y="106"/>
                    <a:pt x="129" y="102"/>
                  </a:cubicBezTo>
                  <a:close/>
                </a:path>
              </a:pathLst>
            </a:custGeom>
            <a:solidFill>
              <a:srgbClr val="96B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1" name="任意多边形: 形状 580"/>
            <p:cNvSpPr/>
            <p:nvPr userDrawn="1"/>
          </p:nvSpPr>
          <p:spPr bwMode="auto">
            <a:xfrm>
              <a:off x="8691433" y="4608512"/>
              <a:ext cx="125413" cy="217488"/>
            </a:xfrm>
            <a:custGeom>
              <a:avLst/>
              <a:gdLst>
                <a:gd name="T0" fmla="*/ 34 w 38"/>
                <a:gd name="T1" fmla="*/ 0 h 66"/>
                <a:gd name="T2" fmla="*/ 31 w 38"/>
                <a:gd name="T3" fmla="*/ 2 h 66"/>
                <a:gd name="T4" fmla="*/ 19 w 38"/>
                <a:gd name="T5" fmla="*/ 13 h 66"/>
                <a:gd name="T6" fmla="*/ 1 w 38"/>
                <a:gd name="T7" fmla="*/ 23 h 66"/>
                <a:gd name="T8" fmla="*/ 2 w 38"/>
                <a:gd name="T9" fmla="*/ 29 h 66"/>
                <a:gd name="T10" fmla="*/ 5 w 38"/>
                <a:gd name="T11" fmla="*/ 42 h 66"/>
                <a:gd name="T12" fmla="*/ 5 w 38"/>
                <a:gd name="T13" fmla="*/ 42 h 66"/>
                <a:gd name="T14" fmla="*/ 6 w 38"/>
                <a:gd name="T15" fmla="*/ 53 h 66"/>
                <a:gd name="T16" fmla="*/ 6 w 38"/>
                <a:gd name="T17" fmla="*/ 61 h 66"/>
                <a:gd name="T18" fmla="*/ 28 w 38"/>
                <a:gd name="T19" fmla="*/ 64 h 66"/>
                <a:gd name="T20" fmla="*/ 31 w 38"/>
                <a:gd name="T21" fmla="*/ 63 h 66"/>
                <a:gd name="T22" fmla="*/ 36 w 38"/>
                <a:gd name="T23" fmla="*/ 60 h 66"/>
                <a:gd name="T24" fmla="*/ 35 w 38"/>
                <a:gd name="T25" fmla="*/ 55 h 66"/>
                <a:gd name="T26" fmla="*/ 35 w 38"/>
                <a:gd name="T27" fmla="*/ 34 h 66"/>
                <a:gd name="T28" fmla="*/ 35 w 38"/>
                <a:gd name="T29" fmla="*/ 34 h 66"/>
                <a:gd name="T30" fmla="*/ 37 w 38"/>
                <a:gd name="T31" fmla="*/ 6 h 66"/>
                <a:gd name="T32" fmla="*/ 34 w 38"/>
                <a:gd name="T3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66">
                  <a:moveTo>
                    <a:pt x="34" y="0"/>
                  </a:moveTo>
                  <a:cubicBezTo>
                    <a:pt x="32" y="0"/>
                    <a:pt x="31" y="1"/>
                    <a:pt x="31" y="2"/>
                  </a:cubicBezTo>
                  <a:cubicBezTo>
                    <a:pt x="27" y="6"/>
                    <a:pt x="21" y="12"/>
                    <a:pt x="19" y="13"/>
                  </a:cubicBezTo>
                  <a:cubicBezTo>
                    <a:pt x="13" y="18"/>
                    <a:pt x="3" y="20"/>
                    <a:pt x="1" y="23"/>
                  </a:cubicBezTo>
                  <a:cubicBezTo>
                    <a:pt x="0" y="25"/>
                    <a:pt x="0" y="27"/>
                    <a:pt x="2" y="29"/>
                  </a:cubicBezTo>
                  <a:cubicBezTo>
                    <a:pt x="3" y="33"/>
                    <a:pt x="4" y="38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4"/>
                    <a:pt x="6" y="52"/>
                    <a:pt x="6" y="53"/>
                  </a:cubicBezTo>
                  <a:cubicBezTo>
                    <a:pt x="5" y="58"/>
                    <a:pt x="5" y="58"/>
                    <a:pt x="6" y="61"/>
                  </a:cubicBezTo>
                  <a:cubicBezTo>
                    <a:pt x="8" y="66"/>
                    <a:pt x="23" y="65"/>
                    <a:pt x="28" y="64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5" y="63"/>
                    <a:pt x="36" y="60"/>
                  </a:cubicBezTo>
                  <a:cubicBezTo>
                    <a:pt x="36" y="58"/>
                    <a:pt x="36" y="58"/>
                    <a:pt x="35" y="55"/>
                  </a:cubicBezTo>
                  <a:cubicBezTo>
                    <a:pt x="33" y="43"/>
                    <a:pt x="34" y="38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8" y="10"/>
                    <a:pt x="37" y="13"/>
                    <a:pt x="37" y="6"/>
                  </a:cubicBezTo>
                  <a:cubicBezTo>
                    <a:pt x="38" y="4"/>
                    <a:pt x="38" y="0"/>
                    <a:pt x="34" y="0"/>
                  </a:cubicBezTo>
                </a:path>
              </a:pathLst>
            </a:custGeom>
            <a:solidFill>
              <a:srgbClr val="D29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2" name="任意多边形: 形状 581"/>
            <p:cNvSpPr/>
            <p:nvPr userDrawn="1"/>
          </p:nvSpPr>
          <p:spPr bwMode="auto">
            <a:xfrm>
              <a:off x="8453308" y="4930775"/>
              <a:ext cx="131763" cy="330200"/>
            </a:xfrm>
            <a:custGeom>
              <a:avLst/>
              <a:gdLst>
                <a:gd name="T0" fmla="*/ 40 w 40"/>
                <a:gd name="T1" fmla="*/ 13 h 100"/>
                <a:gd name="T2" fmla="*/ 32 w 40"/>
                <a:gd name="T3" fmla="*/ 30 h 100"/>
                <a:gd name="T4" fmla="*/ 27 w 40"/>
                <a:gd name="T5" fmla="*/ 49 h 100"/>
                <a:gd name="T6" fmla="*/ 24 w 40"/>
                <a:gd name="T7" fmla="*/ 62 h 100"/>
                <a:gd name="T8" fmla="*/ 24 w 40"/>
                <a:gd name="T9" fmla="*/ 62 h 100"/>
                <a:gd name="T10" fmla="*/ 23 w 40"/>
                <a:gd name="T11" fmla="*/ 66 h 100"/>
                <a:gd name="T12" fmla="*/ 23 w 40"/>
                <a:gd name="T13" fmla="*/ 66 h 100"/>
                <a:gd name="T14" fmla="*/ 19 w 40"/>
                <a:gd name="T15" fmla="*/ 82 h 100"/>
                <a:gd name="T16" fmla="*/ 2 w 40"/>
                <a:gd name="T17" fmla="*/ 96 h 100"/>
                <a:gd name="T18" fmla="*/ 3 w 40"/>
                <a:gd name="T19" fmla="*/ 73 h 100"/>
                <a:gd name="T20" fmla="*/ 5 w 40"/>
                <a:gd name="T21" fmla="*/ 70 h 100"/>
                <a:gd name="T22" fmla="*/ 11 w 40"/>
                <a:gd name="T23" fmla="*/ 47 h 100"/>
                <a:gd name="T24" fmla="*/ 13 w 40"/>
                <a:gd name="T25" fmla="*/ 36 h 100"/>
                <a:gd name="T26" fmla="*/ 14 w 40"/>
                <a:gd name="T27" fmla="*/ 30 h 100"/>
                <a:gd name="T28" fmla="*/ 15 w 40"/>
                <a:gd name="T29" fmla="*/ 21 h 100"/>
                <a:gd name="T30" fmla="*/ 15 w 40"/>
                <a:gd name="T31" fmla="*/ 21 h 100"/>
                <a:gd name="T32" fmla="*/ 15 w 40"/>
                <a:gd name="T33" fmla="*/ 21 h 100"/>
                <a:gd name="T34" fmla="*/ 16 w 40"/>
                <a:gd name="T35" fmla="*/ 17 h 100"/>
                <a:gd name="T36" fmla="*/ 22 w 40"/>
                <a:gd name="T37" fmla="*/ 0 h 100"/>
                <a:gd name="T38" fmla="*/ 24 w 40"/>
                <a:gd name="T39" fmla="*/ 2 h 100"/>
                <a:gd name="T40" fmla="*/ 40 w 40"/>
                <a:gd name="T41" fmla="*/ 1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00">
                  <a:moveTo>
                    <a:pt x="40" y="13"/>
                  </a:moveTo>
                  <a:cubicBezTo>
                    <a:pt x="37" y="17"/>
                    <a:pt x="35" y="19"/>
                    <a:pt x="32" y="30"/>
                  </a:cubicBezTo>
                  <a:cubicBezTo>
                    <a:pt x="29" y="42"/>
                    <a:pt x="31" y="37"/>
                    <a:pt x="27" y="49"/>
                  </a:cubicBezTo>
                  <a:cubicBezTo>
                    <a:pt x="26" y="54"/>
                    <a:pt x="25" y="58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3" y="63"/>
                    <a:pt x="23" y="65"/>
                    <a:pt x="23" y="66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2" y="73"/>
                    <a:pt x="21" y="77"/>
                    <a:pt x="19" y="82"/>
                  </a:cubicBezTo>
                  <a:cubicBezTo>
                    <a:pt x="12" y="98"/>
                    <a:pt x="4" y="100"/>
                    <a:pt x="2" y="96"/>
                  </a:cubicBezTo>
                  <a:cubicBezTo>
                    <a:pt x="0" y="91"/>
                    <a:pt x="1" y="77"/>
                    <a:pt x="3" y="73"/>
                  </a:cubicBezTo>
                  <a:cubicBezTo>
                    <a:pt x="3" y="73"/>
                    <a:pt x="4" y="71"/>
                    <a:pt x="5" y="70"/>
                  </a:cubicBezTo>
                  <a:cubicBezTo>
                    <a:pt x="6" y="67"/>
                    <a:pt x="10" y="54"/>
                    <a:pt x="11" y="47"/>
                  </a:cubicBezTo>
                  <a:cubicBezTo>
                    <a:pt x="11" y="47"/>
                    <a:pt x="12" y="43"/>
                    <a:pt x="13" y="36"/>
                  </a:cubicBezTo>
                  <a:cubicBezTo>
                    <a:pt x="14" y="31"/>
                    <a:pt x="13" y="32"/>
                    <a:pt x="14" y="30"/>
                  </a:cubicBezTo>
                  <a:cubicBezTo>
                    <a:pt x="14" y="27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6" y="18"/>
                    <a:pt x="16" y="17"/>
                  </a:cubicBezTo>
                  <a:cubicBezTo>
                    <a:pt x="16" y="10"/>
                    <a:pt x="19" y="4"/>
                    <a:pt x="22" y="0"/>
                  </a:cubicBezTo>
                  <a:cubicBezTo>
                    <a:pt x="22" y="0"/>
                    <a:pt x="23" y="1"/>
                    <a:pt x="24" y="2"/>
                  </a:cubicBezTo>
                  <a:cubicBezTo>
                    <a:pt x="30" y="9"/>
                    <a:pt x="36" y="12"/>
                    <a:pt x="40" y="13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3" name="任意多边形: 形状 582"/>
            <p:cNvSpPr/>
            <p:nvPr userDrawn="1"/>
          </p:nvSpPr>
          <p:spPr bwMode="auto">
            <a:xfrm>
              <a:off x="8608883" y="4525962"/>
              <a:ext cx="198438" cy="280988"/>
            </a:xfrm>
            <a:custGeom>
              <a:avLst/>
              <a:gdLst>
                <a:gd name="T0" fmla="*/ 29 w 60"/>
                <a:gd name="T1" fmla="*/ 0 h 85"/>
                <a:gd name="T2" fmla="*/ 14 w 60"/>
                <a:gd name="T3" fmla="*/ 7 h 85"/>
                <a:gd name="T4" fmla="*/ 19 w 60"/>
                <a:gd name="T5" fmla="*/ 72 h 85"/>
                <a:gd name="T6" fmla="*/ 37 w 60"/>
                <a:gd name="T7" fmla="*/ 75 h 85"/>
                <a:gd name="T8" fmla="*/ 44 w 60"/>
                <a:gd name="T9" fmla="*/ 70 h 85"/>
                <a:gd name="T10" fmla="*/ 57 w 60"/>
                <a:gd name="T11" fmla="*/ 25 h 85"/>
                <a:gd name="T12" fmla="*/ 42 w 60"/>
                <a:gd name="T13" fmla="*/ 4 h 85"/>
                <a:gd name="T14" fmla="*/ 29 w 60"/>
                <a:gd name="T1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85">
                  <a:moveTo>
                    <a:pt x="29" y="0"/>
                  </a:moveTo>
                  <a:cubicBezTo>
                    <a:pt x="24" y="0"/>
                    <a:pt x="17" y="4"/>
                    <a:pt x="14" y="7"/>
                  </a:cubicBezTo>
                  <a:cubicBezTo>
                    <a:pt x="7" y="16"/>
                    <a:pt x="0" y="47"/>
                    <a:pt x="19" y="72"/>
                  </a:cubicBezTo>
                  <a:cubicBezTo>
                    <a:pt x="21" y="75"/>
                    <a:pt x="25" y="85"/>
                    <a:pt x="37" y="75"/>
                  </a:cubicBezTo>
                  <a:cubicBezTo>
                    <a:pt x="39" y="74"/>
                    <a:pt x="44" y="69"/>
                    <a:pt x="44" y="70"/>
                  </a:cubicBezTo>
                  <a:cubicBezTo>
                    <a:pt x="55" y="59"/>
                    <a:pt x="60" y="40"/>
                    <a:pt x="57" y="25"/>
                  </a:cubicBezTo>
                  <a:cubicBezTo>
                    <a:pt x="54" y="14"/>
                    <a:pt x="49" y="9"/>
                    <a:pt x="42" y="4"/>
                  </a:cubicBezTo>
                  <a:cubicBezTo>
                    <a:pt x="38" y="2"/>
                    <a:pt x="33" y="0"/>
                    <a:pt x="29" y="0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4" name="任意多边形: 形状 583"/>
            <p:cNvSpPr/>
            <p:nvPr userDrawn="1"/>
          </p:nvSpPr>
          <p:spPr bwMode="auto">
            <a:xfrm>
              <a:off x="8621583" y="4476750"/>
              <a:ext cx="241300" cy="276225"/>
            </a:xfrm>
            <a:custGeom>
              <a:avLst/>
              <a:gdLst>
                <a:gd name="T0" fmla="*/ 34 w 73"/>
                <a:gd name="T1" fmla="*/ 0 h 84"/>
                <a:gd name="T2" fmla="*/ 17 w 73"/>
                <a:gd name="T3" fmla="*/ 6 h 84"/>
                <a:gd name="T4" fmla="*/ 1 w 73"/>
                <a:gd name="T5" fmla="*/ 21 h 84"/>
                <a:gd name="T6" fmla="*/ 0 w 73"/>
                <a:gd name="T7" fmla="*/ 25 h 84"/>
                <a:gd name="T8" fmla="*/ 3 w 73"/>
                <a:gd name="T9" fmla="*/ 32 h 84"/>
                <a:gd name="T10" fmla="*/ 7 w 73"/>
                <a:gd name="T11" fmla="*/ 35 h 84"/>
                <a:gd name="T12" fmla="*/ 12 w 73"/>
                <a:gd name="T13" fmla="*/ 36 h 84"/>
                <a:gd name="T14" fmla="*/ 34 w 73"/>
                <a:gd name="T15" fmla="*/ 32 h 84"/>
                <a:gd name="T16" fmla="*/ 37 w 73"/>
                <a:gd name="T17" fmla="*/ 33 h 84"/>
                <a:gd name="T18" fmla="*/ 43 w 73"/>
                <a:gd name="T19" fmla="*/ 41 h 84"/>
                <a:gd name="T20" fmla="*/ 43 w 73"/>
                <a:gd name="T21" fmla="*/ 41 h 84"/>
                <a:gd name="T22" fmla="*/ 46 w 73"/>
                <a:gd name="T23" fmla="*/ 84 h 84"/>
                <a:gd name="T24" fmla="*/ 61 w 73"/>
                <a:gd name="T25" fmla="*/ 70 h 84"/>
                <a:gd name="T26" fmla="*/ 66 w 73"/>
                <a:gd name="T27" fmla="*/ 21 h 84"/>
                <a:gd name="T28" fmla="*/ 42 w 73"/>
                <a:gd name="T29" fmla="*/ 1 h 84"/>
                <a:gd name="T30" fmla="*/ 34 w 73"/>
                <a:gd name="T31" fmla="*/ 0 h 84"/>
                <a:gd name="T32" fmla="*/ 34 w 73"/>
                <a:gd name="T3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84">
                  <a:moveTo>
                    <a:pt x="34" y="0"/>
                  </a:moveTo>
                  <a:cubicBezTo>
                    <a:pt x="30" y="0"/>
                    <a:pt x="28" y="0"/>
                    <a:pt x="17" y="6"/>
                  </a:cubicBezTo>
                  <a:cubicBezTo>
                    <a:pt x="13" y="8"/>
                    <a:pt x="2" y="13"/>
                    <a:pt x="1" y="21"/>
                  </a:cubicBezTo>
                  <a:cubicBezTo>
                    <a:pt x="1" y="21"/>
                    <a:pt x="1" y="25"/>
                    <a:pt x="0" y="25"/>
                  </a:cubicBezTo>
                  <a:cubicBezTo>
                    <a:pt x="0" y="26"/>
                    <a:pt x="0" y="30"/>
                    <a:pt x="3" y="32"/>
                  </a:cubicBezTo>
                  <a:cubicBezTo>
                    <a:pt x="4" y="33"/>
                    <a:pt x="5" y="34"/>
                    <a:pt x="7" y="35"/>
                  </a:cubicBezTo>
                  <a:cubicBezTo>
                    <a:pt x="8" y="35"/>
                    <a:pt x="13" y="36"/>
                    <a:pt x="12" y="36"/>
                  </a:cubicBezTo>
                  <a:cubicBezTo>
                    <a:pt x="24" y="38"/>
                    <a:pt x="27" y="31"/>
                    <a:pt x="34" y="32"/>
                  </a:cubicBezTo>
                  <a:cubicBezTo>
                    <a:pt x="35" y="32"/>
                    <a:pt x="36" y="32"/>
                    <a:pt x="37" y="33"/>
                  </a:cubicBezTo>
                  <a:cubicBezTo>
                    <a:pt x="40" y="36"/>
                    <a:pt x="42" y="40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50" y="59"/>
                    <a:pt x="38" y="84"/>
                    <a:pt x="46" y="84"/>
                  </a:cubicBezTo>
                  <a:cubicBezTo>
                    <a:pt x="51" y="84"/>
                    <a:pt x="58" y="74"/>
                    <a:pt x="61" y="70"/>
                  </a:cubicBezTo>
                  <a:cubicBezTo>
                    <a:pt x="68" y="59"/>
                    <a:pt x="73" y="36"/>
                    <a:pt x="66" y="21"/>
                  </a:cubicBezTo>
                  <a:cubicBezTo>
                    <a:pt x="59" y="7"/>
                    <a:pt x="55" y="5"/>
                    <a:pt x="42" y="1"/>
                  </a:cubicBezTo>
                  <a:cubicBezTo>
                    <a:pt x="39" y="0"/>
                    <a:pt x="36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5" name="任意多边形: 形状 584"/>
            <p:cNvSpPr/>
            <p:nvPr userDrawn="1"/>
          </p:nvSpPr>
          <p:spPr bwMode="auto">
            <a:xfrm>
              <a:off x="8743821" y="4648200"/>
              <a:ext cx="49213" cy="68263"/>
            </a:xfrm>
            <a:custGeom>
              <a:avLst/>
              <a:gdLst>
                <a:gd name="T0" fmla="*/ 9 w 15"/>
                <a:gd name="T1" fmla="*/ 1 h 21"/>
                <a:gd name="T2" fmla="*/ 5 w 15"/>
                <a:gd name="T3" fmla="*/ 3 h 21"/>
                <a:gd name="T4" fmla="*/ 3 w 15"/>
                <a:gd name="T5" fmla="*/ 7 h 21"/>
                <a:gd name="T6" fmla="*/ 2 w 15"/>
                <a:gd name="T7" fmla="*/ 11 h 21"/>
                <a:gd name="T8" fmla="*/ 3 w 15"/>
                <a:gd name="T9" fmla="*/ 13 h 21"/>
                <a:gd name="T10" fmla="*/ 8 w 15"/>
                <a:gd name="T11" fmla="*/ 19 h 21"/>
                <a:gd name="T12" fmla="*/ 14 w 15"/>
                <a:gd name="T13" fmla="*/ 4 h 21"/>
                <a:gd name="T14" fmla="*/ 9 w 15"/>
                <a:gd name="T15" fmla="*/ 1 h 21"/>
                <a:gd name="T16" fmla="*/ 15 w 15"/>
                <a:gd name="T17" fmla="*/ 7 h 21"/>
                <a:gd name="T18" fmla="*/ 15 w 15"/>
                <a:gd name="T19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1">
                  <a:moveTo>
                    <a:pt x="9" y="1"/>
                  </a:moveTo>
                  <a:cubicBezTo>
                    <a:pt x="7" y="1"/>
                    <a:pt x="6" y="2"/>
                    <a:pt x="5" y="3"/>
                  </a:cubicBezTo>
                  <a:cubicBezTo>
                    <a:pt x="4" y="4"/>
                    <a:pt x="3" y="5"/>
                    <a:pt x="3" y="7"/>
                  </a:cubicBezTo>
                  <a:cubicBezTo>
                    <a:pt x="2" y="8"/>
                    <a:pt x="2" y="10"/>
                    <a:pt x="2" y="11"/>
                  </a:cubicBezTo>
                  <a:cubicBezTo>
                    <a:pt x="3" y="13"/>
                    <a:pt x="4" y="11"/>
                    <a:pt x="3" y="13"/>
                  </a:cubicBezTo>
                  <a:cubicBezTo>
                    <a:pt x="0" y="17"/>
                    <a:pt x="5" y="21"/>
                    <a:pt x="8" y="19"/>
                  </a:cubicBezTo>
                  <a:cubicBezTo>
                    <a:pt x="13" y="16"/>
                    <a:pt x="15" y="7"/>
                    <a:pt x="14" y="4"/>
                  </a:cubicBezTo>
                  <a:cubicBezTo>
                    <a:pt x="13" y="1"/>
                    <a:pt x="11" y="0"/>
                    <a:pt x="9" y="1"/>
                  </a:cubicBezTo>
                  <a:moveTo>
                    <a:pt x="15" y="7"/>
                  </a:moveTo>
                  <a:cubicBezTo>
                    <a:pt x="14" y="7"/>
                    <a:pt x="14" y="7"/>
                    <a:pt x="15" y="7"/>
                  </a:cubicBezTo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6" name="任意多边形: 形状 585"/>
            <p:cNvSpPr/>
            <p:nvPr userDrawn="1"/>
          </p:nvSpPr>
          <p:spPr bwMode="auto">
            <a:xfrm>
              <a:off x="8275508" y="5116512"/>
              <a:ext cx="517525" cy="266700"/>
            </a:xfrm>
            <a:custGeom>
              <a:avLst/>
              <a:gdLst>
                <a:gd name="T0" fmla="*/ 0 w 326"/>
                <a:gd name="T1" fmla="*/ 72 h 168"/>
                <a:gd name="T2" fmla="*/ 137 w 326"/>
                <a:gd name="T3" fmla="*/ 0 h 168"/>
                <a:gd name="T4" fmla="*/ 310 w 326"/>
                <a:gd name="T5" fmla="*/ 85 h 168"/>
                <a:gd name="T6" fmla="*/ 326 w 326"/>
                <a:gd name="T7" fmla="*/ 85 h 168"/>
                <a:gd name="T8" fmla="*/ 326 w 326"/>
                <a:gd name="T9" fmla="*/ 93 h 168"/>
                <a:gd name="T10" fmla="*/ 324 w 326"/>
                <a:gd name="T11" fmla="*/ 93 h 168"/>
                <a:gd name="T12" fmla="*/ 189 w 326"/>
                <a:gd name="T13" fmla="*/ 168 h 168"/>
                <a:gd name="T14" fmla="*/ 0 w 326"/>
                <a:gd name="T15" fmla="*/ 7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6" h="168">
                  <a:moveTo>
                    <a:pt x="0" y="72"/>
                  </a:moveTo>
                  <a:lnTo>
                    <a:pt x="137" y="0"/>
                  </a:lnTo>
                  <a:lnTo>
                    <a:pt x="310" y="85"/>
                  </a:lnTo>
                  <a:lnTo>
                    <a:pt x="326" y="85"/>
                  </a:lnTo>
                  <a:lnTo>
                    <a:pt x="326" y="93"/>
                  </a:lnTo>
                  <a:lnTo>
                    <a:pt x="324" y="93"/>
                  </a:lnTo>
                  <a:lnTo>
                    <a:pt x="189" y="168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AE7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7" name="任意多边形: 形状 586"/>
            <p:cNvSpPr/>
            <p:nvPr userDrawn="1"/>
          </p:nvSpPr>
          <p:spPr bwMode="auto">
            <a:xfrm>
              <a:off x="8275508" y="5105400"/>
              <a:ext cx="517525" cy="265113"/>
            </a:xfrm>
            <a:custGeom>
              <a:avLst/>
              <a:gdLst>
                <a:gd name="T0" fmla="*/ 189 w 326"/>
                <a:gd name="T1" fmla="*/ 167 h 167"/>
                <a:gd name="T2" fmla="*/ 326 w 326"/>
                <a:gd name="T3" fmla="*/ 92 h 167"/>
                <a:gd name="T4" fmla="*/ 137 w 326"/>
                <a:gd name="T5" fmla="*/ 0 h 167"/>
                <a:gd name="T6" fmla="*/ 0 w 326"/>
                <a:gd name="T7" fmla="*/ 71 h 167"/>
                <a:gd name="T8" fmla="*/ 189 w 326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6" h="167">
                  <a:moveTo>
                    <a:pt x="189" y="167"/>
                  </a:moveTo>
                  <a:lnTo>
                    <a:pt x="326" y="92"/>
                  </a:lnTo>
                  <a:lnTo>
                    <a:pt x="137" y="0"/>
                  </a:lnTo>
                  <a:lnTo>
                    <a:pt x="0" y="71"/>
                  </a:lnTo>
                  <a:lnTo>
                    <a:pt x="189" y="167"/>
                  </a:ln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8" name="任意多边形: 形状 587"/>
            <p:cNvSpPr/>
            <p:nvPr userDrawn="1"/>
          </p:nvSpPr>
          <p:spPr bwMode="auto">
            <a:xfrm>
              <a:off x="8159621" y="5006975"/>
              <a:ext cx="425450" cy="376238"/>
            </a:xfrm>
            <a:custGeom>
              <a:avLst/>
              <a:gdLst>
                <a:gd name="T0" fmla="*/ 0 w 268"/>
                <a:gd name="T1" fmla="*/ 4 h 237"/>
                <a:gd name="T2" fmla="*/ 6 w 268"/>
                <a:gd name="T3" fmla="*/ 0 h 237"/>
                <a:gd name="T4" fmla="*/ 193 w 268"/>
                <a:gd name="T5" fmla="*/ 98 h 237"/>
                <a:gd name="T6" fmla="*/ 268 w 268"/>
                <a:gd name="T7" fmla="*/ 233 h 237"/>
                <a:gd name="T8" fmla="*/ 262 w 268"/>
                <a:gd name="T9" fmla="*/ 237 h 237"/>
                <a:gd name="T10" fmla="*/ 245 w 268"/>
                <a:gd name="T11" fmla="*/ 227 h 237"/>
                <a:gd name="T12" fmla="*/ 250 w 268"/>
                <a:gd name="T13" fmla="*/ 224 h 237"/>
                <a:gd name="T14" fmla="*/ 79 w 268"/>
                <a:gd name="T15" fmla="*/ 137 h 237"/>
                <a:gd name="T16" fmla="*/ 15 w 268"/>
                <a:gd name="T17" fmla="*/ 17 h 237"/>
                <a:gd name="T18" fmla="*/ 13 w 268"/>
                <a:gd name="T19" fmla="*/ 19 h 237"/>
                <a:gd name="T20" fmla="*/ 0 w 268"/>
                <a:gd name="T21" fmla="*/ 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" h="237">
                  <a:moveTo>
                    <a:pt x="0" y="4"/>
                  </a:moveTo>
                  <a:lnTo>
                    <a:pt x="6" y="0"/>
                  </a:lnTo>
                  <a:lnTo>
                    <a:pt x="193" y="98"/>
                  </a:lnTo>
                  <a:lnTo>
                    <a:pt x="268" y="233"/>
                  </a:lnTo>
                  <a:lnTo>
                    <a:pt x="262" y="237"/>
                  </a:lnTo>
                  <a:lnTo>
                    <a:pt x="245" y="227"/>
                  </a:lnTo>
                  <a:lnTo>
                    <a:pt x="250" y="224"/>
                  </a:lnTo>
                  <a:lnTo>
                    <a:pt x="79" y="137"/>
                  </a:lnTo>
                  <a:lnTo>
                    <a:pt x="15" y="17"/>
                  </a:lnTo>
                  <a:lnTo>
                    <a:pt x="13" y="1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9" name="任意多边形: 形状 588"/>
            <p:cNvSpPr/>
            <p:nvPr userDrawn="1"/>
          </p:nvSpPr>
          <p:spPr bwMode="auto">
            <a:xfrm>
              <a:off x="8159621" y="5013325"/>
              <a:ext cx="415925" cy="369888"/>
            </a:xfrm>
            <a:custGeom>
              <a:avLst/>
              <a:gdLst>
                <a:gd name="T0" fmla="*/ 262 w 262"/>
                <a:gd name="T1" fmla="*/ 233 h 233"/>
                <a:gd name="T2" fmla="*/ 187 w 262"/>
                <a:gd name="T3" fmla="*/ 98 h 233"/>
                <a:gd name="T4" fmla="*/ 0 w 262"/>
                <a:gd name="T5" fmla="*/ 0 h 233"/>
                <a:gd name="T6" fmla="*/ 73 w 262"/>
                <a:gd name="T7" fmla="*/ 137 h 233"/>
                <a:gd name="T8" fmla="*/ 262 w 262"/>
                <a:gd name="T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33">
                  <a:moveTo>
                    <a:pt x="262" y="233"/>
                  </a:moveTo>
                  <a:lnTo>
                    <a:pt x="187" y="98"/>
                  </a:lnTo>
                  <a:lnTo>
                    <a:pt x="0" y="0"/>
                  </a:lnTo>
                  <a:lnTo>
                    <a:pt x="73" y="137"/>
                  </a:lnTo>
                  <a:lnTo>
                    <a:pt x="262" y="233"/>
                  </a:lnTo>
                  <a:close/>
                </a:path>
              </a:pathLst>
            </a:custGeom>
            <a:solidFill>
              <a:srgbClr val="1E3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0" name="任意多边形: 形状 589"/>
            <p:cNvSpPr/>
            <p:nvPr userDrawn="1"/>
          </p:nvSpPr>
          <p:spPr bwMode="auto">
            <a:xfrm>
              <a:off x="8502521" y="5162550"/>
              <a:ext cx="142875" cy="82550"/>
            </a:xfrm>
            <a:custGeom>
              <a:avLst/>
              <a:gdLst>
                <a:gd name="T0" fmla="*/ 3 w 43"/>
                <a:gd name="T1" fmla="*/ 13 h 25"/>
                <a:gd name="T2" fmla="*/ 21 w 43"/>
                <a:gd name="T3" fmla="*/ 23 h 25"/>
                <a:gd name="T4" fmla="*/ 28 w 43"/>
                <a:gd name="T5" fmla="*/ 24 h 25"/>
                <a:gd name="T6" fmla="*/ 41 w 43"/>
                <a:gd name="T7" fmla="*/ 16 h 25"/>
                <a:gd name="T8" fmla="*/ 41 w 43"/>
                <a:gd name="T9" fmla="*/ 12 h 25"/>
                <a:gd name="T10" fmla="*/ 22 w 43"/>
                <a:gd name="T11" fmla="*/ 1 h 25"/>
                <a:gd name="T12" fmla="*/ 15 w 43"/>
                <a:gd name="T13" fmla="*/ 1 h 25"/>
                <a:gd name="T14" fmla="*/ 2 w 43"/>
                <a:gd name="T15" fmla="*/ 9 h 25"/>
                <a:gd name="T16" fmla="*/ 3 w 43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25">
                  <a:moveTo>
                    <a:pt x="3" y="13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3" y="25"/>
                    <a:pt x="26" y="25"/>
                    <a:pt x="28" y="24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3" y="15"/>
                    <a:pt x="43" y="13"/>
                    <a:pt x="41" y="1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0" y="0"/>
                    <a:pt x="17" y="0"/>
                    <a:pt x="15" y="1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10"/>
                    <a:pt x="0" y="11"/>
                    <a:pt x="3" y="13"/>
                  </a:cubicBezTo>
                  <a:close/>
                </a:path>
              </a:pathLst>
            </a:custGeom>
            <a:solidFill>
              <a:srgbClr val="3C6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1" name="任意多边形: 形状 590"/>
            <p:cNvSpPr/>
            <p:nvPr userDrawn="1"/>
          </p:nvSpPr>
          <p:spPr bwMode="auto">
            <a:xfrm>
              <a:off x="8551733" y="5067300"/>
              <a:ext cx="390525" cy="242888"/>
            </a:xfrm>
            <a:custGeom>
              <a:avLst/>
              <a:gdLst>
                <a:gd name="T0" fmla="*/ 79 w 118"/>
                <a:gd name="T1" fmla="*/ 61 h 74"/>
                <a:gd name="T2" fmla="*/ 76 w 118"/>
                <a:gd name="T3" fmla="*/ 61 h 74"/>
                <a:gd name="T4" fmla="*/ 50 w 118"/>
                <a:gd name="T5" fmla="*/ 64 h 74"/>
                <a:gd name="T6" fmla="*/ 46 w 118"/>
                <a:gd name="T7" fmla="*/ 65 h 74"/>
                <a:gd name="T8" fmla="*/ 38 w 118"/>
                <a:gd name="T9" fmla="*/ 66 h 74"/>
                <a:gd name="T10" fmla="*/ 26 w 118"/>
                <a:gd name="T11" fmla="*/ 68 h 74"/>
                <a:gd name="T12" fmla="*/ 27 w 118"/>
                <a:gd name="T13" fmla="*/ 68 h 74"/>
                <a:gd name="T14" fmla="*/ 14 w 118"/>
                <a:gd name="T15" fmla="*/ 71 h 74"/>
                <a:gd name="T16" fmla="*/ 7 w 118"/>
                <a:gd name="T17" fmla="*/ 74 h 74"/>
                <a:gd name="T18" fmla="*/ 1 w 118"/>
                <a:gd name="T19" fmla="*/ 69 h 74"/>
                <a:gd name="T20" fmla="*/ 11 w 118"/>
                <a:gd name="T21" fmla="*/ 54 h 74"/>
                <a:gd name="T22" fmla="*/ 19 w 118"/>
                <a:gd name="T23" fmla="*/ 49 h 74"/>
                <a:gd name="T24" fmla="*/ 27 w 118"/>
                <a:gd name="T25" fmla="*/ 47 h 74"/>
                <a:gd name="T26" fmla="*/ 33 w 118"/>
                <a:gd name="T27" fmla="*/ 47 h 74"/>
                <a:gd name="T28" fmla="*/ 67 w 118"/>
                <a:gd name="T29" fmla="*/ 43 h 74"/>
                <a:gd name="T30" fmla="*/ 90 w 118"/>
                <a:gd name="T31" fmla="*/ 36 h 74"/>
                <a:gd name="T32" fmla="*/ 94 w 118"/>
                <a:gd name="T33" fmla="*/ 33 h 74"/>
                <a:gd name="T34" fmla="*/ 94 w 118"/>
                <a:gd name="T35" fmla="*/ 29 h 74"/>
                <a:gd name="T36" fmla="*/ 93 w 118"/>
                <a:gd name="T37" fmla="*/ 2 h 74"/>
                <a:gd name="T38" fmla="*/ 98 w 118"/>
                <a:gd name="T39" fmla="*/ 2 h 74"/>
                <a:gd name="T40" fmla="*/ 105 w 118"/>
                <a:gd name="T41" fmla="*/ 2 h 74"/>
                <a:gd name="T42" fmla="*/ 114 w 118"/>
                <a:gd name="T43" fmla="*/ 0 h 74"/>
                <a:gd name="T44" fmla="*/ 114 w 118"/>
                <a:gd name="T45" fmla="*/ 7 h 74"/>
                <a:gd name="T46" fmla="*/ 79 w 118"/>
                <a:gd name="T47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8" h="74">
                  <a:moveTo>
                    <a:pt x="79" y="61"/>
                  </a:moveTo>
                  <a:cubicBezTo>
                    <a:pt x="78" y="61"/>
                    <a:pt x="77" y="61"/>
                    <a:pt x="76" y="61"/>
                  </a:cubicBezTo>
                  <a:cubicBezTo>
                    <a:pt x="75" y="61"/>
                    <a:pt x="64" y="61"/>
                    <a:pt x="50" y="64"/>
                  </a:cubicBezTo>
                  <a:cubicBezTo>
                    <a:pt x="48" y="65"/>
                    <a:pt x="47" y="65"/>
                    <a:pt x="46" y="65"/>
                  </a:cubicBezTo>
                  <a:cubicBezTo>
                    <a:pt x="41" y="66"/>
                    <a:pt x="40" y="66"/>
                    <a:pt x="38" y="66"/>
                  </a:cubicBezTo>
                  <a:cubicBezTo>
                    <a:pt x="31" y="65"/>
                    <a:pt x="28" y="67"/>
                    <a:pt x="26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1" y="70"/>
                    <a:pt x="18" y="70"/>
                    <a:pt x="14" y="71"/>
                  </a:cubicBezTo>
                  <a:cubicBezTo>
                    <a:pt x="12" y="73"/>
                    <a:pt x="10" y="74"/>
                    <a:pt x="7" y="74"/>
                  </a:cubicBezTo>
                  <a:cubicBezTo>
                    <a:pt x="4" y="74"/>
                    <a:pt x="0" y="72"/>
                    <a:pt x="1" y="69"/>
                  </a:cubicBezTo>
                  <a:cubicBezTo>
                    <a:pt x="1" y="68"/>
                    <a:pt x="6" y="58"/>
                    <a:pt x="11" y="54"/>
                  </a:cubicBezTo>
                  <a:cubicBezTo>
                    <a:pt x="13" y="52"/>
                    <a:pt x="16" y="51"/>
                    <a:pt x="19" y="49"/>
                  </a:cubicBezTo>
                  <a:cubicBezTo>
                    <a:pt x="22" y="48"/>
                    <a:pt x="25" y="47"/>
                    <a:pt x="27" y="47"/>
                  </a:cubicBezTo>
                  <a:cubicBezTo>
                    <a:pt x="27" y="47"/>
                    <a:pt x="30" y="47"/>
                    <a:pt x="33" y="47"/>
                  </a:cubicBezTo>
                  <a:cubicBezTo>
                    <a:pt x="44" y="49"/>
                    <a:pt x="39" y="48"/>
                    <a:pt x="67" y="43"/>
                  </a:cubicBezTo>
                  <a:cubicBezTo>
                    <a:pt x="77" y="41"/>
                    <a:pt x="85" y="38"/>
                    <a:pt x="90" y="36"/>
                  </a:cubicBezTo>
                  <a:cubicBezTo>
                    <a:pt x="92" y="35"/>
                    <a:pt x="94" y="34"/>
                    <a:pt x="94" y="33"/>
                  </a:cubicBezTo>
                  <a:cubicBezTo>
                    <a:pt x="94" y="33"/>
                    <a:pt x="94" y="32"/>
                    <a:pt x="94" y="29"/>
                  </a:cubicBezTo>
                  <a:cubicBezTo>
                    <a:pt x="94" y="18"/>
                    <a:pt x="93" y="9"/>
                    <a:pt x="93" y="2"/>
                  </a:cubicBezTo>
                  <a:cubicBezTo>
                    <a:pt x="94" y="2"/>
                    <a:pt x="95" y="2"/>
                    <a:pt x="98" y="2"/>
                  </a:cubicBezTo>
                  <a:cubicBezTo>
                    <a:pt x="100" y="3"/>
                    <a:pt x="103" y="2"/>
                    <a:pt x="105" y="2"/>
                  </a:cubicBezTo>
                  <a:cubicBezTo>
                    <a:pt x="109" y="1"/>
                    <a:pt x="112" y="1"/>
                    <a:pt x="114" y="0"/>
                  </a:cubicBezTo>
                  <a:cubicBezTo>
                    <a:pt x="114" y="2"/>
                    <a:pt x="114" y="5"/>
                    <a:pt x="114" y="7"/>
                  </a:cubicBezTo>
                  <a:cubicBezTo>
                    <a:pt x="114" y="49"/>
                    <a:pt x="118" y="58"/>
                    <a:pt x="79" y="61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grpSp>
          <p:nvGrpSpPr>
            <p:cNvPr id="592" name="组合 591"/>
            <p:cNvGrpSpPr/>
            <p:nvPr userDrawn="1"/>
          </p:nvGrpSpPr>
          <p:grpSpPr>
            <a:xfrm>
              <a:off x="7300783" y="2051050"/>
              <a:ext cx="650876" cy="603250"/>
              <a:chOff x="7300783" y="2051050"/>
              <a:chExt cx="650876" cy="603250"/>
            </a:xfrm>
          </p:grpSpPr>
          <p:sp>
            <p:nvSpPr>
              <p:cNvPr id="651" name="任意多边形: 形状 650"/>
              <p:cNvSpPr/>
              <p:nvPr userDrawn="1"/>
            </p:nvSpPr>
            <p:spPr bwMode="auto">
              <a:xfrm>
                <a:off x="7324596" y="2122487"/>
                <a:ext cx="61913" cy="39688"/>
              </a:xfrm>
              <a:custGeom>
                <a:avLst/>
                <a:gdLst>
                  <a:gd name="T0" fmla="*/ 0 w 39"/>
                  <a:gd name="T1" fmla="*/ 13 h 25"/>
                  <a:gd name="T2" fmla="*/ 23 w 39"/>
                  <a:gd name="T3" fmla="*/ 0 h 25"/>
                  <a:gd name="T4" fmla="*/ 39 w 39"/>
                  <a:gd name="T5" fmla="*/ 9 h 25"/>
                  <a:gd name="T6" fmla="*/ 12 w 39"/>
                  <a:gd name="T7" fmla="*/ 25 h 25"/>
                  <a:gd name="T8" fmla="*/ 0 w 39"/>
                  <a:gd name="T9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0" y="13"/>
                    </a:moveTo>
                    <a:lnTo>
                      <a:pt x="23" y="0"/>
                    </a:lnTo>
                    <a:lnTo>
                      <a:pt x="39" y="9"/>
                    </a:lnTo>
                    <a:lnTo>
                      <a:pt x="12" y="25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EAA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52" name="任意多边形: 形状 651"/>
              <p:cNvSpPr/>
              <p:nvPr userDrawn="1"/>
            </p:nvSpPr>
            <p:spPr bwMode="auto">
              <a:xfrm>
                <a:off x="7492871" y="2089150"/>
                <a:ext cx="55563" cy="33338"/>
              </a:xfrm>
              <a:custGeom>
                <a:avLst/>
                <a:gdLst>
                  <a:gd name="T0" fmla="*/ 0 w 35"/>
                  <a:gd name="T1" fmla="*/ 15 h 21"/>
                  <a:gd name="T2" fmla="*/ 23 w 35"/>
                  <a:gd name="T3" fmla="*/ 0 h 21"/>
                  <a:gd name="T4" fmla="*/ 35 w 35"/>
                  <a:gd name="T5" fmla="*/ 9 h 21"/>
                  <a:gd name="T6" fmla="*/ 4 w 35"/>
                  <a:gd name="T7" fmla="*/ 21 h 21"/>
                  <a:gd name="T8" fmla="*/ 0 w 35"/>
                  <a:gd name="T9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1">
                    <a:moveTo>
                      <a:pt x="0" y="15"/>
                    </a:moveTo>
                    <a:lnTo>
                      <a:pt x="23" y="0"/>
                    </a:lnTo>
                    <a:lnTo>
                      <a:pt x="35" y="9"/>
                    </a:lnTo>
                    <a:lnTo>
                      <a:pt x="4" y="21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EAA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53" name="任意多边形: 形状 652"/>
              <p:cNvSpPr/>
              <p:nvPr userDrawn="1"/>
            </p:nvSpPr>
            <p:spPr bwMode="auto">
              <a:xfrm>
                <a:off x="7875458" y="2597150"/>
                <a:ext cx="46038" cy="30163"/>
              </a:xfrm>
              <a:custGeom>
                <a:avLst/>
                <a:gdLst>
                  <a:gd name="T0" fmla="*/ 6 w 29"/>
                  <a:gd name="T1" fmla="*/ 19 h 19"/>
                  <a:gd name="T2" fmla="*/ 29 w 29"/>
                  <a:gd name="T3" fmla="*/ 6 h 19"/>
                  <a:gd name="T4" fmla="*/ 25 w 29"/>
                  <a:gd name="T5" fmla="*/ 0 h 19"/>
                  <a:gd name="T6" fmla="*/ 0 w 29"/>
                  <a:gd name="T7" fmla="*/ 9 h 19"/>
                  <a:gd name="T8" fmla="*/ 6 w 29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6" y="19"/>
                    </a:moveTo>
                    <a:lnTo>
                      <a:pt x="29" y="6"/>
                    </a:lnTo>
                    <a:lnTo>
                      <a:pt x="25" y="0"/>
                    </a:lnTo>
                    <a:lnTo>
                      <a:pt x="0" y="9"/>
                    </a:ln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EAA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54" name="任意多边形: 形状 653"/>
              <p:cNvSpPr/>
              <p:nvPr userDrawn="1"/>
            </p:nvSpPr>
            <p:spPr bwMode="auto">
              <a:xfrm>
                <a:off x="7334121" y="2051050"/>
                <a:ext cx="617538" cy="582613"/>
              </a:xfrm>
              <a:custGeom>
                <a:avLst/>
                <a:gdLst>
                  <a:gd name="T0" fmla="*/ 187 w 187"/>
                  <a:gd name="T1" fmla="*/ 140 h 177"/>
                  <a:gd name="T2" fmla="*/ 187 w 187"/>
                  <a:gd name="T3" fmla="*/ 148 h 177"/>
                  <a:gd name="T4" fmla="*/ 155 w 187"/>
                  <a:gd name="T5" fmla="*/ 166 h 177"/>
                  <a:gd name="T6" fmla="*/ 125 w 187"/>
                  <a:gd name="T7" fmla="*/ 149 h 177"/>
                  <a:gd name="T8" fmla="*/ 71 w 187"/>
                  <a:gd name="T9" fmla="*/ 118 h 177"/>
                  <a:gd name="T10" fmla="*/ 32 w 187"/>
                  <a:gd name="T11" fmla="*/ 95 h 177"/>
                  <a:gd name="T12" fmla="*/ 0 w 187"/>
                  <a:gd name="T13" fmla="*/ 40 h 177"/>
                  <a:gd name="T14" fmla="*/ 0 w 187"/>
                  <a:gd name="T15" fmla="*/ 40 h 177"/>
                  <a:gd name="T16" fmla="*/ 28 w 187"/>
                  <a:gd name="T17" fmla="*/ 24 h 177"/>
                  <a:gd name="T18" fmla="*/ 44 w 187"/>
                  <a:gd name="T19" fmla="*/ 40 h 177"/>
                  <a:gd name="T20" fmla="*/ 98 w 187"/>
                  <a:gd name="T21" fmla="*/ 16 h 177"/>
                  <a:gd name="T22" fmla="*/ 150 w 187"/>
                  <a:gd name="T23" fmla="*/ 88 h 177"/>
                  <a:gd name="T24" fmla="*/ 160 w 187"/>
                  <a:gd name="T25" fmla="*/ 92 h 177"/>
                  <a:gd name="T26" fmla="*/ 187 w 187"/>
                  <a:gd name="T27" fmla="*/ 14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7" h="177">
                    <a:moveTo>
                      <a:pt x="187" y="140"/>
                    </a:moveTo>
                    <a:cubicBezTo>
                      <a:pt x="187" y="148"/>
                      <a:pt x="187" y="148"/>
                      <a:pt x="187" y="148"/>
                    </a:cubicBezTo>
                    <a:cubicBezTo>
                      <a:pt x="187" y="168"/>
                      <a:pt x="173" y="177"/>
                      <a:pt x="155" y="166"/>
                    </a:cubicBezTo>
                    <a:cubicBezTo>
                      <a:pt x="125" y="149"/>
                      <a:pt x="125" y="149"/>
                      <a:pt x="125" y="149"/>
                    </a:cubicBezTo>
                    <a:cubicBezTo>
                      <a:pt x="71" y="118"/>
                      <a:pt x="71" y="118"/>
                      <a:pt x="71" y="118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14" y="85"/>
                      <a:pt x="0" y="6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22"/>
                      <a:pt x="12" y="15"/>
                      <a:pt x="28" y="24"/>
                    </a:cubicBezTo>
                    <a:cubicBezTo>
                      <a:pt x="34" y="27"/>
                      <a:pt x="40" y="33"/>
                      <a:pt x="44" y="40"/>
                    </a:cubicBezTo>
                    <a:cubicBezTo>
                      <a:pt x="48" y="11"/>
                      <a:pt x="70" y="0"/>
                      <a:pt x="98" y="16"/>
                    </a:cubicBezTo>
                    <a:cubicBezTo>
                      <a:pt x="122" y="30"/>
                      <a:pt x="142" y="59"/>
                      <a:pt x="150" y="88"/>
                    </a:cubicBezTo>
                    <a:cubicBezTo>
                      <a:pt x="153" y="88"/>
                      <a:pt x="156" y="90"/>
                      <a:pt x="160" y="92"/>
                    </a:cubicBezTo>
                    <a:cubicBezTo>
                      <a:pt x="175" y="101"/>
                      <a:pt x="187" y="122"/>
                      <a:pt x="187" y="14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655" name="任意多边形: 形状 654"/>
              <p:cNvSpPr/>
              <p:nvPr userDrawn="1"/>
            </p:nvSpPr>
            <p:spPr bwMode="auto">
              <a:xfrm>
                <a:off x="7300783" y="2070100"/>
                <a:ext cx="617538" cy="584200"/>
              </a:xfrm>
              <a:custGeom>
                <a:avLst/>
                <a:gdLst>
                  <a:gd name="T0" fmla="*/ 187 w 187"/>
                  <a:gd name="T1" fmla="*/ 140 h 177"/>
                  <a:gd name="T2" fmla="*/ 187 w 187"/>
                  <a:gd name="T3" fmla="*/ 148 h 177"/>
                  <a:gd name="T4" fmla="*/ 155 w 187"/>
                  <a:gd name="T5" fmla="*/ 166 h 177"/>
                  <a:gd name="T6" fmla="*/ 124 w 187"/>
                  <a:gd name="T7" fmla="*/ 149 h 177"/>
                  <a:gd name="T8" fmla="*/ 71 w 187"/>
                  <a:gd name="T9" fmla="*/ 118 h 177"/>
                  <a:gd name="T10" fmla="*/ 32 w 187"/>
                  <a:gd name="T11" fmla="*/ 95 h 177"/>
                  <a:gd name="T12" fmla="*/ 0 w 187"/>
                  <a:gd name="T13" fmla="*/ 40 h 177"/>
                  <a:gd name="T14" fmla="*/ 0 w 187"/>
                  <a:gd name="T15" fmla="*/ 40 h 177"/>
                  <a:gd name="T16" fmla="*/ 27 w 187"/>
                  <a:gd name="T17" fmla="*/ 24 h 177"/>
                  <a:gd name="T18" fmla="*/ 44 w 187"/>
                  <a:gd name="T19" fmla="*/ 40 h 177"/>
                  <a:gd name="T20" fmla="*/ 98 w 187"/>
                  <a:gd name="T21" fmla="*/ 16 h 177"/>
                  <a:gd name="T22" fmla="*/ 149 w 187"/>
                  <a:gd name="T23" fmla="*/ 88 h 177"/>
                  <a:gd name="T24" fmla="*/ 159 w 187"/>
                  <a:gd name="T25" fmla="*/ 92 h 177"/>
                  <a:gd name="T26" fmla="*/ 187 w 187"/>
                  <a:gd name="T27" fmla="*/ 14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7" h="177">
                    <a:moveTo>
                      <a:pt x="187" y="140"/>
                    </a:moveTo>
                    <a:cubicBezTo>
                      <a:pt x="187" y="148"/>
                      <a:pt x="187" y="148"/>
                      <a:pt x="187" y="148"/>
                    </a:cubicBezTo>
                    <a:cubicBezTo>
                      <a:pt x="187" y="168"/>
                      <a:pt x="173" y="177"/>
                      <a:pt x="155" y="166"/>
                    </a:cubicBezTo>
                    <a:cubicBezTo>
                      <a:pt x="124" y="149"/>
                      <a:pt x="124" y="149"/>
                      <a:pt x="124" y="149"/>
                    </a:cubicBezTo>
                    <a:cubicBezTo>
                      <a:pt x="71" y="118"/>
                      <a:pt x="71" y="118"/>
                      <a:pt x="71" y="118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14" y="85"/>
                      <a:pt x="0" y="6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22"/>
                      <a:pt x="12" y="15"/>
                      <a:pt x="27" y="24"/>
                    </a:cubicBezTo>
                    <a:cubicBezTo>
                      <a:pt x="33" y="27"/>
                      <a:pt x="39" y="33"/>
                      <a:pt x="44" y="40"/>
                    </a:cubicBezTo>
                    <a:cubicBezTo>
                      <a:pt x="47" y="11"/>
                      <a:pt x="70" y="0"/>
                      <a:pt x="98" y="16"/>
                    </a:cubicBezTo>
                    <a:cubicBezTo>
                      <a:pt x="122" y="30"/>
                      <a:pt x="142" y="59"/>
                      <a:pt x="149" y="88"/>
                    </a:cubicBezTo>
                    <a:cubicBezTo>
                      <a:pt x="152" y="88"/>
                      <a:pt x="156" y="90"/>
                      <a:pt x="159" y="92"/>
                    </a:cubicBezTo>
                    <a:cubicBezTo>
                      <a:pt x="175" y="101"/>
                      <a:pt x="187" y="122"/>
                      <a:pt x="187" y="14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593" name="任意多边形: 形状 592"/>
            <p:cNvSpPr/>
            <p:nvPr userDrawn="1"/>
          </p:nvSpPr>
          <p:spPr bwMode="auto">
            <a:xfrm>
              <a:off x="9764583" y="2232025"/>
              <a:ext cx="68263" cy="46038"/>
            </a:xfrm>
            <a:custGeom>
              <a:avLst/>
              <a:gdLst>
                <a:gd name="T0" fmla="*/ 0 w 43"/>
                <a:gd name="T1" fmla="*/ 14 h 29"/>
                <a:gd name="T2" fmla="*/ 24 w 43"/>
                <a:gd name="T3" fmla="*/ 0 h 29"/>
                <a:gd name="T4" fmla="*/ 43 w 43"/>
                <a:gd name="T5" fmla="*/ 12 h 29"/>
                <a:gd name="T6" fmla="*/ 14 w 43"/>
                <a:gd name="T7" fmla="*/ 29 h 29"/>
                <a:gd name="T8" fmla="*/ 0 w 43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9">
                  <a:moveTo>
                    <a:pt x="0" y="14"/>
                  </a:moveTo>
                  <a:lnTo>
                    <a:pt x="24" y="0"/>
                  </a:lnTo>
                  <a:lnTo>
                    <a:pt x="43" y="12"/>
                  </a:lnTo>
                  <a:lnTo>
                    <a:pt x="14" y="29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4" name="任意多边形: 形状 593"/>
            <p:cNvSpPr/>
            <p:nvPr userDrawn="1"/>
          </p:nvSpPr>
          <p:spPr bwMode="auto">
            <a:xfrm>
              <a:off x="9951908" y="2195512"/>
              <a:ext cx="63500" cy="36513"/>
            </a:xfrm>
            <a:custGeom>
              <a:avLst/>
              <a:gdLst>
                <a:gd name="T0" fmla="*/ 0 w 40"/>
                <a:gd name="T1" fmla="*/ 17 h 23"/>
                <a:gd name="T2" fmla="*/ 27 w 40"/>
                <a:gd name="T3" fmla="*/ 0 h 23"/>
                <a:gd name="T4" fmla="*/ 40 w 40"/>
                <a:gd name="T5" fmla="*/ 10 h 23"/>
                <a:gd name="T6" fmla="*/ 6 w 40"/>
                <a:gd name="T7" fmla="*/ 23 h 23"/>
                <a:gd name="T8" fmla="*/ 0 w 40"/>
                <a:gd name="T9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0" y="17"/>
                  </a:moveTo>
                  <a:lnTo>
                    <a:pt x="27" y="0"/>
                  </a:lnTo>
                  <a:lnTo>
                    <a:pt x="40" y="10"/>
                  </a:lnTo>
                  <a:lnTo>
                    <a:pt x="6" y="23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5" name="任意多边形: 形状 594"/>
            <p:cNvSpPr/>
            <p:nvPr userDrawn="1"/>
          </p:nvSpPr>
          <p:spPr bwMode="auto">
            <a:xfrm>
              <a:off x="10383708" y="2768600"/>
              <a:ext cx="53975" cy="33338"/>
            </a:xfrm>
            <a:custGeom>
              <a:avLst/>
              <a:gdLst>
                <a:gd name="T0" fmla="*/ 9 w 34"/>
                <a:gd name="T1" fmla="*/ 21 h 21"/>
                <a:gd name="T2" fmla="*/ 34 w 34"/>
                <a:gd name="T3" fmla="*/ 6 h 21"/>
                <a:gd name="T4" fmla="*/ 30 w 34"/>
                <a:gd name="T5" fmla="*/ 0 h 21"/>
                <a:gd name="T6" fmla="*/ 0 w 34"/>
                <a:gd name="T7" fmla="*/ 9 h 21"/>
                <a:gd name="T8" fmla="*/ 9 w 3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lnTo>
                    <a:pt x="34" y="6"/>
                  </a:lnTo>
                  <a:lnTo>
                    <a:pt x="30" y="0"/>
                  </a:lnTo>
                  <a:lnTo>
                    <a:pt x="0" y="9"/>
                  </a:lnTo>
                  <a:lnTo>
                    <a:pt x="9" y="21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6" name="任意多边形: 形状 595"/>
            <p:cNvSpPr/>
            <p:nvPr userDrawn="1"/>
          </p:nvSpPr>
          <p:spPr bwMode="auto">
            <a:xfrm>
              <a:off x="9774108" y="2149475"/>
              <a:ext cx="700088" cy="658813"/>
            </a:xfrm>
            <a:custGeom>
              <a:avLst/>
              <a:gdLst>
                <a:gd name="T0" fmla="*/ 212 w 212"/>
                <a:gd name="T1" fmla="*/ 158 h 200"/>
                <a:gd name="T2" fmla="*/ 212 w 212"/>
                <a:gd name="T3" fmla="*/ 167 h 200"/>
                <a:gd name="T4" fmla="*/ 175 w 212"/>
                <a:gd name="T5" fmla="*/ 188 h 200"/>
                <a:gd name="T6" fmla="*/ 141 w 212"/>
                <a:gd name="T7" fmla="*/ 169 h 200"/>
                <a:gd name="T8" fmla="*/ 81 w 212"/>
                <a:gd name="T9" fmla="*/ 134 h 200"/>
                <a:gd name="T10" fmla="*/ 36 w 212"/>
                <a:gd name="T11" fmla="*/ 108 h 200"/>
                <a:gd name="T12" fmla="*/ 0 w 212"/>
                <a:gd name="T13" fmla="*/ 45 h 200"/>
                <a:gd name="T14" fmla="*/ 0 w 212"/>
                <a:gd name="T15" fmla="*/ 45 h 200"/>
                <a:gd name="T16" fmla="*/ 31 w 212"/>
                <a:gd name="T17" fmla="*/ 27 h 200"/>
                <a:gd name="T18" fmla="*/ 50 w 212"/>
                <a:gd name="T19" fmla="*/ 45 h 200"/>
                <a:gd name="T20" fmla="*/ 111 w 212"/>
                <a:gd name="T21" fmla="*/ 18 h 200"/>
                <a:gd name="T22" fmla="*/ 169 w 212"/>
                <a:gd name="T23" fmla="*/ 100 h 200"/>
                <a:gd name="T24" fmla="*/ 180 w 212"/>
                <a:gd name="T25" fmla="*/ 104 h 200"/>
                <a:gd name="T26" fmla="*/ 212 w 212"/>
                <a:gd name="T27" fmla="*/ 1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2" h="200">
                  <a:moveTo>
                    <a:pt x="212" y="158"/>
                  </a:moveTo>
                  <a:cubicBezTo>
                    <a:pt x="212" y="167"/>
                    <a:pt x="212" y="167"/>
                    <a:pt x="212" y="167"/>
                  </a:cubicBezTo>
                  <a:cubicBezTo>
                    <a:pt x="212" y="191"/>
                    <a:pt x="195" y="200"/>
                    <a:pt x="175" y="188"/>
                  </a:cubicBezTo>
                  <a:cubicBezTo>
                    <a:pt x="141" y="169"/>
                    <a:pt x="141" y="169"/>
                    <a:pt x="141" y="169"/>
                  </a:cubicBezTo>
                  <a:cubicBezTo>
                    <a:pt x="81" y="134"/>
                    <a:pt x="81" y="134"/>
                    <a:pt x="81" y="134"/>
                  </a:cubicBezTo>
                  <a:cubicBezTo>
                    <a:pt x="36" y="108"/>
                    <a:pt x="36" y="108"/>
                    <a:pt x="36" y="108"/>
                  </a:cubicBezTo>
                  <a:cubicBezTo>
                    <a:pt x="16" y="97"/>
                    <a:pt x="0" y="68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5"/>
                    <a:pt x="14" y="17"/>
                    <a:pt x="31" y="27"/>
                  </a:cubicBezTo>
                  <a:cubicBezTo>
                    <a:pt x="38" y="31"/>
                    <a:pt x="45" y="38"/>
                    <a:pt x="50" y="45"/>
                  </a:cubicBezTo>
                  <a:cubicBezTo>
                    <a:pt x="54" y="12"/>
                    <a:pt x="79" y="0"/>
                    <a:pt x="111" y="18"/>
                  </a:cubicBezTo>
                  <a:cubicBezTo>
                    <a:pt x="138" y="34"/>
                    <a:pt x="161" y="67"/>
                    <a:pt x="169" y="100"/>
                  </a:cubicBezTo>
                  <a:cubicBezTo>
                    <a:pt x="172" y="101"/>
                    <a:pt x="176" y="102"/>
                    <a:pt x="180" y="104"/>
                  </a:cubicBezTo>
                  <a:cubicBezTo>
                    <a:pt x="198" y="114"/>
                    <a:pt x="212" y="138"/>
                    <a:pt x="212" y="15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7" name="任意多边形: 形状 596"/>
            <p:cNvSpPr/>
            <p:nvPr userDrawn="1"/>
          </p:nvSpPr>
          <p:spPr bwMode="auto">
            <a:xfrm>
              <a:off x="9734421" y="2171700"/>
              <a:ext cx="700088" cy="660400"/>
            </a:xfrm>
            <a:custGeom>
              <a:avLst/>
              <a:gdLst>
                <a:gd name="T0" fmla="*/ 212 w 212"/>
                <a:gd name="T1" fmla="*/ 158 h 200"/>
                <a:gd name="T2" fmla="*/ 212 w 212"/>
                <a:gd name="T3" fmla="*/ 167 h 200"/>
                <a:gd name="T4" fmla="*/ 175 w 212"/>
                <a:gd name="T5" fmla="*/ 188 h 200"/>
                <a:gd name="T6" fmla="*/ 141 w 212"/>
                <a:gd name="T7" fmla="*/ 168 h 200"/>
                <a:gd name="T8" fmla="*/ 81 w 212"/>
                <a:gd name="T9" fmla="*/ 133 h 200"/>
                <a:gd name="T10" fmla="*/ 36 w 212"/>
                <a:gd name="T11" fmla="*/ 108 h 200"/>
                <a:gd name="T12" fmla="*/ 0 w 212"/>
                <a:gd name="T13" fmla="*/ 45 h 200"/>
                <a:gd name="T14" fmla="*/ 0 w 212"/>
                <a:gd name="T15" fmla="*/ 45 h 200"/>
                <a:gd name="T16" fmla="*/ 31 w 212"/>
                <a:gd name="T17" fmla="*/ 27 h 200"/>
                <a:gd name="T18" fmla="*/ 50 w 212"/>
                <a:gd name="T19" fmla="*/ 45 h 200"/>
                <a:gd name="T20" fmla="*/ 111 w 212"/>
                <a:gd name="T21" fmla="*/ 18 h 200"/>
                <a:gd name="T22" fmla="*/ 169 w 212"/>
                <a:gd name="T23" fmla="*/ 100 h 200"/>
                <a:gd name="T24" fmla="*/ 181 w 212"/>
                <a:gd name="T25" fmla="*/ 104 h 200"/>
                <a:gd name="T26" fmla="*/ 212 w 212"/>
                <a:gd name="T27" fmla="*/ 1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2" h="200">
                  <a:moveTo>
                    <a:pt x="212" y="158"/>
                  </a:moveTo>
                  <a:cubicBezTo>
                    <a:pt x="212" y="167"/>
                    <a:pt x="212" y="167"/>
                    <a:pt x="212" y="167"/>
                  </a:cubicBezTo>
                  <a:cubicBezTo>
                    <a:pt x="212" y="190"/>
                    <a:pt x="195" y="200"/>
                    <a:pt x="175" y="188"/>
                  </a:cubicBezTo>
                  <a:cubicBezTo>
                    <a:pt x="141" y="168"/>
                    <a:pt x="141" y="168"/>
                    <a:pt x="141" y="168"/>
                  </a:cubicBezTo>
                  <a:cubicBezTo>
                    <a:pt x="81" y="133"/>
                    <a:pt x="81" y="133"/>
                    <a:pt x="81" y="133"/>
                  </a:cubicBezTo>
                  <a:cubicBezTo>
                    <a:pt x="36" y="108"/>
                    <a:pt x="36" y="108"/>
                    <a:pt x="36" y="108"/>
                  </a:cubicBezTo>
                  <a:cubicBezTo>
                    <a:pt x="16" y="96"/>
                    <a:pt x="0" y="68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5"/>
                    <a:pt x="14" y="17"/>
                    <a:pt x="31" y="27"/>
                  </a:cubicBezTo>
                  <a:cubicBezTo>
                    <a:pt x="38" y="31"/>
                    <a:pt x="45" y="38"/>
                    <a:pt x="50" y="45"/>
                  </a:cubicBezTo>
                  <a:cubicBezTo>
                    <a:pt x="54" y="12"/>
                    <a:pt x="80" y="0"/>
                    <a:pt x="111" y="18"/>
                  </a:cubicBezTo>
                  <a:cubicBezTo>
                    <a:pt x="138" y="34"/>
                    <a:pt x="161" y="67"/>
                    <a:pt x="169" y="100"/>
                  </a:cubicBezTo>
                  <a:cubicBezTo>
                    <a:pt x="173" y="100"/>
                    <a:pt x="177" y="102"/>
                    <a:pt x="181" y="104"/>
                  </a:cubicBezTo>
                  <a:cubicBezTo>
                    <a:pt x="198" y="114"/>
                    <a:pt x="212" y="138"/>
                    <a:pt x="212" y="1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8" name="任意多边形: 形状 597"/>
            <p:cNvSpPr/>
            <p:nvPr userDrawn="1"/>
          </p:nvSpPr>
          <p:spPr bwMode="auto">
            <a:xfrm>
              <a:off x="9132758" y="5006975"/>
              <a:ext cx="1611313" cy="930275"/>
            </a:xfrm>
            <a:custGeom>
              <a:avLst/>
              <a:gdLst>
                <a:gd name="T0" fmla="*/ 163 w 488"/>
                <a:gd name="T1" fmla="*/ 278 h 282"/>
                <a:gd name="T2" fmla="*/ 8 w 488"/>
                <a:gd name="T3" fmla="*/ 188 h 282"/>
                <a:gd name="T4" fmla="*/ 10 w 488"/>
                <a:gd name="T5" fmla="*/ 171 h 282"/>
                <a:gd name="T6" fmla="*/ 296 w 488"/>
                <a:gd name="T7" fmla="*/ 6 h 282"/>
                <a:gd name="T8" fmla="*/ 326 w 488"/>
                <a:gd name="T9" fmla="*/ 5 h 282"/>
                <a:gd name="T10" fmla="*/ 481 w 488"/>
                <a:gd name="T11" fmla="*/ 94 h 282"/>
                <a:gd name="T12" fmla="*/ 479 w 488"/>
                <a:gd name="T13" fmla="*/ 111 h 282"/>
                <a:gd name="T14" fmla="*/ 192 w 488"/>
                <a:gd name="T15" fmla="*/ 277 h 282"/>
                <a:gd name="T16" fmla="*/ 163 w 488"/>
                <a:gd name="T17" fmla="*/ 278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282">
                  <a:moveTo>
                    <a:pt x="163" y="278"/>
                  </a:moveTo>
                  <a:cubicBezTo>
                    <a:pt x="8" y="188"/>
                    <a:pt x="8" y="188"/>
                    <a:pt x="8" y="188"/>
                  </a:cubicBezTo>
                  <a:cubicBezTo>
                    <a:pt x="0" y="184"/>
                    <a:pt x="1" y="176"/>
                    <a:pt x="10" y="171"/>
                  </a:cubicBezTo>
                  <a:cubicBezTo>
                    <a:pt x="296" y="6"/>
                    <a:pt x="296" y="6"/>
                    <a:pt x="296" y="6"/>
                  </a:cubicBezTo>
                  <a:cubicBezTo>
                    <a:pt x="305" y="1"/>
                    <a:pt x="318" y="0"/>
                    <a:pt x="326" y="5"/>
                  </a:cubicBezTo>
                  <a:cubicBezTo>
                    <a:pt x="481" y="94"/>
                    <a:pt x="481" y="94"/>
                    <a:pt x="481" y="94"/>
                  </a:cubicBezTo>
                  <a:cubicBezTo>
                    <a:pt x="488" y="99"/>
                    <a:pt x="487" y="106"/>
                    <a:pt x="479" y="111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83" y="282"/>
                    <a:pt x="170" y="282"/>
                    <a:pt x="163" y="278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9" name="矩形 598"/>
            <p:cNvSpPr/>
            <p:nvPr userDrawn="1"/>
          </p:nvSpPr>
          <p:spPr bwMode="auto">
            <a:xfrm>
              <a:off x="10698033" y="5287962"/>
              <a:ext cx="39688" cy="55563"/>
            </a:xfrm>
            <a:prstGeom prst="rect">
              <a:avLst/>
            </a:pr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0" name="矩形 599"/>
            <p:cNvSpPr/>
            <p:nvPr userDrawn="1"/>
          </p:nvSpPr>
          <p:spPr bwMode="auto">
            <a:xfrm>
              <a:off x="9143871" y="5548312"/>
              <a:ext cx="46038" cy="55563"/>
            </a:xfrm>
            <a:prstGeom prst="rect">
              <a:avLst/>
            </a:pr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1" name="任意多边形: 形状 600"/>
            <p:cNvSpPr/>
            <p:nvPr userDrawn="1"/>
          </p:nvSpPr>
          <p:spPr bwMode="auto">
            <a:xfrm>
              <a:off x="9132758" y="4954587"/>
              <a:ext cx="1611313" cy="930275"/>
            </a:xfrm>
            <a:custGeom>
              <a:avLst/>
              <a:gdLst>
                <a:gd name="T0" fmla="*/ 163 w 488"/>
                <a:gd name="T1" fmla="*/ 277 h 282"/>
                <a:gd name="T2" fmla="*/ 8 w 488"/>
                <a:gd name="T3" fmla="*/ 188 h 282"/>
                <a:gd name="T4" fmla="*/ 10 w 488"/>
                <a:gd name="T5" fmla="*/ 171 h 282"/>
                <a:gd name="T6" fmla="*/ 296 w 488"/>
                <a:gd name="T7" fmla="*/ 5 h 282"/>
                <a:gd name="T8" fmla="*/ 326 w 488"/>
                <a:gd name="T9" fmla="*/ 4 h 282"/>
                <a:gd name="T10" fmla="*/ 481 w 488"/>
                <a:gd name="T11" fmla="*/ 94 h 282"/>
                <a:gd name="T12" fmla="*/ 479 w 488"/>
                <a:gd name="T13" fmla="*/ 111 h 282"/>
                <a:gd name="T14" fmla="*/ 192 w 488"/>
                <a:gd name="T15" fmla="*/ 276 h 282"/>
                <a:gd name="T16" fmla="*/ 163 w 488"/>
                <a:gd name="T17" fmla="*/ 27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8" h="282">
                  <a:moveTo>
                    <a:pt x="163" y="277"/>
                  </a:moveTo>
                  <a:cubicBezTo>
                    <a:pt x="8" y="188"/>
                    <a:pt x="8" y="188"/>
                    <a:pt x="8" y="188"/>
                  </a:cubicBezTo>
                  <a:cubicBezTo>
                    <a:pt x="0" y="183"/>
                    <a:pt x="1" y="176"/>
                    <a:pt x="10" y="171"/>
                  </a:cubicBezTo>
                  <a:cubicBezTo>
                    <a:pt x="296" y="5"/>
                    <a:pt x="296" y="5"/>
                    <a:pt x="296" y="5"/>
                  </a:cubicBezTo>
                  <a:cubicBezTo>
                    <a:pt x="305" y="0"/>
                    <a:pt x="318" y="0"/>
                    <a:pt x="326" y="4"/>
                  </a:cubicBezTo>
                  <a:cubicBezTo>
                    <a:pt x="481" y="94"/>
                    <a:pt x="481" y="94"/>
                    <a:pt x="481" y="94"/>
                  </a:cubicBezTo>
                  <a:cubicBezTo>
                    <a:pt x="488" y="98"/>
                    <a:pt x="487" y="106"/>
                    <a:pt x="479" y="111"/>
                  </a:cubicBezTo>
                  <a:cubicBezTo>
                    <a:pt x="192" y="276"/>
                    <a:pt x="192" y="276"/>
                    <a:pt x="192" y="276"/>
                  </a:cubicBezTo>
                  <a:cubicBezTo>
                    <a:pt x="183" y="281"/>
                    <a:pt x="170" y="282"/>
                    <a:pt x="163" y="277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2" name="任意多边形: 形状 601"/>
            <p:cNvSpPr/>
            <p:nvPr userDrawn="1"/>
          </p:nvSpPr>
          <p:spPr bwMode="auto">
            <a:xfrm>
              <a:off x="9193083" y="4997450"/>
              <a:ext cx="1474788" cy="850900"/>
            </a:xfrm>
            <a:custGeom>
              <a:avLst/>
              <a:gdLst>
                <a:gd name="T0" fmla="*/ 6 w 447"/>
                <a:gd name="T1" fmla="*/ 161 h 258"/>
                <a:gd name="T2" fmla="*/ 279 w 447"/>
                <a:gd name="T3" fmla="*/ 4 h 258"/>
                <a:gd name="T4" fmla="*/ 296 w 447"/>
                <a:gd name="T5" fmla="*/ 3 h 258"/>
                <a:gd name="T6" fmla="*/ 442 w 447"/>
                <a:gd name="T7" fmla="*/ 87 h 258"/>
                <a:gd name="T8" fmla="*/ 441 w 447"/>
                <a:gd name="T9" fmla="*/ 97 h 258"/>
                <a:gd name="T10" fmla="*/ 168 w 447"/>
                <a:gd name="T11" fmla="*/ 255 h 258"/>
                <a:gd name="T12" fmla="*/ 150 w 447"/>
                <a:gd name="T13" fmla="*/ 256 h 258"/>
                <a:gd name="T14" fmla="*/ 4 w 447"/>
                <a:gd name="T15" fmla="*/ 171 h 258"/>
                <a:gd name="T16" fmla="*/ 6 w 447"/>
                <a:gd name="T17" fmla="*/ 16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7" h="258">
                  <a:moveTo>
                    <a:pt x="6" y="161"/>
                  </a:moveTo>
                  <a:cubicBezTo>
                    <a:pt x="279" y="4"/>
                    <a:pt x="279" y="4"/>
                    <a:pt x="279" y="4"/>
                  </a:cubicBezTo>
                  <a:cubicBezTo>
                    <a:pt x="284" y="1"/>
                    <a:pt x="292" y="0"/>
                    <a:pt x="296" y="3"/>
                  </a:cubicBezTo>
                  <a:cubicBezTo>
                    <a:pt x="442" y="87"/>
                    <a:pt x="442" y="87"/>
                    <a:pt x="442" y="87"/>
                  </a:cubicBezTo>
                  <a:cubicBezTo>
                    <a:pt x="447" y="90"/>
                    <a:pt x="446" y="94"/>
                    <a:pt x="441" y="97"/>
                  </a:cubicBezTo>
                  <a:cubicBezTo>
                    <a:pt x="168" y="255"/>
                    <a:pt x="168" y="255"/>
                    <a:pt x="168" y="255"/>
                  </a:cubicBezTo>
                  <a:cubicBezTo>
                    <a:pt x="163" y="258"/>
                    <a:pt x="155" y="258"/>
                    <a:pt x="150" y="256"/>
                  </a:cubicBezTo>
                  <a:cubicBezTo>
                    <a:pt x="4" y="171"/>
                    <a:pt x="4" y="171"/>
                    <a:pt x="4" y="171"/>
                  </a:cubicBezTo>
                  <a:cubicBezTo>
                    <a:pt x="0" y="169"/>
                    <a:pt x="0" y="164"/>
                    <a:pt x="6" y="161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3" name="任意多边形: 形状 602"/>
            <p:cNvSpPr/>
            <p:nvPr userDrawn="1"/>
          </p:nvSpPr>
          <p:spPr bwMode="auto">
            <a:xfrm>
              <a:off x="10394821" y="5110162"/>
              <a:ext cx="79375" cy="46038"/>
            </a:xfrm>
            <a:custGeom>
              <a:avLst/>
              <a:gdLst>
                <a:gd name="T0" fmla="*/ 6 w 24"/>
                <a:gd name="T1" fmla="*/ 1 h 14"/>
                <a:gd name="T2" fmla="*/ 23 w 24"/>
                <a:gd name="T3" fmla="*/ 11 h 14"/>
                <a:gd name="T4" fmla="*/ 23 w 24"/>
                <a:gd name="T5" fmla="*/ 13 h 14"/>
                <a:gd name="T6" fmla="*/ 23 w 24"/>
                <a:gd name="T7" fmla="*/ 13 h 14"/>
                <a:gd name="T8" fmla="*/ 19 w 24"/>
                <a:gd name="T9" fmla="*/ 13 h 14"/>
                <a:gd name="T10" fmla="*/ 1 w 24"/>
                <a:gd name="T11" fmla="*/ 3 h 14"/>
                <a:gd name="T12" fmla="*/ 1 w 24"/>
                <a:gd name="T13" fmla="*/ 1 h 14"/>
                <a:gd name="T14" fmla="*/ 1 w 24"/>
                <a:gd name="T15" fmla="*/ 1 h 14"/>
                <a:gd name="T16" fmla="*/ 6 w 24"/>
                <a:gd name="T1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4">
                  <a:moveTo>
                    <a:pt x="6" y="1"/>
                  </a:moveTo>
                  <a:cubicBezTo>
                    <a:pt x="23" y="11"/>
                    <a:pt x="23" y="11"/>
                    <a:pt x="23" y="11"/>
                  </a:cubicBezTo>
                  <a:cubicBezTo>
                    <a:pt x="24" y="11"/>
                    <a:pt x="24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1" y="14"/>
                    <a:pt x="20" y="14"/>
                    <a:pt x="19" y="1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4" name="任意多边形: 形状 603"/>
            <p:cNvSpPr/>
            <p:nvPr userDrawn="1"/>
          </p:nvSpPr>
          <p:spPr bwMode="auto">
            <a:xfrm>
              <a:off x="10520233" y="5389562"/>
              <a:ext cx="98425" cy="76200"/>
            </a:xfrm>
            <a:custGeom>
              <a:avLst/>
              <a:gdLst>
                <a:gd name="T0" fmla="*/ 0 w 30"/>
                <a:gd name="T1" fmla="*/ 20 h 23"/>
                <a:gd name="T2" fmla="*/ 0 w 30"/>
                <a:gd name="T3" fmla="*/ 20 h 23"/>
                <a:gd name="T4" fmla="*/ 3 w 30"/>
                <a:gd name="T5" fmla="*/ 22 h 23"/>
                <a:gd name="T6" fmla="*/ 28 w 30"/>
                <a:gd name="T7" fmla="*/ 7 h 23"/>
                <a:gd name="T8" fmla="*/ 30 w 30"/>
                <a:gd name="T9" fmla="*/ 3 h 23"/>
                <a:gd name="T10" fmla="*/ 30 w 30"/>
                <a:gd name="T11" fmla="*/ 3 h 23"/>
                <a:gd name="T12" fmla="*/ 28 w 30"/>
                <a:gd name="T13" fmla="*/ 1 h 23"/>
                <a:gd name="T14" fmla="*/ 3 w 30"/>
                <a:gd name="T15" fmla="*/ 15 h 23"/>
                <a:gd name="T16" fmla="*/ 0 w 30"/>
                <a:gd name="T17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3">
                  <a:moveTo>
                    <a:pt x="0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3"/>
                    <a:pt x="3" y="22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9" y="7"/>
                    <a:pt x="30" y="4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"/>
                    <a:pt x="29" y="0"/>
                    <a:pt x="28" y="1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" y="16"/>
                    <a:pt x="0" y="18"/>
                    <a:pt x="0" y="20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5" name="任意多边形: 形状 604"/>
            <p:cNvSpPr/>
            <p:nvPr userDrawn="1"/>
          </p:nvSpPr>
          <p:spPr bwMode="auto">
            <a:xfrm>
              <a:off x="10391646" y="5462587"/>
              <a:ext cx="101600" cy="76200"/>
            </a:xfrm>
            <a:custGeom>
              <a:avLst/>
              <a:gdLst>
                <a:gd name="T0" fmla="*/ 0 w 31"/>
                <a:gd name="T1" fmla="*/ 20 h 23"/>
                <a:gd name="T2" fmla="*/ 0 w 31"/>
                <a:gd name="T3" fmla="*/ 20 h 23"/>
                <a:gd name="T4" fmla="*/ 3 w 31"/>
                <a:gd name="T5" fmla="*/ 22 h 23"/>
                <a:gd name="T6" fmla="*/ 28 w 31"/>
                <a:gd name="T7" fmla="*/ 8 h 23"/>
                <a:gd name="T8" fmla="*/ 31 w 31"/>
                <a:gd name="T9" fmla="*/ 3 h 23"/>
                <a:gd name="T10" fmla="*/ 31 w 31"/>
                <a:gd name="T11" fmla="*/ 3 h 23"/>
                <a:gd name="T12" fmla="*/ 28 w 31"/>
                <a:gd name="T13" fmla="*/ 1 h 23"/>
                <a:gd name="T14" fmla="*/ 3 w 31"/>
                <a:gd name="T15" fmla="*/ 16 h 23"/>
                <a:gd name="T16" fmla="*/ 0 w 31"/>
                <a:gd name="T17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3">
                  <a:moveTo>
                    <a:pt x="0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3"/>
                    <a:pt x="3" y="22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30" y="7"/>
                    <a:pt x="31" y="5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1"/>
                    <a:pt x="30" y="0"/>
                    <a:pt x="28" y="1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7"/>
                    <a:pt x="0" y="19"/>
                    <a:pt x="0" y="20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6" name="任意多边形: 形状 605"/>
            <p:cNvSpPr/>
            <p:nvPr userDrawn="1"/>
          </p:nvSpPr>
          <p:spPr bwMode="auto">
            <a:xfrm>
              <a:off x="9340721" y="5695950"/>
              <a:ext cx="100013" cy="73025"/>
            </a:xfrm>
            <a:custGeom>
              <a:avLst/>
              <a:gdLst>
                <a:gd name="T0" fmla="*/ 0 w 30"/>
                <a:gd name="T1" fmla="*/ 2 h 22"/>
                <a:gd name="T2" fmla="*/ 0 w 30"/>
                <a:gd name="T3" fmla="*/ 2 h 22"/>
                <a:gd name="T4" fmla="*/ 3 w 30"/>
                <a:gd name="T5" fmla="*/ 7 h 22"/>
                <a:gd name="T6" fmla="*/ 28 w 30"/>
                <a:gd name="T7" fmla="*/ 22 h 22"/>
                <a:gd name="T8" fmla="*/ 30 w 30"/>
                <a:gd name="T9" fmla="*/ 20 h 22"/>
                <a:gd name="T10" fmla="*/ 30 w 30"/>
                <a:gd name="T11" fmla="*/ 20 h 22"/>
                <a:gd name="T12" fmla="*/ 28 w 30"/>
                <a:gd name="T13" fmla="*/ 15 h 22"/>
                <a:gd name="T14" fmla="*/ 3 w 30"/>
                <a:gd name="T15" fmla="*/ 0 h 22"/>
                <a:gd name="T16" fmla="*/ 0 w 30"/>
                <a:gd name="T1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1" y="6"/>
                    <a:pt x="3" y="7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9" y="22"/>
                    <a:pt x="30" y="22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18"/>
                    <a:pt x="29" y="16"/>
                    <a:pt x="28" y="1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7" name="任意多边形: 形状 606"/>
            <p:cNvSpPr/>
            <p:nvPr userDrawn="1"/>
          </p:nvSpPr>
          <p:spPr bwMode="auto">
            <a:xfrm>
              <a:off x="9383583" y="5307012"/>
              <a:ext cx="39688" cy="26988"/>
            </a:xfrm>
            <a:custGeom>
              <a:avLst/>
              <a:gdLst>
                <a:gd name="T0" fmla="*/ 0 w 25"/>
                <a:gd name="T1" fmla="*/ 8 h 17"/>
                <a:gd name="T2" fmla="*/ 15 w 25"/>
                <a:gd name="T3" fmla="*/ 0 h 17"/>
                <a:gd name="T4" fmla="*/ 25 w 25"/>
                <a:gd name="T5" fmla="*/ 6 h 17"/>
                <a:gd name="T6" fmla="*/ 9 w 25"/>
                <a:gd name="T7" fmla="*/ 17 h 17"/>
                <a:gd name="T8" fmla="*/ 0 w 2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0" y="8"/>
                  </a:moveTo>
                  <a:lnTo>
                    <a:pt x="15" y="0"/>
                  </a:lnTo>
                  <a:lnTo>
                    <a:pt x="25" y="6"/>
                  </a:lnTo>
                  <a:lnTo>
                    <a:pt x="9" y="17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8" name="任意多边形: 形状 607"/>
            <p:cNvSpPr/>
            <p:nvPr userDrawn="1"/>
          </p:nvSpPr>
          <p:spPr bwMode="auto">
            <a:xfrm>
              <a:off x="9486771" y="5287962"/>
              <a:ext cx="36513" cy="19050"/>
            </a:xfrm>
            <a:custGeom>
              <a:avLst/>
              <a:gdLst>
                <a:gd name="T0" fmla="*/ 0 w 23"/>
                <a:gd name="T1" fmla="*/ 8 h 12"/>
                <a:gd name="T2" fmla="*/ 14 w 23"/>
                <a:gd name="T3" fmla="*/ 0 h 12"/>
                <a:gd name="T4" fmla="*/ 23 w 23"/>
                <a:gd name="T5" fmla="*/ 6 h 12"/>
                <a:gd name="T6" fmla="*/ 4 w 23"/>
                <a:gd name="T7" fmla="*/ 12 h 12"/>
                <a:gd name="T8" fmla="*/ 0 w 23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0" y="8"/>
                  </a:moveTo>
                  <a:lnTo>
                    <a:pt x="14" y="0"/>
                  </a:lnTo>
                  <a:lnTo>
                    <a:pt x="23" y="6"/>
                  </a:lnTo>
                  <a:lnTo>
                    <a:pt x="4" y="12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9" name="任意多边形: 形状 608"/>
            <p:cNvSpPr/>
            <p:nvPr userDrawn="1"/>
          </p:nvSpPr>
          <p:spPr bwMode="auto">
            <a:xfrm>
              <a:off x="9728071" y="5603875"/>
              <a:ext cx="25400" cy="15875"/>
            </a:xfrm>
            <a:custGeom>
              <a:avLst/>
              <a:gdLst>
                <a:gd name="T0" fmla="*/ 4 w 16"/>
                <a:gd name="T1" fmla="*/ 10 h 10"/>
                <a:gd name="T2" fmla="*/ 16 w 16"/>
                <a:gd name="T3" fmla="*/ 2 h 10"/>
                <a:gd name="T4" fmla="*/ 14 w 16"/>
                <a:gd name="T5" fmla="*/ 0 h 10"/>
                <a:gd name="T6" fmla="*/ 0 w 16"/>
                <a:gd name="T7" fmla="*/ 4 h 10"/>
                <a:gd name="T8" fmla="*/ 4 w 1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0">
                  <a:moveTo>
                    <a:pt x="4" y="10"/>
                  </a:moveTo>
                  <a:lnTo>
                    <a:pt x="16" y="2"/>
                  </a:lnTo>
                  <a:lnTo>
                    <a:pt x="14" y="0"/>
                  </a:lnTo>
                  <a:lnTo>
                    <a:pt x="0" y="4"/>
                  </a:lnTo>
                  <a:lnTo>
                    <a:pt x="4" y="10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0" name="任意多边形: 形状 609"/>
            <p:cNvSpPr/>
            <p:nvPr userDrawn="1"/>
          </p:nvSpPr>
          <p:spPr bwMode="auto">
            <a:xfrm>
              <a:off x="9391521" y="5260975"/>
              <a:ext cx="382588" cy="361950"/>
            </a:xfrm>
            <a:custGeom>
              <a:avLst/>
              <a:gdLst>
                <a:gd name="T0" fmla="*/ 116 w 116"/>
                <a:gd name="T1" fmla="*/ 87 h 110"/>
                <a:gd name="T2" fmla="*/ 116 w 116"/>
                <a:gd name="T3" fmla="*/ 92 h 110"/>
                <a:gd name="T4" fmla="*/ 96 w 116"/>
                <a:gd name="T5" fmla="*/ 104 h 110"/>
                <a:gd name="T6" fmla="*/ 77 w 116"/>
                <a:gd name="T7" fmla="*/ 93 h 110"/>
                <a:gd name="T8" fmla="*/ 44 w 116"/>
                <a:gd name="T9" fmla="*/ 74 h 110"/>
                <a:gd name="T10" fmla="*/ 20 w 116"/>
                <a:gd name="T11" fmla="*/ 60 h 110"/>
                <a:gd name="T12" fmla="*/ 0 w 116"/>
                <a:gd name="T13" fmla="*/ 25 h 110"/>
                <a:gd name="T14" fmla="*/ 0 w 116"/>
                <a:gd name="T15" fmla="*/ 25 h 110"/>
                <a:gd name="T16" fmla="*/ 17 w 116"/>
                <a:gd name="T17" fmla="*/ 15 h 110"/>
                <a:gd name="T18" fmla="*/ 27 w 116"/>
                <a:gd name="T19" fmla="*/ 25 h 110"/>
                <a:gd name="T20" fmla="*/ 61 w 116"/>
                <a:gd name="T21" fmla="*/ 10 h 110"/>
                <a:gd name="T22" fmla="*/ 93 w 116"/>
                <a:gd name="T23" fmla="*/ 55 h 110"/>
                <a:gd name="T24" fmla="*/ 99 w 116"/>
                <a:gd name="T25" fmla="*/ 58 h 110"/>
                <a:gd name="T26" fmla="*/ 116 w 116"/>
                <a:gd name="T27" fmla="*/ 8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116" y="87"/>
                  </a:moveTo>
                  <a:cubicBezTo>
                    <a:pt x="116" y="92"/>
                    <a:pt x="116" y="92"/>
                    <a:pt x="116" y="92"/>
                  </a:cubicBezTo>
                  <a:cubicBezTo>
                    <a:pt x="116" y="105"/>
                    <a:pt x="107" y="110"/>
                    <a:pt x="96" y="104"/>
                  </a:cubicBezTo>
                  <a:cubicBezTo>
                    <a:pt x="77" y="93"/>
                    <a:pt x="77" y="93"/>
                    <a:pt x="77" y="93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9" y="53"/>
                    <a:pt x="0" y="38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4"/>
                    <a:pt x="7" y="10"/>
                    <a:pt x="17" y="15"/>
                  </a:cubicBezTo>
                  <a:cubicBezTo>
                    <a:pt x="21" y="17"/>
                    <a:pt x="24" y="21"/>
                    <a:pt x="27" y="25"/>
                  </a:cubicBezTo>
                  <a:cubicBezTo>
                    <a:pt x="29" y="7"/>
                    <a:pt x="43" y="0"/>
                    <a:pt x="61" y="10"/>
                  </a:cubicBezTo>
                  <a:cubicBezTo>
                    <a:pt x="76" y="19"/>
                    <a:pt x="88" y="37"/>
                    <a:pt x="93" y="55"/>
                  </a:cubicBezTo>
                  <a:cubicBezTo>
                    <a:pt x="95" y="55"/>
                    <a:pt x="97" y="56"/>
                    <a:pt x="99" y="58"/>
                  </a:cubicBezTo>
                  <a:cubicBezTo>
                    <a:pt x="109" y="63"/>
                    <a:pt x="116" y="76"/>
                    <a:pt x="116" y="87"/>
                  </a:cubicBez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1" name="任意多边形: 形状 610"/>
            <p:cNvSpPr/>
            <p:nvPr userDrawn="1"/>
          </p:nvSpPr>
          <p:spPr bwMode="auto">
            <a:xfrm>
              <a:off x="9367708" y="5273675"/>
              <a:ext cx="385763" cy="363538"/>
            </a:xfrm>
            <a:custGeom>
              <a:avLst/>
              <a:gdLst>
                <a:gd name="T0" fmla="*/ 117 w 117"/>
                <a:gd name="T1" fmla="*/ 87 h 110"/>
                <a:gd name="T2" fmla="*/ 117 w 117"/>
                <a:gd name="T3" fmla="*/ 92 h 110"/>
                <a:gd name="T4" fmla="*/ 97 w 117"/>
                <a:gd name="T5" fmla="*/ 104 h 110"/>
                <a:gd name="T6" fmla="*/ 78 w 117"/>
                <a:gd name="T7" fmla="*/ 93 h 110"/>
                <a:gd name="T8" fmla="*/ 45 w 117"/>
                <a:gd name="T9" fmla="*/ 73 h 110"/>
                <a:gd name="T10" fmla="*/ 20 w 117"/>
                <a:gd name="T11" fmla="*/ 59 h 110"/>
                <a:gd name="T12" fmla="*/ 0 w 117"/>
                <a:gd name="T13" fmla="*/ 25 h 110"/>
                <a:gd name="T14" fmla="*/ 0 w 117"/>
                <a:gd name="T15" fmla="*/ 25 h 110"/>
                <a:gd name="T16" fmla="*/ 17 w 117"/>
                <a:gd name="T17" fmla="*/ 15 h 110"/>
                <a:gd name="T18" fmla="*/ 28 w 117"/>
                <a:gd name="T19" fmla="*/ 25 h 110"/>
                <a:gd name="T20" fmla="*/ 61 w 117"/>
                <a:gd name="T21" fmla="*/ 10 h 110"/>
                <a:gd name="T22" fmla="*/ 93 w 117"/>
                <a:gd name="T23" fmla="*/ 55 h 110"/>
                <a:gd name="T24" fmla="*/ 100 w 117"/>
                <a:gd name="T25" fmla="*/ 57 h 110"/>
                <a:gd name="T26" fmla="*/ 117 w 117"/>
                <a:gd name="T27" fmla="*/ 8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0">
                  <a:moveTo>
                    <a:pt x="117" y="87"/>
                  </a:moveTo>
                  <a:cubicBezTo>
                    <a:pt x="117" y="92"/>
                    <a:pt x="117" y="92"/>
                    <a:pt x="117" y="92"/>
                  </a:cubicBezTo>
                  <a:cubicBezTo>
                    <a:pt x="117" y="105"/>
                    <a:pt x="108" y="110"/>
                    <a:pt x="97" y="104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9" y="53"/>
                    <a:pt x="0" y="38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4"/>
                    <a:pt x="8" y="9"/>
                    <a:pt x="17" y="15"/>
                  </a:cubicBezTo>
                  <a:cubicBezTo>
                    <a:pt x="21" y="17"/>
                    <a:pt x="25" y="21"/>
                    <a:pt x="28" y="25"/>
                  </a:cubicBezTo>
                  <a:cubicBezTo>
                    <a:pt x="30" y="7"/>
                    <a:pt x="44" y="0"/>
                    <a:pt x="61" y="10"/>
                  </a:cubicBezTo>
                  <a:cubicBezTo>
                    <a:pt x="76" y="19"/>
                    <a:pt x="89" y="37"/>
                    <a:pt x="93" y="55"/>
                  </a:cubicBezTo>
                  <a:cubicBezTo>
                    <a:pt x="95" y="55"/>
                    <a:pt x="97" y="56"/>
                    <a:pt x="100" y="57"/>
                  </a:cubicBezTo>
                  <a:cubicBezTo>
                    <a:pt x="109" y="63"/>
                    <a:pt x="117" y="76"/>
                    <a:pt x="117" y="87"/>
                  </a:cubicBezTo>
                  <a:close/>
                </a:path>
              </a:pathLst>
            </a:custGeom>
            <a:solidFill>
              <a:srgbClr val="3F6E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grpSp>
          <p:nvGrpSpPr>
            <p:cNvPr id="612" name="组合 611"/>
            <p:cNvGrpSpPr/>
            <p:nvPr userDrawn="1"/>
          </p:nvGrpSpPr>
          <p:grpSpPr>
            <a:xfrm>
              <a:off x="9483596" y="4786312"/>
              <a:ext cx="250825" cy="327025"/>
              <a:chOff x="9483596" y="4786312"/>
              <a:chExt cx="250825" cy="327025"/>
            </a:xfrm>
          </p:grpSpPr>
          <p:sp>
            <p:nvSpPr>
              <p:cNvPr id="648" name="任意多边形: 形状 647"/>
              <p:cNvSpPr/>
              <p:nvPr userDrawn="1"/>
            </p:nvSpPr>
            <p:spPr bwMode="auto">
              <a:xfrm>
                <a:off x="9513758" y="4786312"/>
                <a:ext cx="220663" cy="300038"/>
              </a:xfrm>
              <a:custGeom>
                <a:avLst/>
                <a:gdLst>
                  <a:gd name="T0" fmla="*/ 67 w 67"/>
                  <a:gd name="T1" fmla="*/ 64 h 91"/>
                  <a:gd name="T2" fmla="*/ 33 w 67"/>
                  <a:gd name="T3" fmla="*/ 6 h 91"/>
                  <a:gd name="T4" fmla="*/ 9 w 67"/>
                  <a:gd name="T5" fmla="*/ 3 h 91"/>
                  <a:gd name="T6" fmla="*/ 9 w 67"/>
                  <a:gd name="T7" fmla="*/ 3 h 91"/>
                  <a:gd name="T8" fmla="*/ 9 w 67"/>
                  <a:gd name="T9" fmla="*/ 3 h 91"/>
                  <a:gd name="T10" fmla="*/ 9 w 67"/>
                  <a:gd name="T11" fmla="*/ 3 h 91"/>
                  <a:gd name="T12" fmla="*/ 1 w 67"/>
                  <a:gd name="T13" fmla="*/ 8 h 91"/>
                  <a:gd name="T14" fmla="*/ 3 w 67"/>
                  <a:gd name="T15" fmla="*/ 11 h 91"/>
                  <a:gd name="T16" fmla="*/ 0 w 67"/>
                  <a:gd name="T17" fmla="*/ 25 h 91"/>
                  <a:gd name="T18" fmla="*/ 33 w 67"/>
                  <a:gd name="T19" fmla="*/ 83 h 91"/>
                  <a:gd name="T20" fmla="*/ 46 w 67"/>
                  <a:gd name="T21" fmla="*/ 88 h 91"/>
                  <a:gd name="T22" fmla="*/ 48 w 67"/>
                  <a:gd name="T23" fmla="*/ 91 h 91"/>
                  <a:gd name="T24" fmla="*/ 57 w 67"/>
                  <a:gd name="T25" fmla="*/ 85 h 91"/>
                  <a:gd name="T26" fmla="*/ 57 w 67"/>
                  <a:gd name="T27" fmla="*/ 85 h 91"/>
                  <a:gd name="T28" fmla="*/ 57 w 67"/>
                  <a:gd name="T29" fmla="*/ 85 h 91"/>
                  <a:gd name="T30" fmla="*/ 57 w 67"/>
                  <a:gd name="T31" fmla="*/ 85 h 91"/>
                  <a:gd name="T32" fmla="*/ 67 w 67"/>
                  <a:gd name="T33" fmla="*/ 6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7" h="91">
                    <a:moveTo>
                      <a:pt x="67" y="64"/>
                    </a:moveTo>
                    <a:cubicBezTo>
                      <a:pt x="67" y="42"/>
                      <a:pt x="52" y="16"/>
                      <a:pt x="33" y="6"/>
                    </a:cubicBezTo>
                    <a:cubicBezTo>
                      <a:pt x="24" y="0"/>
                      <a:pt x="16" y="0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1" y="15"/>
                      <a:pt x="0" y="19"/>
                      <a:pt x="0" y="25"/>
                    </a:cubicBezTo>
                    <a:cubicBezTo>
                      <a:pt x="0" y="46"/>
                      <a:pt x="15" y="72"/>
                      <a:pt x="33" y="83"/>
                    </a:cubicBezTo>
                    <a:cubicBezTo>
                      <a:pt x="38" y="86"/>
                      <a:pt x="42" y="87"/>
                      <a:pt x="46" y="88"/>
                    </a:cubicBezTo>
                    <a:cubicBezTo>
                      <a:pt x="48" y="91"/>
                      <a:pt x="48" y="91"/>
                      <a:pt x="48" y="91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63" y="82"/>
                      <a:pt x="67" y="74"/>
                      <a:pt x="67" y="64"/>
                    </a:cubicBezTo>
                    <a:close/>
                  </a:path>
                </a:pathLst>
              </a:custGeom>
              <a:solidFill>
                <a:srgbClr val="E27D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9" name="任意多边形: 形状 648"/>
              <p:cNvSpPr/>
              <p:nvPr userDrawn="1"/>
            </p:nvSpPr>
            <p:spPr bwMode="auto">
              <a:xfrm>
                <a:off x="9483596" y="4786312"/>
                <a:ext cx="223838" cy="327025"/>
              </a:xfrm>
              <a:custGeom>
                <a:avLst/>
                <a:gdLst>
                  <a:gd name="T0" fmla="*/ 0 w 68"/>
                  <a:gd name="T1" fmla="*/ 30 h 99"/>
                  <a:gd name="T2" fmla="*/ 34 w 68"/>
                  <a:gd name="T3" fmla="*/ 10 h 99"/>
                  <a:gd name="T4" fmla="*/ 68 w 68"/>
                  <a:gd name="T5" fmla="*/ 69 h 99"/>
                  <a:gd name="T6" fmla="*/ 34 w 68"/>
                  <a:gd name="T7" fmla="*/ 88 h 99"/>
                  <a:gd name="T8" fmla="*/ 0 w 68"/>
                  <a:gd name="T9" fmla="*/ 3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99">
                    <a:moveTo>
                      <a:pt x="0" y="30"/>
                    </a:moveTo>
                    <a:cubicBezTo>
                      <a:pt x="0" y="8"/>
                      <a:pt x="15" y="0"/>
                      <a:pt x="34" y="10"/>
                    </a:cubicBezTo>
                    <a:cubicBezTo>
                      <a:pt x="53" y="21"/>
                      <a:pt x="68" y="47"/>
                      <a:pt x="68" y="69"/>
                    </a:cubicBezTo>
                    <a:cubicBezTo>
                      <a:pt x="68" y="90"/>
                      <a:pt x="53" y="99"/>
                      <a:pt x="34" y="88"/>
                    </a:cubicBezTo>
                    <a:cubicBezTo>
                      <a:pt x="15" y="77"/>
                      <a:pt x="0" y="51"/>
                      <a:pt x="0" y="30"/>
                    </a:cubicBezTo>
                    <a:close/>
                  </a:path>
                </a:pathLst>
              </a:custGeom>
              <a:solidFill>
                <a:srgbClr val="EAAA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50" name="任意多边形: 形状 649"/>
              <p:cNvSpPr/>
              <p:nvPr userDrawn="1"/>
            </p:nvSpPr>
            <p:spPr bwMode="auto">
              <a:xfrm>
                <a:off x="9562971" y="4875212"/>
                <a:ext cx="88900" cy="122238"/>
              </a:xfrm>
              <a:custGeom>
                <a:avLst/>
                <a:gdLst>
                  <a:gd name="T0" fmla="*/ 0 w 27"/>
                  <a:gd name="T1" fmla="*/ 17 h 37"/>
                  <a:gd name="T2" fmla="*/ 0 w 27"/>
                  <a:gd name="T3" fmla="*/ 2 h 37"/>
                  <a:gd name="T4" fmla="*/ 3 w 27"/>
                  <a:gd name="T5" fmla="*/ 2 h 37"/>
                  <a:gd name="T6" fmla="*/ 14 w 27"/>
                  <a:gd name="T7" fmla="*/ 16 h 37"/>
                  <a:gd name="T8" fmla="*/ 25 w 27"/>
                  <a:gd name="T9" fmla="*/ 30 h 37"/>
                  <a:gd name="T10" fmla="*/ 25 w 27"/>
                  <a:gd name="T11" fmla="*/ 34 h 37"/>
                  <a:gd name="T12" fmla="*/ 14 w 27"/>
                  <a:gd name="T13" fmla="*/ 35 h 37"/>
                  <a:gd name="T14" fmla="*/ 3 w 27"/>
                  <a:gd name="T15" fmla="*/ 37 h 37"/>
                  <a:gd name="T16" fmla="*/ 0 w 27"/>
                  <a:gd name="T17" fmla="*/ 32 h 37"/>
                  <a:gd name="T18" fmla="*/ 0 w 27"/>
                  <a:gd name="T19" fmla="*/ 1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7">
                    <a:moveTo>
                      <a:pt x="0" y="17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1" y="0"/>
                      <a:pt x="3" y="2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7" y="32"/>
                      <a:pt x="27" y="34"/>
                      <a:pt x="25" y="34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3" y="37"/>
                      <a:pt x="3" y="37"/>
                      <a:pt x="3" y="37"/>
                    </a:cubicBezTo>
                    <a:cubicBezTo>
                      <a:pt x="1" y="37"/>
                      <a:pt x="0" y="34"/>
                      <a:pt x="0" y="32"/>
                    </a:cubicBez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F5DB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613" name="任意多边形: 形状 612"/>
            <p:cNvSpPr/>
            <p:nvPr userDrawn="1"/>
          </p:nvSpPr>
          <p:spPr bwMode="auto">
            <a:xfrm>
              <a:off x="9945558" y="4770437"/>
              <a:ext cx="19050" cy="15875"/>
            </a:xfrm>
            <a:custGeom>
              <a:avLst/>
              <a:gdLst>
                <a:gd name="T0" fmla="*/ 4 w 12"/>
                <a:gd name="T1" fmla="*/ 10 h 10"/>
                <a:gd name="T2" fmla="*/ 12 w 12"/>
                <a:gd name="T3" fmla="*/ 6 h 10"/>
                <a:gd name="T4" fmla="*/ 10 w 12"/>
                <a:gd name="T5" fmla="*/ 0 h 10"/>
                <a:gd name="T6" fmla="*/ 0 w 12"/>
                <a:gd name="T7" fmla="*/ 6 h 10"/>
                <a:gd name="T8" fmla="*/ 4 w 12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4" y="10"/>
                  </a:moveTo>
                  <a:lnTo>
                    <a:pt x="12" y="6"/>
                  </a:lnTo>
                  <a:lnTo>
                    <a:pt x="10" y="0"/>
                  </a:lnTo>
                  <a:lnTo>
                    <a:pt x="0" y="6"/>
                  </a:lnTo>
                  <a:lnTo>
                    <a:pt x="4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4" name="任意多边形: 形状 613"/>
            <p:cNvSpPr/>
            <p:nvPr userDrawn="1"/>
          </p:nvSpPr>
          <p:spPr bwMode="auto">
            <a:xfrm>
              <a:off x="9747121" y="4357687"/>
              <a:ext cx="225425" cy="425450"/>
            </a:xfrm>
            <a:custGeom>
              <a:avLst/>
              <a:gdLst>
                <a:gd name="T0" fmla="*/ 68 w 68"/>
                <a:gd name="T1" fmla="*/ 29 h 129"/>
                <a:gd name="T2" fmla="*/ 68 w 68"/>
                <a:gd name="T3" fmla="*/ 124 h 129"/>
                <a:gd name="T4" fmla="*/ 62 w 68"/>
                <a:gd name="T5" fmla="*/ 127 h 129"/>
                <a:gd name="T6" fmla="*/ 6 w 68"/>
                <a:gd name="T7" fmla="*/ 95 h 129"/>
                <a:gd name="T8" fmla="*/ 0 w 68"/>
                <a:gd name="T9" fmla="*/ 85 h 129"/>
                <a:gd name="T10" fmla="*/ 0 w 68"/>
                <a:gd name="T11" fmla="*/ 18 h 129"/>
                <a:gd name="T12" fmla="*/ 30 w 68"/>
                <a:gd name="T13" fmla="*/ 0 h 129"/>
                <a:gd name="T14" fmla="*/ 62 w 68"/>
                <a:gd name="T15" fmla="*/ 19 h 129"/>
                <a:gd name="T16" fmla="*/ 68 w 68"/>
                <a:gd name="T17" fmla="*/ 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9">
                  <a:moveTo>
                    <a:pt x="68" y="29"/>
                  </a:moveTo>
                  <a:cubicBezTo>
                    <a:pt x="68" y="124"/>
                    <a:pt x="68" y="124"/>
                    <a:pt x="68" y="124"/>
                  </a:cubicBezTo>
                  <a:cubicBezTo>
                    <a:pt x="68" y="128"/>
                    <a:pt x="65" y="129"/>
                    <a:pt x="62" y="127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3" y="93"/>
                    <a:pt x="0" y="88"/>
                    <a:pt x="0" y="8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5" y="21"/>
                    <a:pt x="68" y="25"/>
                    <a:pt x="68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5" name="任意多边形: 形状 614"/>
            <p:cNvSpPr/>
            <p:nvPr userDrawn="1"/>
          </p:nvSpPr>
          <p:spPr bwMode="auto">
            <a:xfrm>
              <a:off x="9734421" y="4367212"/>
              <a:ext cx="220663" cy="425450"/>
            </a:xfrm>
            <a:custGeom>
              <a:avLst/>
              <a:gdLst>
                <a:gd name="T0" fmla="*/ 67 w 67"/>
                <a:gd name="T1" fmla="*/ 29 h 129"/>
                <a:gd name="T2" fmla="*/ 67 w 67"/>
                <a:gd name="T3" fmla="*/ 124 h 129"/>
                <a:gd name="T4" fmla="*/ 61 w 67"/>
                <a:gd name="T5" fmla="*/ 127 h 129"/>
                <a:gd name="T6" fmla="*/ 5 w 67"/>
                <a:gd name="T7" fmla="*/ 95 h 129"/>
                <a:gd name="T8" fmla="*/ 0 w 67"/>
                <a:gd name="T9" fmla="*/ 85 h 129"/>
                <a:gd name="T10" fmla="*/ 0 w 67"/>
                <a:gd name="T11" fmla="*/ 18 h 129"/>
                <a:gd name="T12" fmla="*/ 30 w 67"/>
                <a:gd name="T13" fmla="*/ 0 h 129"/>
                <a:gd name="T14" fmla="*/ 61 w 67"/>
                <a:gd name="T15" fmla="*/ 19 h 129"/>
                <a:gd name="T16" fmla="*/ 67 w 67"/>
                <a:gd name="T17" fmla="*/ 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129">
                  <a:moveTo>
                    <a:pt x="67" y="29"/>
                  </a:moveTo>
                  <a:cubicBezTo>
                    <a:pt x="67" y="124"/>
                    <a:pt x="67" y="124"/>
                    <a:pt x="67" y="124"/>
                  </a:cubicBezTo>
                  <a:cubicBezTo>
                    <a:pt x="67" y="127"/>
                    <a:pt x="65" y="129"/>
                    <a:pt x="61" y="127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2" y="93"/>
                    <a:pt x="0" y="88"/>
                    <a:pt x="0" y="8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5" y="20"/>
                    <a:pt x="67" y="25"/>
                    <a:pt x="67" y="29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6" name="任意多边形: 形状 615"/>
            <p:cNvSpPr/>
            <p:nvPr userDrawn="1"/>
          </p:nvSpPr>
          <p:spPr bwMode="auto">
            <a:xfrm>
              <a:off x="9737596" y="4367212"/>
              <a:ext cx="98425" cy="112713"/>
            </a:xfrm>
            <a:custGeom>
              <a:avLst/>
              <a:gdLst>
                <a:gd name="T0" fmla="*/ 30 w 30"/>
                <a:gd name="T1" fmla="*/ 1 h 34"/>
                <a:gd name="T2" fmla="*/ 30 w 30"/>
                <a:gd name="T3" fmla="*/ 29 h 34"/>
                <a:gd name="T4" fmla="*/ 24 w 30"/>
                <a:gd name="T5" fmla="*/ 33 h 34"/>
                <a:gd name="T6" fmla="*/ 0 w 30"/>
                <a:gd name="T7" fmla="*/ 19 h 34"/>
                <a:gd name="T8" fmla="*/ 29 w 30"/>
                <a:gd name="T9" fmla="*/ 0 h 34"/>
                <a:gd name="T10" fmla="*/ 30 w 30"/>
                <a:gd name="T11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4">
                  <a:moveTo>
                    <a:pt x="30" y="1"/>
                  </a:moveTo>
                  <a:cubicBezTo>
                    <a:pt x="30" y="29"/>
                    <a:pt x="30" y="29"/>
                    <a:pt x="30" y="29"/>
                  </a:cubicBezTo>
                  <a:cubicBezTo>
                    <a:pt x="30" y="33"/>
                    <a:pt x="28" y="34"/>
                    <a:pt x="24" y="3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30" y="1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7" name="任意多边形: 形状 616"/>
            <p:cNvSpPr/>
            <p:nvPr userDrawn="1"/>
          </p:nvSpPr>
          <p:spPr bwMode="auto">
            <a:xfrm>
              <a:off x="9734421" y="4367212"/>
              <a:ext cx="98425" cy="109538"/>
            </a:xfrm>
            <a:custGeom>
              <a:avLst/>
              <a:gdLst>
                <a:gd name="T0" fmla="*/ 30 w 30"/>
                <a:gd name="T1" fmla="*/ 0 h 33"/>
                <a:gd name="T2" fmla="*/ 30 w 30"/>
                <a:gd name="T3" fmla="*/ 28 h 33"/>
                <a:gd name="T4" fmla="*/ 24 w 30"/>
                <a:gd name="T5" fmla="*/ 32 h 33"/>
                <a:gd name="T6" fmla="*/ 0 w 30"/>
                <a:gd name="T7" fmla="*/ 18 h 33"/>
                <a:gd name="T8" fmla="*/ 30 w 30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3">
                  <a:moveTo>
                    <a:pt x="30" y="0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30" y="32"/>
                    <a:pt x="27" y="33"/>
                    <a:pt x="24" y="32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30" y="0"/>
                  </a:ln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8" name="直接连接符 617"/>
            <p:cNvSpPr/>
            <p:nvPr userDrawn="1"/>
          </p:nvSpPr>
          <p:spPr bwMode="auto">
            <a:xfrm>
              <a:off x="9767758" y="4492625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9" name="直接连接符 618"/>
            <p:cNvSpPr/>
            <p:nvPr userDrawn="1"/>
          </p:nvSpPr>
          <p:spPr bwMode="auto">
            <a:xfrm>
              <a:off x="9767758" y="4529137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0" name="直接连接符 619"/>
            <p:cNvSpPr/>
            <p:nvPr userDrawn="1"/>
          </p:nvSpPr>
          <p:spPr bwMode="auto">
            <a:xfrm>
              <a:off x="9767758" y="4565650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1" name="直接连接符 620"/>
            <p:cNvSpPr/>
            <p:nvPr userDrawn="1"/>
          </p:nvSpPr>
          <p:spPr bwMode="auto">
            <a:xfrm>
              <a:off x="9767758" y="4602162"/>
              <a:ext cx="153988" cy="88900"/>
            </a:xfrm>
            <a:prstGeom prst="line">
              <a:avLst/>
            </a:prstGeom>
            <a:noFill/>
            <a:ln w="6350" cap="rnd">
              <a:solidFill>
                <a:srgbClr val="F5DB9D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grpSp>
          <p:nvGrpSpPr>
            <p:cNvPr id="622" name="组合 621"/>
            <p:cNvGrpSpPr/>
            <p:nvPr userDrawn="1"/>
          </p:nvGrpSpPr>
          <p:grpSpPr>
            <a:xfrm>
              <a:off x="10018583" y="5126037"/>
              <a:ext cx="236538" cy="309563"/>
              <a:chOff x="10018583" y="5126037"/>
              <a:chExt cx="236538" cy="309563"/>
            </a:xfrm>
          </p:grpSpPr>
          <p:sp>
            <p:nvSpPr>
              <p:cNvPr id="643" name="任意多边形: 形状 642"/>
              <p:cNvSpPr/>
              <p:nvPr userDrawn="1"/>
            </p:nvSpPr>
            <p:spPr bwMode="auto">
              <a:xfrm>
                <a:off x="10031283" y="5126037"/>
                <a:ext cx="223838" cy="306388"/>
              </a:xfrm>
              <a:custGeom>
                <a:avLst/>
                <a:gdLst>
                  <a:gd name="T0" fmla="*/ 20 w 68"/>
                  <a:gd name="T1" fmla="*/ 0 h 93"/>
                  <a:gd name="T2" fmla="*/ 20 w 68"/>
                  <a:gd name="T3" fmla="*/ 50 h 93"/>
                  <a:gd name="T4" fmla="*/ 16 w 68"/>
                  <a:gd name="T5" fmla="*/ 46 h 93"/>
                  <a:gd name="T6" fmla="*/ 15 w 68"/>
                  <a:gd name="T7" fmla="*/ 46 h 93"/>
                  <a:gd name="T8" fmla="*/ 15 w 68"/>
                  <a:gd name="T9" fmla="*/ 45 h 93"/>
                  <a:gd name="T10" fmla="*/ 15 w 68"/>
                  <a:gd name="T11" fmla="*/ 53 h 93"/>
                  <a:gd name="T12" fmla="*/ 9 w 68"/>
                  <a:gd name="T13" fmla="*/ 49 h 93"/>
                  <a:gd name="T14" fmla="*/ 0 w 68"/>
                  <a:gd name="T15" fmla="*/ 48 h 93"/>
                  <a:gd name="T16" fmla="*/ 2 w 68"/>
                  <a:gd name="T17" fmla="*/ 50 h 93"/>
                  <a:gd name="T18" fmla="*/ 1 w 68"/>
                  <a:gd name="T19" fmla="*/ 53 h 93"/>
                  <a:gd name="T20" fmla="*/ 4 w 68"/>
                  <a:gd name="T21" fmla="*/ 64 h 93"/>
                  <a:gd name="T22" fmla="*/ 13 w 68"/>
                  <a:gd name="T23" fmla="*/ 73 h 93"/>
                  <a:gd name="T24" fmla="*/ 15 w 68"/>
                  <a:gd name="T25" fmla="*/ 74 h 93"/>
                  <a:gd name="T26" fmla="*/ 17 w 68"/>
                  <a:gd name="T27" fmla="*/ 77 h 93"/>
                  <a:gd name="T28" fmla="*/ 17 w 68"/>
                  <a:gd name="T29" fmla="*/ 77 h 93"/>
                  <a:gd name="T30" fmla="*/ 22 w 68"/>
                  <a:gd name="T31" fmla="*/ 74 h 93"/>
                  <a:gd name="T32" fmla="*/ 22 w 68"/>
                  <a:gd name="T33" fmla="*/ 73 h 93"/>
                  <a:gd name="T34" fmla="*/ 26 w 68"/>
                  <a:gd name="T35" fmla="*/ 65 h 93"/>
                  <a:gd name="T36" fmla="*/ 26 w 68"/>
                  <a:gd name="T37" fmla="*/ 65 h 93"/>
                  <a:gd name="T38" fmla="*/ 26 w 68"/>
                  <a:gd name="T39" fmla="*/ 22 h 93"/>
                  <a:gd name="T40" fmla="*/ 62 w 68"/>
                  <a:gd name="T41" fmla="*/ 36 h 93"/>
                  <a:gd name="T42" fmla="*/ 62 w 68"/>
                  <a:gd name="T43" fmla="*/ 66 h 93"/>
                  <a:gd name="T44" fmla="*/ 58 w 68"/>
                  <a:gd name="T45" fmla="*/ 62 h 93"/>
                  <a:gd name="T46" fmla="*/ 57 w 68"/>
                  <a:gd name="T47" fmla="*/ 61 h 93"/>
                  <a:gd name="T48" fmla="*/ 56 w 68"/>
                  <a:gd name="T49" fmla="*/ 61 h 93"/>
                  <a:gd name="T50" fmla="*/ 56 w 68"/>
                  <a:gd name="T51" fmla="*/ 69 h 93"/>
                  <a:gd name="T52" fmla="*/ 51 w 68"/>
                  <a:gd name="T53" fmla="*/ 65 h 93"/>
                  <a:gd name="T54" fmla="*/ 42 w 68"/>
                  <a:gd name="T55" fmla="*/ 64 h 93"/>
                  <a:gd name="T56" fmla="*/ 44 w 68"/>
                  <a:gd name="T57" fmla="*/ 66 h 93"/>
                  <a:gd name="T58" fmla="*/ 43 w 68"/>
                  <a:gd name="T59" fmla="*/ 69 h 93"/>
                  <a:gd name="T60" fmla="*/ 46 w 68"/>
                  <a:gd name="T61" fmla="*/ 78 h 93"/>
                  <a:gd name="T62" fmla="*/ 55 w 68"/>
                  <a:gd name="T63" fmla="*/ 89 h 93"/>
                  <a:gd name="T64" fmla="*/ 56 w 68"/>
                  <a:gd name="T65" fmla="*/ 90 h 93"/>
                  <a:gd name="T66" fmla="*/ 58 w 68"/>
                  <a:gd name="T67" fmla="*/ 93 h 93"/>
                  <a:gd name="T68" fmla="*/ 58 w 68"/>
                  <a:gd name="T69" fmla="*/ 93 h 93"/>
                  <a:gd name="T70" fmla="*/ 58 w 68"/>
                  <a:gd name="T71" fmla="*/ 93 h 93"/>
                  <a:gd name="T72" fmla="*/ 64 w 68"/>
                  <a:gd name="T73" fmla="*/ 90 h 93"/>
                  <a:gd name="T74" fmla="*/ 64 w 68"/>
                  <a:gd name="T75" fmla="*/ 90 h 93"/>
                  <a:gd name="T76" fmla="*/ 64 w 68"/>
                  <a:gd name="T77" fmla="*/ 89 h 93"/>
                  <a:gd name="T78" fmla="*/ 68 w 68"/>
                  <a:gd name="T79" fmla="*/ 81 h 93"/>
                  <a:gd name="T80" fmla="*/ 68 w 68"/>
                  <a:gd name="T81" fmla="*/ 80 h 93"/>
                  <a:gd name="T82" fmla="*/ 68 w 68"/>
                  <a:gd name="T83" fmla="*/ 18 h 93"/>
                  <a:gd name="T84" fmla="*/ 20 w 68"/>
                  <a:gd name="T85" fmla="*/ 0 h 93"/>
                  <a:gd name="T86" fmla="*/ 56 w 68"/>
                  <a:gd name="T87" fmla="*/ 27 h 93"/>
                  <a:gd name="T88" fmla="*/ 26 w 68"/>
                  <a:gd name="T89" fmla="*/ 16 h 93"/>
                  <a:gd name="T90" fmla="*/ 26 w 68"/>
                  <a:gd name="T91" fmla="*/ 9 h 93"/>
                  <a:gd name="T92" fmla="*/ 62 w 68"/>
                  <a:gd name="T93" fmla="*/ 23 h 93"/>
                  <a:gd name="T94" fmla="*/ 62 w 68"/>
                  <a:gd name="T95" fmla="*/ 29 h 93"/>
                  <a:gd name="T96" fmla="*/ 56 w 68"/>
                  <a:gd name="T97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8" h="93">
                    <a:moveTo>
                      <a:pt x="20" y="0"/>
                    </a:moveTo>
                    <a:cubicBezTo>
                      <a:pt x="20" y="50"/>
                      <a:pt x="20" y="50"/>
                      <a:pt x="20" y="50"/>
                    </a:cubicBezTo>
                    <a:cubicBezTo>
                      <a:pt x="19" y="49"/>
                      <a:pt x="18" y="47"/>
                      <a:pt x="16" y="46"/>
                    </a:cubicBezTo>
                    <a:cubicBezTo>
                      <a:pt x="16" y="46"/>
                      <a:pt x="15" y="46"/>
                      <a:pt x="15" y="46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15" y="53"/>
                      <a:pt x="15" y="53"/>
                      <a:pt x="15" y="53"/>
                    </a:cubicBezTo>
                    <a:cubicBezTo>
                      <a:pt x="13" y="52"/>
                      <a:pt x="11" y="50"/>
                      <a:pt x="9" y="49"/>
                    </a:cubicBezTo>
                    <a:cubicBezTo>
                      <a:pt x="6" y="47"/>
                      <a:pt x="3" y="47"/>
                      <a:pt x="0" y="48"/>
                    </a:cubicBezTo>
                    <a:cubicBezTo>
                      <a:pt x="2" y="50"/>
                      <a:pt x="2" y="50"/>
                      <a:pt x="2" y="50"/>
                    </a:cubicBezTo>
                    <a:cubicBezTo>
                      <a:pt x="2" y="51"/>
                      <a:pt x="1" y="52"/>
                      <a:pt x="1" y="53"/>
                    </a:cubicBezTo>
                    <a:cubicBezTo>
                      <a:pt x="1" y="57"/>
                      <a:pt x="3" y="61"/>
                      <a:pt x="4" y="64"/>
                    </a:cubicBezTo>
                    <a:cubicBezTo>
                      <a:pt x="6" y="68"/>
                      <a:pt x="9" y="71"/>
                      <a:pt x="13" y="73"/>
                    </a:cubicBezTo>
                    <a:cubicBezTo>
                      <a:pt x="13" y="73"/>
                      <a:pt x="14" y="74"/>
                      <a:pt x="15" y="74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22" y="74"/>
                      <a:pt x="22" y="74"/>
                      <a:pt x="22" y="74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5" y="72"/>
                      <a:pt x="26" y="69"/>
                      <a:pt x="26" y="65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62" y="36"/>
                      <a:pt x="62" y="36"/>
                      <a:pt x="62" y="36"/>
                    </a:cubicBezTo>
                    <a:cubicBezTo>
                      <a:pt x="62" y="66"/>
                      <a:pt x="62" y="66"/>
                      <a:pt x="62" y="66"/>
                    </a:cubicBezTo>
                    <a:cubicBezTo>
                      <a:pt x="61" y="64"/>
                      <a:pt x="60" y="63"/>
                      <a:pt x="58" y="62"/>
                    </a:cubicBezTo>
                    <a:cubicBezTo>
                      <a:pt x="58" y="62"/>
                      <a:pt x="57" y="62"/>
                      <a:pt x="57" y="61"/>
                    </a:cubicBezTo>
                    <a:cubicBezTo>
                      <a:pt x="57" y="61"/>
                      <a:pt x="57" y="61"/>
                      <a:pt x="56" y="61"/>
                    </a:cubicBezTo>
                    <a:cubicBezTo>
                      <a:pt x="56" y="69"/>
                      <a:pt x="56" y="69"/>
                      <a:pt x="56" y="69"/>
                    </a:cubicBezTo>
                    <a:cubicBezTo>
                      <a:pt x="55" y="67"/>
                      <a:pt x="53" y="66"/>
                      <a:pt x="51" y="65"/>
                    </a:cubicBezTo>
                    <a:cubicBezTo>
                      <a:pt x="48" y="63"/>
                      <a:pt x="44" y="62"/>
                      <a:pt x="42" y="64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3" y="67"/>
                      <a:pt x="43" y="68"/>
                      <a:pt x="43" y="69"/>
                    </a:cubicBezTo>
                    <a:cubicBezTo>
                      <a:pt x="43" y="72"/>
                      <a:pt x="44" y="75"/>
                      <a:pt x="46" y="78"/>
                    </a:cubicBezTo>
                    <a:cubicBezTo>
                      <a:pt x="48" y="83"/>
                      <a:pt x="51" y="87"/>
                      <a:pt x="55" y="89"/>
                    </a:cubicBezTo>
                    <a:cubicBezTo>
                      <a:pt x="55" y="89"/>
                      <a:pt x="56" y="89"/>
                      <a:pt x="56" y="90"/>
                    </a:cubicBezTo>
                    <a:cubicBezTo>
                      <a:pt x="58" y="93"/>
                      <a:pt x="58" y="93"/>
                      <a:pt x="58" y="93"/>
                    </a:cubicBezTo>
                    <a:cubicBezTo>
                      <a:pt x="58" y="93"/>
                      <a:pt x="58" y="93"/>
                      <a:pt x="58" y="93"/>
                    </a:cubicBezTo>
                    <a:cubicBezTo>
                      <a:pt x="58" y="93"/>
                      <a:pt x="58" y="93"/>
                      <a:pt x="58" y="93"/>
                    </a:cubicBezTo>
                    <a:cubicBezTo>
                      <a:pt x="64" y="90"/>
                      <a:pt x="64" y="90"/>
                      <a:pt x="64" y="90"/>
                    </a:cubicBezTo>
                    <a:cubicBezTo>
                      <a:pt x="64" y="90"/>
                      <a:pt x="64" y="90"/>
                      <a:pt x="64" y="90"/>
                    </a:cubicBezTo>
                    <a:cubicBezTo>
                      <a:pt x="64" y="90"/>
                      <a:pt x="64" y="89"/>
                      <a:pt x="64" y="89"/>
                    </a:cubicBezTo>
                    <a:cubicBezTo>
                      <a:pt x="67" y="88"/>
                      <a:pt x="68" y="85"/>
                      <a:pt x="68" y="81"/>
                    </a:cubicBezTo>
                    <a:cubicBezTo>
                      <a:pt x="68" y="81"/>
                      <a:pt x="68" y="80"/>
                      <a:pt x="68" y="80"/>
                    </a:cubicBezTo>
                    <a:cubicBezTo>
                      <a:pt x="68" y="18"/>
                      <a:pt x="68" y="18"/>
                      <a:pt x="68" y="18"/>
                    </a:cubicBezTo>
                    <a:lnTo>
                      <a:pt x="20" y="0"/>
                    </a:lnTo>
                    <a:close/>
                    <a:moveTo>
                      <a:pt x="56" y="27"/>
                    </a:move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62" y="23"/>
                      <a:pt x="62" y="23"/>
                      <a:pt x="62" y="23"/>
                    </a:cubicBezTo>
                    <a:cubicBezTo>
                      <a:pt x="62" y="29"/>
                      <a:pt x="62" y="29"/>
                      <a:pt x="62" y="29"/>
                    </a:cubicBezTo>
                    <a:lnTo>
                      <a:pt x="56" y="27"/>
                    </a:lnTo>
                    <a:close/>
                  </a:path>
                </a:pathLst>
              </a:custGeom>
              <a:solidFill>
                <a:srgbClr val="6FA4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4" name="任意多边形: 形状 643"/>
              <p:cNvSpPr/>
              <p:nvPr userDrawn="1"/>
            </p:nvSpPr>
            <p:spPr bwMode="auto">
              <a:xfrm>
                <a:off x="10018583" y="5138737"/>
                <a:ext cx="217488" cy="296863"/>
              </a:xfrm>
              <a:custGeom>
                <a:avLst/>
                <a:gdLst>
                  <a:gd name="T0" fmla="*/ 24 w 66"/>
                  <a:gd name="T1" fmla="*/ 2 h 90"/>
                  <a:gd name="T2" fmla="*/ 19 w 66"/>
                  <a:gd name="T3" fmla="*/ 0 h 90"/>
                  <a:gd name="T4" fmla="*/ 19 w 66"/>
                  <a:gd name="T5" fmla="*/ 49 h 90"/>
                  <a:gd name="T6" fmla="*/ 13 w 66"/>
                  <a:gd name="T7" fmla="*/ 45 h 90"/>
                  <a:gd name="T8" fmla="*/ 4 w 66"/>
                  <a:gd name="T9" fmla="*/ 44 h 90"/>
                  <a:gd name="T10" fmla="*/ 4 w 66"/>
                  <a:gd name="T11" fmla="*/ 44 h 90"/>
                  <a:gd name="T12" fmla="*/ 0 w 66"/>
                  <a:gd name="T13" fmla="*/ 53 h 90"/>
                  <a:gd name="T14" fmla="*/ 1 w 66"/>
                  <a:gd name="T15" fmla="*/ 60 h 90"/>
                  <a:gd name="T16" fmla="*/ 11 w 66"/>
                  <a:gd name="T17" fmla="*/ 72 h 90"/>
                  <a:gd name="T18" fmla="*/ 17 w 66"/>
                  <a:gd name="T19" fmla="*/ 74 h 90"/>
                  <a:gd name="T20" fmla="*/ 20 w 66"/>
                  <a:gd name="T21" fmla="*/ 73 h 90"/>
                  <a:gd name="T22" fmla="*/ 21 w 66"/>
                  <a:gd name="T23" fmla="*/ 73 h 90"/>
                  <a:gd name="T24" fmla="*/ 25 w 66"/>
                  <a:gd name="T25" fmla="*/ 64 h 90"/>
                  <a:gd name="T26" fmla="*/ 25 w 66"/>
                  <a:gd name="T27" fmla="*/ 64 h 90"/>
                  <a:gd name="T28" fmla="*/ 25 w 66"/>
                  <a:gd name="T29" fmla="*/ 21 h 90"/>
                  <a:gd name="T30" fmla="*/ 30 w 66"/>
                  <a:gd name="T31" fmla="*/ 23 h 90"/>
                  <a:gd name="T32" fmla="*/ 60 w 66"/>
                  <a:gd name="T33" fmla="*/ 35 h 90"/>
                  <a:gd name="T34" fmla="*/ 60 w 66"/>
                  <a:gd name="T35" fmla="*/ 65 h 90"/>
                  <a:gd name="T36" fmla="*/ 55 w 66"/>
                  <a:gd name="T37" fmla="*/ 61 h 90"/>
                  <a:gd name="T38" fmla="*/ 46 w 66"/>
                  <a:gd name="T39" fmla="*/ 60 h 90"/>
                  <a:gd name="T40" fmla="*/ 46 w 66"/>
                  <a:gd name="T41" fmla="*/ 60 h 90"/>
                  <a:gd name="T42" fmla="*/ 41 w 66"/>
                  <a:gd name="T43" fmla="*/ 69 h 90"/>
                  <a:gd name="T44" fmla="*/ 42 w 66"/>
                  <a:gd name="T45" fmla="*/ 74 h 90"/>
                  <a:gd name="T46" fmla="*/ 53 w 66"/>
                  <a:gd name="T47" fmla="*/ 88 h 90"/>
                  <a:gd name="T48" fmla="*/ 58 w 66"/>
                  <a:gd name="T49" fmla="*/ 90 h 90"/>
                  <a:gd name="T50" fmla="*/ 62 w 66"/>
                  <a:gd name="T51" fmla="*/ 89 h 90"/>
                  <a:gd name="T52" fmla="*/ 62 w 66"/>
                  <a:gd name="T53" fmla="*/ 89 h 90"/>
                  <a:gd name="T54" fmla="*/ 66 w 66"/>
                  <a:gd name="T55" fmla="*/ 80 h 90"/>
                  <a:gd name="T56" fmla="*/ 66 w 66"/>
                  <a:gd name="T57" fmla="*/ 80 h 90"/>
                  <a:gd name="T58" fmla="*/ 66 w 66"/>
                  <a:gd name="T59" fmla="*/ 18 h 90"/>
                  <a:gd name="T60" fmla="*/ 24 w 66"/>
                  <a:gd name="T61" fmla="*/ 2 h 90"/>
                  <a:gd name="T62" fmla="*/ 25 w 66"/>
                  <a:gd name="T63" fmla="*/ 15 h 90"/>
                  <a:gd name="T64" fmla="*/ 25 w 66"/>
                  <a:gd name="T65" fmla="*/ 8 h 90"/>
                  <a:gd name="T66" fmla="*/ 30 w 66"/>
                  <a:gd name="T67" fmla="*/ 11 h 90"/>
                  <a:gd name="T68" fmla="*/ 60 w 66"/>
                  <a:gd name="T69" fmla="*/ 22 h 90"/>
                  <a:gd name="T70" fmla="*/ 60 w 66"/>
                  <a:gd name="T71" fmla="*/ 28 h 90"/>
                  <a:gd name="T72" fmla="*/ 25 w 66"/>
                  <a:gd name="T73" fmla="*/ 1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" h="90">
                    <a:moveTo>
                      <a:pt x="24" y="2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7" y="48"/>
                      <a:pt x="15" y="46"/>
                      <a:pt x="13" y="45"/>
                    </a:cubicBezTo>
                    <a:cubicBezTo>
                      <a:pt x="10" y="43"/>
                      <a:pt x="7" y="43"/>
                      <a:pt x="4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1" y="46"/>
                      <a:pt x="0" y="49"/>
                      <a:pt x="0" y="53"/>
                    </a:cubicBezTo>
                    <a:cubicBezTo>
                      <a:pt x="0" y="55"/>
                      <a:pt x="0" y="58"/>
                      <a:pt x="1" y="60"/>
                    </a:cubicBezTo>
                    <a:cubicBezTo>
                      <a:pt x="3" y="65"/>
                      <a:pt x="7" y="70"/>
                      <a:pt x="11" y="72"/>
                    </a:cubicBezTo>
                    <a:cubicBezTo>
                      <a:pt x="13" y="73"/>
                      <a:pt x="15" y="74"/>
                      <a:pt x="17" y="74"/>
                    </a:cubicBezTo>
                    <a:cubicBezTo>
                      <a:pt x="18" y="74"/>
                      <a:pt x="19" y="74"/>
                      <a:pt x="20" y="73"/>
                    </a:cubicBezTo>
                    <a:cubicBezTo>
                      <a:pt x="20" y="73"/>
                      <a:pt x="20" y="73"/>
                      <a:pt x="21" y="73"/>
                    </a:cubicBezTo>
                    <a:cubicBezTo>
                      <a:pt x="23" y="71"/>
                      <a:pt x="25" y="68"/>
                      <a:pt x="25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65"/>
                      <a:pt x="60" y="65"/>
                      <a:pt x="60" y="65"/>
                    </a:cubicBezTo>
                    <a:cubicBezTo>
                      <a:pt x="59" y="63"/>
                      <a:pt x="57" y="62"/>
                      <a:pt x="55" y="61"/>
                    </a:cubicBezTo>
                    <a:cubicBezTo>
                      <a:pt x="52" y="59"/>
                      <a:pt x="48" y="58"/>
                      <a:pt x="46" y="60"/>
                    </a:cubicBezTo>
                    <a:cubicBezTo>
                      <a:pt x="46" y="60"/>
                      <a:pt x="46" y="60"/>
                      <a:pt x="46" y="60"/>
                    </a:cubicBezTo>
                    <a:cubicBezTo>
                      <a:pt x="43" y="61"/>
                      <a:pt x="41" y="65"/>
                      <a:pt x="41" y="69"/>
                    </a:cubicBezTo>
                    <a:cubicBezTo>
                      <a:pt x="41" y="70"/>
                      <a:pt x="42" y="72"/>
                      <a:pt x="42" y="74"/>
                    </a:cubicBezTo>
                    <a:cubicBezTo>
                      <a:pt x="44" y="80"/>
                      <a:pt x="48" y="85"/>
                      <a:pt x="53" y="88"/>
                    </a:cubicBezTo>
                    <a:cubicBezTo>
                      <a:pt x="55" y="89"/>
                      <a:pt x="57" y="90"/>
                      <a:pt x="58" y="90"/>
                    </a:cubicBezTo>
                    <a:cubicBezTo>
                      <a:pt x="60" y="90"/>
                      <a:pt x="61" y="89"/>
                      <a:pt x="62" y="89"/>
                    </a:cubicBezTo>
                    <a:cubicBezTo>
                      <a:pt x="62" y="89"/>
                      <a:pt x="62" y="89"/>
                      <a:pt x="62" y="89"/>
                    </a:cubicBezTo>
                    <a:cubicBezTo>
                      <a:pt x="65" y="87"/>
                      <a:pt x="66" y="84"/>
                      <a:pt x="66" y="80"/>
                    </a:cubicBezTo>
                    <a:cubicBezTo>
                      <a:pt x="66" y="80"/>
                      <a:pt x="66" y="80"/>
                      <a:pt x="66" y="80"/>
                    </a:cubicBezTo>
                    <a:cubicBezTo>
                      <a:pt x="66" y="18"/>
                      <a:pt x="66" y="18"/>
                      <a:pt x="66" y="18"/>
                    </a:cubicBezTo>
                    <a:lnTo>
                      <a:pt x="24" y="2"/>
                    </a:lnTo>
                    <a:close/>
                    <a:moveTo>
                      <a:pt x="25" y="15"/>
                    </a:moveTo>
                    <a:cubicBezTo>
                      <a:pt x="25" y="8"/>
                      <a:pt x="25" y="8"/>
                      <a:pt x="25" y="8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60" y="28"/>
                      <a:pt x="60" y="28"/>
                      <a:pt x="60" y="28"/>
                    </a:cubicBezTo>
                    <a:lnTo>
                      <a:pt x="25" y="15"/>
                    </a:lnTo>
                    <a:close/>
                  </a:path>
                </a:pathLst>
              </a:custGeom>
              <a:solidFill>
                <a:srgbClr val="3F6E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5" name="任意多边形: 形状 644"/>
              <p:cNvSpPr/>
              <p:nvPr userDrawn="1"/>
            </p:nvSpPr>
            <p:spPr bwMode="auto">
              <a:xfrm>
                <a:off x="10080496" y="5126037"/>
                <a:ext cx="174625" cy="73025"/>
              </a:xfrm>
              <a:custGeom>
                <a:avLst/>
                <a:gdLst>
                  <a:gd name="T0" fmla="*/ 0 w 110"/>
                  <a:gd name="T1" fmla="*/ 8 h 46"/>
                  <a:gd name="T2" fmla="*/ 11 w 110"/>
                  <a:gd name="T3" fmla="*/ 0 h 46"/>
                  <a:gd name="T4" fmla="*/ 110 w 110"/>
                  <a:gd name="T5" fmla="*/ 37 h 46"/>
                  <a:gd name="T6" fmla="*/ 98 w 110"/>
                  <a:gd name="T7" fmla="*/ 46 h 46"/>
                  <a:gd name="T8" fmla="*/ 0 w 110"/>
                  <a:gd name="T9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46">
                    <a:moveTo>
                      <a:pt x="0" y="8"/>
                    </a:moveTo>
                    <a:lnTo>
                      <a:pt x="11" y="0"/>
                    </a:lnTo>
                    <a:lnTo>
                      <a:pt x="110" y="37"/>
                    </a:lnTo>
                    <a:lnTo>
                      <a:pt x="98" y="46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6" name="任意多边形: 形状 645"/>
              <p:cNvSpPr/>
              <p:nvPr userDrawn="1"/>
            </p:nvSpPr>
            <p:spPr bwMode="auto">
              <a:xfrm>
                <a:off x="10031283" y="5267325"/>
                <a:ext cx="49213" cy="33338"/>
              </a:xfrm>
              <a:custGeom>
                <a:avLst/>
                <a:gdLst>
                  <a:gd name="T0" fmla="*/ 15 w 15"/>
                  <a:gd name="T1" fmla="*/ 10 h 10"/>
                  <a:gd name="T2" fmla="*/ 9 w 15"/>
                  <a:gd name="T3" fmla="*/ 6 h 10"/>
                  <a:gd name="T4" fmla="*/ 0 w 15"/>
                  <a:gd name="T5" fmla="*/ 5 h 10"/>
                  <a:gd name="T6" fmla="*/ 5 w 15"/>
                  <a:gd name="T7" fmla="*/ 2 h 10"/>
                  <a:gd name="T8" fmla="*/ 5 w 15"/>
                  <a:gd name="T9" fmla="*/ 2 h 10"/>
                  <a:gd name="T10" fmla="*/ 6 w 15"/>
                  <a:gd name="T11" fmla="*/ 2 h 10"/>
                  <a:gd name="T12" fmla="*/ 15 w 15"/>
                  <a:gd name="T13" fmla="*/ 2 h 10"/>
                  <a:gd name="T14" fmla="*/ 15 w 15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0">
                    <a:moveTo>
                      <a:pt x="15" y="10"/>
                    </a:moveTo>
                    <a:cubicBezTo>
                      <a:pt x="13" y="9"/>
                      <a:pt x="11" y="7"/>
                      <a:pt x="9" y="6"/>
                    </a:cubicBezTo>
                    <a:cubicBezTo>
                      <a:pt x="6" y="4"/>
                      <a:pt x="3" y="4"/>
                      <a:pt x="0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6" y="2"/>
                      <a:pt x="6" y="2"/>
                    </a:cubicBezTo>
                    <a:cubicBezTo>
                      <a:pt x="8" y="0"/>
                      <a:pt x="11" y="1"/>
                      <a:pt x="15" y="2"/>
                    </a:cubicBezTo>
                    <a:lnTo>
                      <a:pt x="15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7" name="任意多边形: 形状 646"/>
              <p:cNvSpPr/>
              <p:nvPr userDrawn="1"/>
            </p:nvSpPr>
            <p:spPr bwMode="auto">
              <a:xfrm>
                <a:off x="10169396" y="5319712"/>
                <a:ext cx="46038" cy="33338"/>
              </a:xfrm>
              <a:custGeom>
                <a:avLst/>
                <a:gdLst>
                  <a:gd name="T0" fmla="*/ 14 w 14"/>
                  <a:gd name="T1" fmla="*/ 2 h 10"/>
                  <a:gd name="T2" fmla="*/ 14 w 14"/>
                  <a:gd name="T3" fmla="*/ 10 h 10"/>
                  <a:gd name="T4" fmla="*/ 9 w 14"/>
                  <a:gd name="T5" fmla="*/ 6 h 10"/>
                  <a:gd name="T6" fmla="*/ 0 w 14"/>
                  <a:gd name="T7" fmla="*/ 5 h 10"/>
                  <a:gd name="T8" fmla="*/ 5 w 14"/>
                  <a:gd name="T9" fmla="*/ 2 h 10"/>
                  <a:gd name="T10" fmla="*/ 5 w 14"/>
                  <a:gd name="T11" fmla="*/ 2 h 10"/>
                  <a:gd name="T12" fmla="*/ 5 w 14"/>
                  <a:gd name="T13" fmla="*/ 2 h 10"/>
                  <a:gd name="T14" fmla="*/ 14 w 14"/>
                  <a:gd name="T1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0">
                    <a:moveTo>
                      <a:pt x="14" y="2"/>
                    </a:moveTo>
                    <a:cubicBezTo>
                      <a:pt x="14" y="10"/>
                      <a:pt x="14" y="10"/>
                      <a:pt x="14" y="10"/>
                    </a:cubicBezTo>
                    <a:cubicBezTo>
                      <a:pt x="13" y="8"/>
                      <a:pt x="11" y="7"/>
                      <a:pt x="9" y="6"/>
                    </a:cubicBezTo>
                    <a:cubicBezTo>
                      <a:pt x="6" y="4"/>
                      <a:pt x="2" y="3"/>
                      <a:pt x="0" y="5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8" y="0"/>
                      <a:pt x="11" y="0"/>
                      <a:pt x="14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623" name="任意多边形: 形状 622"/>
            <p:cNvSpPr/>
            <p:nvPr userDrawn="1"/>
          </p:nvSpPr>
          <p:spPr bwMode="auto">
            <a:xfrm>
              <a:off x="6297483" y="3260725"/>
              <a:ext cx="1327150" cy="763588"/>
            </a:xfrm>
            <a:custGeom>
              <a:avLst/>
              <a:gdLst>
                <a:gd name="T0" fmla="*/ 396 w 402"/>
                <a:gd name="T1" fmla="*/ 139 h 232"/>
                <a:gd name="T2" fmla="*/ 234 w 402"/>
                <a:gd name="T3" fmla="*/ 232 h 232"/>
                <a:gd name="T4" fmla="*/ 0 w 402"/>
                <a:gd name="T5" fmla="*/ 97 h 232"/>
                <a:gd name="T6" fmla="*/ 161 w 402"/>
                <a:gd name="T7" fmla="*/ 3 h 232"/>
                <a:gd name="T8" fmla="*/ 184 w 402"/>
                <a:gd name="T9" fmla="*/ 4 h 232"/>
                <a:gd name="T10" fmla="*/ 394 w 402"/>
                <a:gd name="T11" fmla="*/ 126 h 232"/>
                <a:gd name="T12" fmla="*/ 396 w 402"/>
                <a:gd name="T13" fmla="*/ 13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232">
                  <a:moveTo>
                    <a:pt x="396" y="139"/>
                  </a:moveTo>
                  <a:cubicBezTo>
                    <a:pt x="234" y="232"/>
                    <a:pt x="234" y="232"/>
                    <a:pt x="234" y="232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7" y="0"/>
                    <a:pt x="177" y="0"/>
                    <a:pt x="184" y="4"/>
                  </a:cubicBezTo>
                  <a:cubicBezTo>
                    <a:pt x="394" y="126"/>
                    <a:pt x="394" y="126"/>
                    <a:pt x="394" y="126"/>
                  </a:cubicBezTo>
                  <a:cubicBezTo>
                    <a:pt x="401" y="129"/>
                    <a:pt x="402" y="135"/>
                    <a:pt x="396" y="139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4" name="任意多边形: 形状 623"/>
            <p:cNvSpPr/>
            <p:nvPr userDrawn="1"/>
          </p:nvSpPr>
          <p:spPr bwMode="auto">
            <a:xfrm>
              <a:off x="7067421" y="3527425"/>
              <a:ext cx="508000" cy="457200"/>
            </a:xfrm>
            <a:custGeom>
              <a:avLst/>
              <a:gdLst>
                <a:gd name="T0" fmla="*/ 0 w 320"/>
                <a:gd name="T1" fmla="*/ 288 h 288"/>
                <a:gd name="T2" fmla="*/ 0 w 320"/>
                <a:gd name="T3" fmla="*/ 183 h 288"/>
                <a:gd name="T4" fmla="*/ 320 w 320"/>
                <a:gd name="T5" fmla="*/ 0 h 288"/>
                <a:gd name="T6" fmla="*/ 320 w 320"/>
                <a:gd name="T7" fmla="*/ 104 h 288"/>
                <a:gd name="T8" fmla="*/ 0 w 320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288">
                  <a:moveTo>
                    <a:pt x="0" y="288"/>
                  </a:moveTo>
                  <a:lnTo>
                    <a:pt x="0" y="183"/>
                  </a:lnTo>
                  <a:lnTo>
                    <a:pt x="320" y="0"/>
                  </a:lnTo>
                  <a:lnTo>
                    <a:pt x="320" y="104"/>
                  </a:lnTo>
                  <a:lnTo>
                    <a:pt x="0" y="288"/>
                  </a:ln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5" name="任意多边形: 形状 624"/>
            <p:cNvSpPr/>
            <p:nvPr userDrawn="1"/>
          </p:nvSpPr>
          <p:spPr bwMode="auto">
            <a:xfrm>
              <a:off x="6294308" y="3411537"/>
              <a:ext cx="776288" cy="612775"/>
            </a:xfrm>
            <a:custGeom>
              <a:avLst/>
              <a:gdLst>
                <a:gd name="T0" fmla="*/ 2 w 489"/>
                <a:gd name="T1" fmla="*/ 106 h 386"/>
                <a:gd name="T2" fmla="*/ 0 w 489"/>
                <a:gd name="T3" fmla="*/ 0 h 386"/>
                <a:gd name="T4" fmla="*/ 489 w 489"/>
                <a:gd name="T5" fmla="*/ 283 h 386"/>
                <a:gd name="T6" fmla="*/ 489 w 489"/>
                <a:gd name="T7" fmla="*/ 386 h 386"/>
                <a:gd name="T8" fmla="*/ 2 w 489"/>
                <a:gd name="T9" fmla="*/ 10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386">
                  <a:moveTo>
                    <a:pt x="2" y="106"/>
                  </a:moveTo>
                  <a:lnTo>
                    <a:pt x="0" y="0"/>
                  </a:lnTo>
                  <a:lnTo>
                    <a:pt x="489" y="283"/>
                  </a:lnTo>
                  <a:lnTo>
                    <a:pt x="489" y="386"/>
                  </a:lnTo>
                  <a:lnTo>
                    <a:pt x="2" y="106"/>
                  </a:lnTo>
                  <a:close/>
                </a:path>
              </a:pathLst>
            </a:custGeom>
            <a:solidFill>
              <a:srgbClr val="6FA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6" name="任意多边形: 形状 625"/>
            <p:cNvSpPr/>
            <p:nvPr userDrawn="1"/>
          </p:nvSpPr>
          <p:spPr bwMode="auto">
            <a:xfrm>
              <a:off x="6297483" y="3095625"/>
              <a:ext cx="1327150" cy="765175"/>
            </a:xfrm>
            <a:custGeom>
              <a:avLst/>
              <a:gdLst>
                <a:gd name="T0" fmla="*/ 396 w 402"/>
                <a:gd name="T1" fmla="*/ 138 h 232"/>
                <a:gd name="T2" fmla="*/ 234 w 402"/>
                <a:gd name="T3" fmla="*/ 232 h 232"/>
                <a:gd name="T4" fmla="*/ 0 w 402"/>
                <a:gd name="T5" fmla="*/ 96 h 232"/>
                <a:gd name="T6" fmla="*/ 161 w 402"/>
                <a:gd name="T7" fmla="*/ 3 h 232"/>
                <a:gd name="T8" fmla="*/ 184 w 402"/>
                <a:gd name="T9" fmla="*/ 4 h 232"/>
                <a:gd name="T10" fmla="*/ 394 w 402"/>
                <a:gd name="T11" fmla="*/ 125 h 232"/>
                <a:gd name="T12" fmla="*/ 396 w 402"/>
                <a:gd name="T13" fmla="*/ 13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232">
                  <a:moveTo>
                    <a:pt x="396" y="138"/>
                  </a:moveTo>
                  <a:cubicBezTo>
                    <a:pt x="234" y="232"/>
                    <a:pt x="234" y="232"/>
                    <a:pt x="234" y="23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7" y="0"/>
                    <a:pt x="177" y="0"/>
                    <a:pt x="184" y="4"/>
                  </a:cubicBezTo>
                  <a:cubicBezTo>
                    <a:pt x="394" y="125"/>
                    <a:pt x="394" y="125"/>
                    <a:pt x="394" y="125"/>
                  </a:cubicBezTo>
                  <a:cubicBezTo>
                    <a:pt x="401" y="129"/>
                    <a:pt x="402" y="135"/>
                    <a:pt x="396" y="138"/>
                  </a:cubicBezTo>
                  <a:close/>
                </a:path>
              </a:pathLst>
            </a:custGeom>
            <a:solidFill>
              <a:srgbClr val="3C69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7" name="任意多边形: 形状 626"/>
            <p:cNvSpPr/>
            <p:nvPr userDrawn="1"/>
          </p:nvSpPr>
          <p:spPr bwMode="auto">
            <a:xfrm>
              <a:off x="6333996" y="2957512"/>
              <a:ext cx="1327150" cy="763588"/>
            </a:xfrm>
            <a:custGeom>
              <a:avLst/>
              <a:gdLst>
                <a:gd name="T0" fmla="*/ 396 w 402"/>
                <a:gd name="T1" fmla="*/ 138 h 232"/>
                <a:gd name="T2" fmla="*/ 235 w 402"/>
                <a:gd name="T3" fmla="*/ 232 h 232"/>
                <a:gd name="T4" fmla="*/ 0 w 402"/>
                <a:gd name="T5" fmla="*/ 97 h 232"/>
                <a:gd name="T6" fmla="*/ 162 w 402"/>
                <a:gd name="T7" fmla="*/ 3 h 232"/>
                <a:gd name="T8" fmla="*/ 185 w 402"/>
                <a:gd name="T9" fmla="*/ 4 h 232"/>
                <a:gd name="T10" fmla="*/ 395 w 402"/>
                <a:gd name="T11" fmla="*/ 125 h 232"/>
                <a:gd name="T12" fmla="*/ 396 w 402"/>
                <a:gd name="T13" fmla="*/ 13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232">
                  <a:moveTo>
                    <a:pt x="396" y="138"/>
                  </a:moveTo>
                  <a:cubicBezTo>
                    <a:pt x="235" y="232"/>
                    <a:pt x="235" y="232"/>
                    <a:pt x="235" y="232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62" y="3"/>
                    <a:pt x="162" y="3"/>
                    <a:pt x="162" y="3"/>
                  </a:cubicBezTo>
                  <a:cubicBezTo>
                    <a:pt x="168" y="0"/>
                    <a:pt x="178" y="0"/>
                    <a:pt x="185" y="4"/>
                  </a:cubicBezTo>
                  <a:cubicBezTo>
                    <a:pt x="395" y="125"/>
                    <a:pt x="395" y="125"/>
                    <a:pt x="395" y="125"/>
                  </a:cubicBezTo>
                  <a:cubicBezTo>
                    <a:pt x="401" y="129"/>
                    <a:pt x="402" y="135"/>
                    <a:pt x="396" y="138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8" name="任意多边形: 形状 627"/>
            <p:cNvSpPr/>
            <p:nvPr userDrawn="1"/>
          </p:nvSpPr>
          <p:spPr bwMode="auto">
            <a:xfrm>
              <a:off x="7107108" y="3221037"/>
              <a:ext cx="504825" cy="460375"/>
            </a:xfrm>
            <a:custGeom>
              <a:avLst/>
              <a:gdLst>
                <a:gd name="T0" fmla="*/ 0 w 318"/>
                <a:gd name="T1" fmla="*/ 290 h 290"/>
                <a:gd name="T2" fmla="*/ 0 w 318"/>
                <a:gd name="T3" fmla="*/ 185 h 290"/>
                <a:gd name="T4" fmla="*/ 318 w 318"/>
                <a:gd name="T5" fmla="*/ 0 h 290"/>
                <a:gd name="T6" fmla="*/ 318 w 318"/>
                <a:gd name="T7" fmla="*/ 106 h 290"/>
                <a:gd name="T8" fmla="*/ 0 w 318"/>
                <a:gd name="T9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290">
                  <a:moveTo>
                    <a:pt x="0" y="290"/>
                  </a:moveTo>
                  <a:lnTo>
                    <a:pt x="0" y="185"/>
                  </a:lnTo>
                  <a:lnTo>
                    <a:pt x="318" y="0"/>
                  </a:lnTo>
                  <a:lnTo>
                    <a:pt x="318" y="106"/>
                  </a:lnTo>
                  <a:lnTo>
                    <a:pt x="0" y="290"/>
                  </a:lnTo>
                  <a:close/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9" name="任意多边形: 形状 628"/>
            <p:cNvSpPr/>
            <p:nvPr userDrawn="1"/>
          </p:nvSpPr>
          <p:spPr bwMode="auto">
            <a:xfrm>
              <a:off x="6333996" y="3108325"/>
              <a:ext cx="776288" cy="612775"/>
            </a:xfrm>
            <a:custGeom>
              <a:avLst/>
              <a:gdLst>
                <a:gd name="T0" fmla="*/ 0 w 489"/>
                <a:gd name="T1" fmla="*/ 106 h 386"/>
                <a:gd name="T2" fmla="*/ 0 w 489"/>
                <a:gd name="T3" fmla="*/ 0 h 386"/>
                <a:gd name="T4" fmla="*/ 487 w 489"/>
                <a:gd name="T5" fmla="*/ 280 h 386"/>
                <a:gd name="T6" fmla="*/ 489 w 489"/>
                <a:gd name="T7" fmla="*/ 386 h 386"/>
                <a:gd name="T8" fmla="*/ 0 w 489"/>
                <a:gd name="T9" fmla="*/ 10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386">
                  <a:moveTo>
                    <a:pt x="0" y="106"/>
                  </a:moveTo>
                  <a:lnTo>
                    <a:pt x="0" y="0"/>
                  </a:lnTo>
                  <a:lnTo>
                    <a:pt x="487" y="280"/>
                  </a:lnTo>
                  <a:lnTo>
                    <a:pt x="489" y="386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E27D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0" name="任意多边形: 形状 629"/>
            <p:cNvSpPr/>
            <p:nvPr userDrawn="1"/>
          </p:nvSpPr>
          <p:spPr bwMode="auto">
            <a:xfrm>
              <a:off x="6333996" y="2789237"/>
              <a:ext cx="1327150" cy="763588"/>
            </a:xfrm>
            <a:custGeom>
              <a:avLst/>
              <a:gdLst>
                <a:gd name="T0" fmla="*/ 396 w 402"/>
                <a:gd name="T1" fmla="*/ 139 h 232"/>
                <a:gd name="T2" fmla="*/ 235 w 402"/>
                <a:gd name="T3" fmla="*/ 232 h 232"/>
                <a:gd name="T4" fmla="*/ 0 w 402"/>
                <a:gd name="T5" fmla="*/ 97 h 232"/>
                <a:gd name="T6" fmla="*/ 162 w 402"/>
                <a:gd name="T7" fmla="*/ 4 h 232"/>
                <a:gd name="T8" fmla="*/ 185 w 402"/>
                <a:gd name="T9" fmla="*/ 5 h 232"/>
                <a:gd name="T10" fmla="*/ 395 w 402"/>
                <a:gd name="T11" fmla="*/ 126 h 232"/>
                <a:gd name="T12" fmla="*/ 396 w 402"/>
                <a:gd name="T13" fmla="*/ 13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2" h="232">
                  <a:moveTo>
                    <a:pt x="396" y="139"/>
                  </a:moveTo>
                  <a:cubicBezTo>
                    <a:pt x="235" y="232"/>
                    <a:pt x="235" y="232"/>
                    <a:pt x="235" y="232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68" y="0"/>
                    <a:pt x="178" y="1"/>
                    <a:pt x="185" y="5"/>
                  </a:cubicBezTo>
                  <a:cubicBezTo>
                    <a:pt x="395" y="126"/>
                    <a:pt x="395" y="126"/>
                    <a:pt x="395" y="126"/>
                  </a:cubicBezTo>
                  <a:cubicBezTo>
                    <a:pt x="401" y="130"/>
                    <a:pt x="402" y="136"/>
                    <a:pt x="396" y="139"/>
                  </a:cubicBezTo>
                  <a:close/>
                </a:path>
              </a:pathLst>
            </a:custGeom>
            <a:solidFill>
              <a:srgbClr val="EAA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1" name="任意多边形: 形状 630"/>
            <p:cNvSpPr/>
            <p:nvPr userDrawn="1"/>
          </p:nvSpPr>
          <p:spPr bwMode="auto">
            <a:xfrm>
              <a:off x="6927721" y="2568575"/>
              <a:ext cx="125413" cy="187325"/>
            </a:xfrm>
            <a:custGeom>
              <a:avLst/>
              <a:gdLst>
                <a:gd name="T0" fmla="*/ 4 w 38"/>
                <a:gd name="T1" fmla="*/ 44 h 57"/>
                <a:gd name="T2" fmla="*/ 4 w 38"/>
                <a:gd name="T3" fmla="*/ 49 h 57"/>
                <a:gd name="T4" fmla="*/ 7 w 38"/>
                <a:gd name="T5" fmla="*/ 51 h 57"/>
                <a:gd name="T6" fmla="*/ 34 w 38"/>
                <a:gd name="T7" fmla="*/ 51 h 57"/>
                <a:gd name="T8" fmla="*/ 37 w 38"/>
                <a:gd name="T9" fmla="*/ 47 h 57"/>
                <a:gd name="T10" fmla="*/ 36 w 38"/>
                <a:gd name="T11" fmla="*/ 42 h 57"/>
                <a:gd name="T12" fmla="*/ 25 w 38"/>
                <a:gd name="T13" fmla="*/ 0 h 57"/>
                <a:gd name="T14" fmla="*/ 15 w 38"/>
                <a:gd name="T15" fmla="*/ 7 h 57"/>
                <a:gd name="T16" fmla="*/ 5 w 38"/>
                <a:gd name="T17" fmla="*/ 14 h 57"/>
                <a:gd name="T18" fmla="*/ 0 w 38"/>
                <a:gd name="T19" fmla="*/ 20 h 57"/>
                <a:gd name="T20" fmla="*/ 3 w 38"/>
                <a:gd name="T21" fmla="*/ 30 h 57"/>
                <a:gd name="T22" fmla="*/ 4 w 38"/>
                <a:gd name="T23" fmla="*/ 4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57">
                  <a:moveTo>
                    <a:pt x="4" y="44"/>
                  </a:moveTo>
                  <a:cubicBezTo>
                    <a:pt x="4" y="45"/>
                    <a:pt x="4" y="47"/>
                    <a:pt x="4" y="49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15" y="57"/>
                    <a:pt x="27" y="56"/>
                    <a:pt x="34" y="51"/>
                  </a:cubicBezTo>
                  <a:cubicBezTo>
                    <a:pt x="36" y="50"/>
                    <a:pt x="37" y="49"/>
                    <a:pt x="37" y="47"/>
                  </a:cubicBezTo>
                  <a:cubicBezTo>
                    <a:pt x="38" y="45"/>
                    <a:pt x="37" y="43"/>
                    <a:pt x="36" y="42"/>
                  </a:cubicBezTo>
                  <a:cubicBezTo>
                    <a:pt x="30" y="29"/>
                    <a:pt x="27" y="14"/>
                    <a:pt x="25" y="0"/>
                  </a:cubicBezTo>
                  <a:cubicBezTo>
                    <a:pt x="25" y="1"/>
                    <a:pt x="16" y="6"/>
                    <a:pt x="15" y="7"/>
                  </a:cubicBezTo>
                  <a:cubicBezTo>
                    <a:pt x="12" y="9"/>
                    <a:pt x="8" y="12"/>
                    <a:pt x="5" y="14"/>
                  </a:cubicBezTo>
                  <a:cubicBezTo>
                    <a:pt x="2" y="16"/>
                    <a:pt x="0" y="17"/>
                    <a:pt x="0" y="20"/>
                  </a:cubicBezTo>
                  <a:cubicBezTo>
                    <a:pt x="0" y="24"/>
                    <a:pt x="2" y="27"/>
                    <a:pt x="3" y="30"/>
                  </a:cubicBezTo>
                  <a:cubicBezTo>
                    <a:pt x="4" y="34"/>
                    <a:pt x="4" y="39"/>
                    <a:pt x="4" y="44"/>
                  </a:cubicBezTo>
                  <a:close/>
                </a:path>
              </a:pathLst>
            </a:custGeom>
            <a:solidFill>
              <a:srgbClr val="EBA7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lvl="0" algn="ctr"/>
            </a:p>
          </p:txBody>
        </p:sp>
        <p:sp>
          <p:nvSpPr>
            <p:cNvPr id="632" name="任意多边形: 形状 631"/>
            <p:cNvSpPr/>
            <p:nvPr userDrawn="1"/>
          </p:nvSpPr>
          <p:spPr bwMode="auto">
            <a:xfrm>
              <a:off x="7107108" y="2863850"/>
              <a:ext cx="85725" cy="271463"/>
            </a:xfrm>
            <a:custGeom>
              <a:avLst/>
              <a:gdLst>
                <a:gd name="T0" fmla="*/ 9 w 26"/>
                <a:gd name="T1" fmla="*/ 0 h 82"/>
                <a:gd name="T2" fmla="*/ 4 w 26"/>
                <a:gd name="T3" fmla="*/ 6 h 82"/>
                <a:gd name="T4" fmla="*/ 0 w 26"/>
                <a:gd name="T5" fmla="*/ 48 h 82"/>
                <a:gd name="T6" fmla="*/ 1 w 26"/>
                <a:gd name="T7" fmla="*/ 70 h 82"/>
                <a:gd name="T8" fmla="*/ 2 w 26"/>
                <a:gd name="T9" fmla="*/ 78 h 82"/>
                <a:gd name="T10" fmla="*/ 2 w 26"/>
                <a:gd name="T11" fmla="*/ 78 h 82"/>
                <a:gd name="T12" fmla="*/ 15 w 26"/>
                <a:gd name="T13" fmla="*/ 80 h 82"/>
                <a:gd name="T14" fmla="*/ 20 w 26"/>
                <a:gd name="T15" fmla="*/ 80 h 82"/>
                <a:gd name="T16" fmla="*/ 22 w 26"/>
                <a:gd name="T17" fmla="*/ 33 h 82"/>
                <a:gd name="T18" fmla="*/ 13 w 26"/>
                <a:gd name="T19" fmla="*/ 1 h 82"/>
                <a:gd name="T20" fmla="*/ 9 w 26"/>
                <a:gd name="T2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82">
                  <a:moveTo>
                    <a:pt x="9" y="0"/>
                  </a:moveTo>
                  <a:cubicBezTo>
                    <a:pt x="4" y="0"/>
                    <a:pt x="3" y="4"/>
                    <a:pt x="4" y="6"/>
                  </a:cubicBezTo>
                  <a:cubicBezTo>
                    <a:pt x="2" y="9"/>
                    <a:pt x="2" y="12"/>
                    <a:pt x="0" y="48"/>
                  </a:cubicBezTo>
                  <a:cubicBezTo>
                    <a:pt x="0" y="56"/>
                    <a:pt x="1" y="64"/>
                    <a:pt x="1" y="70"/>
                  </a:cubicBezTo>
                  <a:cubicBezTo>
                    <a:pt x="1" y="72"/>
                    <a:pt x="1" y="76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6" y="81"/>
                    <a:pt x="13" y="79"/>
                    <a:pt x="15" y="80"/>
                  </a:cubicBezTo>
                  <a:cubicBezTo>
                    <a:pt x="17" y="82"/>
                    <a:pt x="19" y="81"/>
                    <a:pt x="20" y="80"/>
                  </a:cubicBezTo>
                  <a:cubicBezTo>
                    <a:pt x="23" y="78"/>
                    <a:pt x="22" y="50"/>
                    <a:pt x="22" y="33"/>
                  </a:cubicBezTo>
                  <a:cubicBezTo>
                    <a:pt x="22" y="4"/>
                    <a:pt x="26" y="6"/>
                    <a:pt x="13" y="1"/>
                  </a:cubicBezTo>
                  <a:cubicBezTo>
                    <a:pt x="12" y="1"/>
                    <a:pt x="11" y="0"/>
                    <a:pt x="9" y="0"/>
                  </a:cubicBezTo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3" name="任意多边形: 形状 632"/>
            <p:cNvSpPr/>
            <p:nvPr userDrawn="1"/>
          </p:nvSpPr>
          <p:spPr bwMode="auto">
            <a:xfrm>
              <a:off x="6618158" y="2949575"/>
              <a:ext cx="639763" cy="284163"/>
            </a:xfrm>
            <a:custGeom>
              <a:avLst/>
              <a:gdLst>
                <a:gd name="T0" fmla="*/ 11 w 194"/>
                <a:gd name="T1" fmla="*/ 0 h 86"/>
                <a:gd name="T2" fmla="*/ 1 w 194"/>
                <a:gd name="T3" fmla="*/ 7 h 86"/>
                <a:gd name="T4" fmla="*/ 5 w 194"/>
                <a:gd name="T5" fmla="*/ 17 h 86"/>
                <a:gd name="T6" fmla="*/ 59 w 194"/>
                <a:gd name="T7" fmla="*/ 61 h 86"/>
                <a:gd name="T8" fmla="*/ 96 w 194"/>
                <a:gd name="T9" fmla="*/ 75 h 86"/>
                <a:gd name="T10" fmla="*/ 139 w 194"/>
                <a:gd name="T11" fmla="*/ 84 h 86"/>
                <a:gd name="T12" fmla="*/ 187 w 194"/>
                <a:gd name="T13" fmla="*/ 83 h 86"/>
                <a:gd name="T14" fmla="*/ 189 w 194"/>
                <a:gd name="T15" fmla="*/ 70 h 86"/>
                <a:gd name="T16" fmla="*/ 185 w 194"/>
                <a:gd name="T17" fmla="*/ 67 h 86"/>
                <a:gd name="T18" fmla="*/ 179 w 194"/>
                <a:gd name="T19" fmla="*/ 59 h 86"/>
                <a:gd name="T20" fmla="*/ 153 w 194"/>
                <a:gd name="T21" fmla="*/ 39 h 86"/>
                <a:gd name="T22" fmla="*/ 129 w 194"/>
                <a:gd name="T23" fmla="*/ 33 h 86"/>
                <a:gd name="T24" fmla="*/ 130 w 194"/>
                <a:gd name="T25" fmla="*/ 33 h 86"/>
                <a:gd name="T26" fmla="*/ 100 w 194"/>
                <a:gd name="T27" fmla="*/ 32 h 86"/>
                <a:gd name="T28" fmla="*/ 71 w 194"/>
                <a:gd name="T29" fmla="*/ 14 h 86"/>
                <a:gd name="T30" fmla="*/ 11 w 194"/>
                <a:gd name="T3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86">
                  <a:moveTo>
                    <a:pt x="11" y="0"/>
                  </a:moveTo>
                  <a:cubicBezTo>
                    <a:pt x="6" y="0"/>
                    <a:pt x="3" y="2"/>
                    <a:pt x="1" y="7"/>
                  </a:cubicBezTo>
                  <a:cubicBezTo>
                    <a:pt x="0" y="13"/>
                    <a:pt x="6" y="19"/>
                    <a:pt x="5" y="17"/>
                  </a:cubicBezTo>
                  <a:cubicBezTo>
                    <a:pt x="31" y="50"/>
                    <a:pt x="43" y="51"/>
                    <a:pt x="59" y="61"/>
                  </a:cubicBezTo>
                  <a:cubicBezTo>
                    <a:pt x="83" y="76"/>
                    <a:pt x="80" y="70"/>
                    <a:pt x="96" y="75"/>
                  </a:cubicBezTo>
                  <a:cubicBezTo>
                    <a:pt x="117" y="81"/>
                    <a:pt x="120" y="83"/>
                    <a:pt x="139" y="84"/>
                  </a:cubicBezTo>
                  <a:cubicBezTo>
                    <a:pt x="145" y="84"/>
                    <a:pt x="179" y="86"/>
                    <a:pt x="187" y="83"/>
                  </a:cubicBezTo>
                  <a:cubicBezTo>
                    <a:pt x="194" y="81"/>
                    <a:pt x="192" y="74"/>
                    <a:pt x="189" y="70"/>
                  </a:cubicBezTo>
                  <a:cubicBezTo>
                    <a:pt x="188" y="69"/>
                    <a:pt x="185" y="66"/>
                    <a:pt x="185" y="67"/>
                  </a:cubicBezTo>
                  <a:cubicBezTo>
                    <a:pt x="183" y="64"/>
                    <a:pt x="181" y="61"/>
                    <a:pt x="179" y="59"/>
                  </a:cubicBezTo>
                  <a:cubicBezTo>
                    <a:pt x="174" y="53"/>
                    <a:pt x="161" y="43"/>
                    <a:pt x="153" y="39"/>
                  </a:cubicBezTo>
                  <a:cubicBezTo>
                    <a:pt x="146" y="35"/>
                    <a:pt x="137" y="33"/>
                    <a:pt x="129" y="33"/>
                  </a:cubicBezTo>
                  <a:cubicBezTo>
                    <a:pt x="130" y="33"/>
                    <a:pt x="130" y="33"/>
                    <a:pt x="130" y="33"/>
                  </a:cubicBezTo>
                  <a:cubicBezTo>
                    <a:pt x="122" y="32"/>
                    <a:pt x="107" y="31"/>
                    <a:pt x="100" y="32"/>
                  </a:cubicBezTo>
                  <a:cubicBezTo>
                    <a:pt x="93" y="27"/>
                    <a:pt x="86" y="20"/>
                    <a:pt x="71" y="14"/>
                  </a:cubicBezTo>
                  <a:cubicBezTo>
                    <a:pt x="47" y="4"/>
                    <a:pt x="21" y="0"/>
                    <a:pt x="11" y="0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4" name="任意多边形: 形状 633"/>
            <p:cNvSpPr/>
            <p:nvPr userDrawn="1"/>
          </p:nvSpPr>
          <p:spPr bwMode="auto">
            <a:xfrm>
              <a:off x="6562596" y="2946400"/>
              <a:ext cx="425450" cy="511175"/>
            </a:xfrm>
            <a:custGeom>
              <a:avLst/>
              <a:gdLst>
                <a:gd name="T0" fmla="*/ 27 w 129"/>
                <a:gd name="T1" fmla="*/ 0 h 155"/>
                <a:gd name="T2" fmla="*/ 22 w 129"/>
                <a:gd name="T3" fmla="*/ 47 h 155"/>
                <a:gd name="T4" fmla="*/ 68 w 129"/>
                <a:gd name="T5" fmla="*/ 101 h 155"/>
                <a:gd name="T6" fmla="*/ 78 w 129"/>
                <a:gd name="T7" fmla="*/ 109 h 155"/>
                <a:gd name="T8" fmla="*/ 98 w 129"/>
                <a:gd name="T9" fmla="*/ 138 h 155"/>
                <a:gd name="T10" fmla="*/ 104 w 129"/>
                <a:gd name="T11" fmla="*/ 142 h 155"/>
                <a:gd name="T12" fmla="*/ 124 w 129"/>
                <a:gd name="T13" fmla="*/ 130 h 155"/>
                <a:gd name="T14" fmla="*/ 110 w 129"/>
                <a:gd name="T15" fmla="*/ 105 h 155"/>
                <a:gd name="T16" fmla="*/ 110 w 129"/>
                <a:gd name="T17" fmla="*/ 105 h 155"/>
                <a:gd name="T18" fmla="*/ 90 w 129"/>
                <a:gd name="T19" fmla="*/ 73 h 155"/>
                <a:gd name="T20" fmla="*/ 90 w 129"/>
                <a:gd name="T21" fmla="*/ 74 h 155"/>
                <a:gd name="T22" fmla="*/ 63 w 129"/>
                <a:gd name="T23" fmla="*/ 26 h 155"/>
                <a:gd name="T24" fmla="*/ 64 w 129"/>
                <a:gd name="T25" fmla="*/ 26 h 155"/>
                <a:gd name="T26" fmla="*/ 61 w 129"/>
                <a:gd name="T27" fmla="*/ 23 h 155"/>
                <a:gd name="T28" fmla="*/ 61 w 129"/>
                <a:gd name="T29" fmla="*/ 23 h 155"/>
                <a:gd name="T30" fmla="*/ 47 w 129"/>
                <a:gd name="T31" fmla="*/ 7 h 155"/>
                <a:gd name="T32" fmla="*/ 31 w 129"/>
                <a:gd name="T33" fmla="*/ 1 h 155"/>
                <a:gd name="T34" fmla="*/ 27 w 129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55">
                  <a:moveTo>
                    <a:pt x="27" y="0"/>
                  </a:moveTo>
                  <a:cubicBezTo>
                    <a:pt x="14" y="0"/>
                    <a:pt x="0" y="19"/>
                    <a:pt x="22" y="47"/>
                  </a:cubicBezTo>
                  <a:cubicBezTo>
                    <a:pt x="31" y="58"/>
                    <a:pt x="66" y="99"/>
                    <a:pt x="68" y="101"/>
                  </a:cubicBezTo>
                  <a:cubicBezTo>
                    <a:pt x="73" y="106"/>
                    <a:pt x="75" y="106"/>
                    <a:pt x="78" y="109"/>
                  </a:cubicBezTo>
                  <a:cubicBezTo>
                    <a:pt x="79" y="111"/>
                    <a:pt x="91" y="132"/>
                    <a:pt x="98" y="138"/>
                  </a:cubicBezTo>
                  <a:cubicBezTo>
                    <a:pt x="99" y="139"/>
                    <a:pt x="103" y="142"/>
                    <a:pt x="104" y="142"/>
                  </a:cubicBezTo>
                  <a:cubicBezTo>
                    <a:pt x="120" y="155"/>
                    <a:pt x="129" y="143"/>
                    <a:pt x="124" y="130"/>
                  </a:cubicBezTo>
                  <a:cubicBezTo>
                    <a:pt x="121" y="121"/>
                    <a:pt x="117" y="121"/>
                    <a:pt x="110" y="105"/>
                  </a:cubicBezTo>
                  <a:cubicBezTo>
                    <a:pt x="110" y="105"/>
                    <a:pt x="110" y="105"/>
                    <a:pt x="110" y="105"/>
                  </a:cubicBezTo>
                  <a:cubicBezTo>
                    <a:pt x="102" y="86"/>
                    <a:pt x="97" y="90"/>
                    <a:pt x="90" y="73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82" y="54"/>
                    <a:pt x="78" y="45"/>
                    <a:pt x="63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3" y="26"/>
                    <a:pt x="62" y="24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8" y="19"/>
                    <a:pt x="49" y="9"/>
                    <a:pt x="47" y="7"/>
                  </a:cubicBezTo>
                  <a:cubicBezTo>
                    <a:pt x="39" y="0"/>
                    <a:pt x="34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</a:path>
              </a:pathLst>
            </a:custGeom>
            <a:solidFill>
              <a:srgbClr val="619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5" name="任意多边形: 形状 634"/>
            <p:cNvSpPr/>
            <p:nvPr userDrawn="1"/>
          </p:nvSpPr>
          <p:spPr bwMode="auto">
            <a:xfrm>
              <a:off x="6575296" y="3135312"/>
              <a:ext cx="679450" cy="239713"/>
            </a:xfrm>
            <a:custGeom>
              <a:avLst/>
              <a:gdLst>
                <a:gd name="T0" fmla="*/ 174 w 206"/>
                <a:gd name="T1" fmla="*/ 0 h 73"/>
                <a:gd name="T2" fmla="*/ 174 w 206"/>
                <a:gd name="T3" fmla="*/ 0 h 73"/>
                <a:gd name="T4" fmla="*/ 149 w 206"/>
                <a:gd name="T5" fmla="*/ 8 h 73"/>
                <a:gd name="T6" fmla="*/ 149 w 206"/>
                <a:gd name="T7" fmla="*/ 8 h 73"/>
                <a:gd name="T8" fmla="*/ 138 w 206"/>
                <a:gd name="T9" fmla="*/ 13 h 73"/>
                <a:gd name="T10" fmla="*/ 130 w 206"/>
                <a:gd name="T11" fmla="*/ 16 h 73"/>
                <a:gd name="T12" fmla="*/ 130 w 206"/>
                <a:gd name="T13" fmla="*/ 16 h 73"/>
                <a:gd name="T14" fmla="*/ 122 w 206"/>
                <a:gd name="T15" fmla="*/ 19 h 73"/>
                <a:gd name="T16" fmla="*/ 113 w 206"/>
                <a:gd name="T17" fmla="*/ 23 h 73"/>
                <a:gd name="T18" fmla="*/ 113 w 206"/>
                <a:gd name="T19" fmla="*/ 23 h 73"/>
                <a:gd name="T20" fmla="*/ 109 w 206"/>
                <a:gd name="T21" fmla="*/ 25 h 73"/>
                <a:gd name="T22" fmla="*/ 109 w 206"/>
                <a:gd name="T23" fmla="*/ 25 h 73"/>
                <a:gd name="T24" fmla="*/ 108 w 206"/>
                <a:gd name="T25" fmla="*/ 26 h 73"/>
                <a:gd name="T26" fmla="*/ 108 w 206"/>
                <a:gd name="T27" fmla="*/ 26 h 73"/>
                <a:gd name="T28" fmla="*/ 81 w 206"/>
                <a:gd name="T29" fmla="*/ 33 h 73"/>
                <a:gd name="T30" fmla="*/ 63 w 206"/>
                <a:gd name="T31" fmla="*/ 36 h 73"/>
                <a:gd name="T32" fmla="*/ 58 w 206"/>
                <a:gd name="T33" fmla="*/ 35 h 73"/>
                <a:gd name="T34" fmla="*/ 55 w 206"/>
                <a:gd name="T35" fmla="*/ 34 h 73"/>
                <a:gd name="T36" fmla="*/ 44 w 206"/>
                <a:gd name="T37" fmla="*/ 32 h 73"/>
                <a:gd name="T38" fmla="*/ 32 w 206"/>
                <a:gd name="T39" fmla="*/ 38 h 73"/>
                <a:gd name="T40" fmla="*/ 23 w 206"/>
                <a:gd name="T41" fmla="*/ 44 h 73"/>
                <a:gd name="T42" fmla="*/ 9 w 206"/>
                <a:gd name="T43" fmla="*/ 53 h 73"/>
                <a:gd name="T44" fmla="*/ 0 w 206"/>
                <a:gd name="T45" fmla="*/ 64 h 73"/>
                <a:gd name="T46" fmla="*/ 2 w 206"/>
                <a:gd name="T47" fmla="*/ 69 h 73"/>
                <a:gd name="T48" fmla="*/ 19 w 206"/>
                <a:gd name="T49" fmla="*/ 73 h 73"/>
                <a:gd name="T50" fmla="*/ 37 w 206"/>
                <a:gd name="T51" fmla="*/ 69 h 73"/>
                <a:gd name="T52" fmla="*/ 59 w 206"/>
                <a:gd name="T53" fmla="*/ 64 h 73"/>
                <a:gd name="T54" fmla="*/ 129 w 206"/>
                <a:gd name="T55" fmla="*/ 59 h 73"/>
                <a:gd name="T56" fmla="*/ 177 w 206"/>
                <a:gd name="T57" fmla="*/ 47 h 73"/>
                <a:gd name="T58" fmla="*/ 195 w 206"/>
                <a:gd name="T59" fmla="*/ 38 h 73"/>
                <a:gd name="T60" fmla="*/ 201 w 206"/>
                <a:gd name="T61" fmla="*/ 33 h 73"/>
                <a:gd name="T62" fmla="*/ 205 w 206"/>
                <a:gd name="T63" fmla="*/ 22 h 73"/>
                <a:gd name="T64" fmla="*/ 174 w 206"/>
                <a:gd name="T65" fmla="*/ 0 h 73"/>
                <a:gd name="T66" fmla="*/ 108 w 206"/>
                <a:gd name="T67" fmla="*/ 26 h 73"/>
                <a:gd name="T68" fmla="*/ 108 w 206"/>
                <a:gd name="T69" fmla="*/ 25 h 73"/>
                <a:gd name="T70" fmla="*/ 108 w 206"/>
                <a:gd name="T71" fmla="*/ 26 h 73"/>
                <a:gd name="T72" fmla="*/ 6 w 206"/>
                <a:gd name="T73" fmla="*/ 64 h 73"/>
                <a:gd name="T74" fmla="*/ 6 w 206"/>
                <a:gd name="T75" fmla="*/ 64 h 73"/>
                <a:gd name="T76" fmla="*/ 7 w 206"/>
                <a:gd name="T77" fmla="*/ 65 h 73"/>
                <a:gd name="T78" fmla="*/ 6 w 206"/>
                <a:gd name="T79" fmla="*/ 6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6" h="73">
                  <a:moveTo>
                    <a:pt x="174" y="0"/>
                  </a:moveTo>
                  <a:cubicBezTo>
                    <a:pt x="174" y="0"/>
                    <a:pt x="174" y="0"/>
                    <a:pt x="174" y="0"/>
                  </a:cubicBezTo>
                  <a:cubicBezTo>
                    <a:pt x="165" y="0"/>
                    <a:pt x="155" y="5"/>
                    <a:pt x="149" y="8"/>
                  </a:cubicBezTo>
                  <a:cubicBezTo>
                    <a:pt x="149" y="8"/>
                    <a:pt x="149" y="8"/>
                    <a:pt x="149" y="8"/>
                  </a:cubicBezTo>
                  <a:cubicBezTo>
                    <a:pt x="138" y="13"/>
                    <a:pt x="138" y="13"/>
                    <a:pt x="138" y="13"/>
                  </a:cubicBezTo>
                  <a:cubicBezTo>
                    <a:pt x="136" y="14"/>
                    <a:pt x="133" y="15"/>
                    <a:pt x="130" y="16"/>
                  </a:cubicBezTo>
                  <a:cubicBezTo>
                    <a:pt x="130" y="16"/>
                    <a:pt x="130" y="16"/>
                    <a:pt x="130" y="16"/>
                  </a:cubicBezTo>
                  <a:cubicBezTo>
                    <a:pt x="130" y="16"/>
                    <a:pt x="122" y="19"/>
                    <a:pt x="122" y="19"/>
                  </a:cubicBezTo>
                  <a:cubicBezTo>
                    <a:pt x="122" y="19"/>
                    <a:pt x="113" y="23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23"/>
                    <a:pt x="109" y="25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5"/>
                    <a:pt x="108" y="26"/>
                    <a:pt x="108" y="26"/>
                  </a:cubicBezTo>
                  <a:cubicBezTo>
                    <a:pt x="108" y="26"/>
                    <a:pt x="108" y="26"/>
                    <a:pt x="108" y="26"/>
                  </a:cubicBezTo>
                  <a:cubicBezTo>
                    <a:pt x="94" y="32"/>
                    <a:pt x="88" y="31"/>
                    <a:pt x="81" y="33"/>
                  </a:cubicBezTo>
                  <a:cubicBezTo>
                    <a:pt x="79" y="33"/>
                    <a:pt x="67" y="36"/>
                    <a:pt x="63" y="36"/>
                  </a:cubicBezTo>
                  <a:cubicBezTo>
                    <a:pt x="61" y="36"/>
                    <a:pt x="60" y="36"/>
                    <a:pt x="58" y="35"/>
                  </a:cubicBezTo>
                  <a:cubicBezTo>
                    <a:pt x="57" y="35"/>
                    <a:pt x="55" y="34"/>
                    <a:pt x="55" y="34"/>
                  </a:cubicBezTo>
                  <a:cubicBezTo>
                    <a:pt x="48" y="31"/>
                    <a:pt x="44" y="32"/>
                    <a:pt x="44" y="32"/>
                  </a:cubicBezTo>
                  <a:cubicBezTo>
                    <a:pt x="44" y="32"/>
                    <a:pt x="39" y="33"/>
                    <a:pt x="32" y="38"/>
                  </a:cubicBezTo>
                  <a:cubicBezTo>
                    <a:pt x="27" y="42"/>
                    <a:pt x="26" y="42"/>
                    <a:pt x="23" y="44"/>
                  </a:cubicBezTo>
                  <a:cubicBezTo>
                    <a:pt x="14" y="50"/>
                    <a:pt x="16" y="48"/>
                    <a:pt x="9" y="53"/>
                  </a:cubicBezTo>
                  <a:cubicBezTo>
                    <a:pt x="4" y="58"/>
                    <a:pt x="0" y="60"/>
                    <a:pt x="0" y="64"/>
                  </a:cubicBezTo>
                  <a:cubicBezTo>
                    <a:pt x="0" y="66"/>
                    <a:pt x="0" y="68"/>
                    <a:pt x="2" y="69"/>
                  </a:cubicBezTo>
                  <a:cubicBezTo>
                    <a:pt x="5" y="71"/>
                    <a:pt x="15" y="73"/>
                    <a:pt x="19" y="73"/>
                  </a:cubicBezTo>
                  <a:cubicBezTo>
                    <a:pt x="27" y="73"/>
                    <a:pt x="33" y="71"/>
                    <a:pt x="37" y="69"/>
                  </a:cubicBezTo>
                  <a:cubicBezTo>
                    <a:pt x="45" y="67"/>
                    <a:pt x="49" y="65"/>
                    <a:pt x="59" y="64"/>
                  </a:cubicBezTo>
                  <a:cubicBezTo>
                    <a:pt x="66" y="63"/>
                    <a:pt x="122" y="60"/>
                    <a:pt x="129" y="59"/>
                  </a:cubicBezTo>
                  <a:cubicBezTo>
                    <a:pt x="130" y="59"/>
                    <a:pt x="161" y="54"/>
                    <a:pt x="177" y="47"/>
                  </a:cubicBezTo>
                  <a:cubicBezTo>
                    <a:pt x="186" y="43"/>
                    <a:pt x="188" y="43"/>
                    <a:pt x="195" y="38"/>
                  </a:cubicBezTo>
                  <a:cubicBezTo>
                    <a:pt x="197" y="37"/>
                    <a:pt x="201" y="34"/>
                    <a:pt x="201" y="33"/>
                  </a:cubicBezTo>
                  <a:cubicBezTo>
                    <a:pt x="205" y="28"/>
                    <a:pt x="206" y="26"/>
                    <a:pt x="205" y="22"/>
                  </a:cubicBezTo>
                  <a:cubicBezTo>
                    <a:pt x="204" y="8"/>
                    <a:pt x="189" y="0"/>
                    <a:pt x="174" y="0"/>
                  </a:cubicBezTo>
                  <a:moveTo>
                    <a:pt x="108" y="26"/>
                  </a:moveTo>
                  <a:cubicBezTo>
                    <a:pt x="108" y="25"/>
                    <a:pt x="108" y="25"/>
                    <a:pt x="108" y="25"/>
                  </a:cubicBezTo>
                  <a:cubicBezTo>
                    <a:pt x="108" y="25"/>
                    <a:pt x="108" y="26"/>
                    <a:pt x="108" y="26"/>
                  </a:cubicBezTo>
                  <a:moveTo>
                    <a:pt x="6" y="64"/>
                  </a:moveTo>
                  <a:cubicBezTo>
                    <a:pt x="6" y="64"/>
                    <a:pt x="6" y="64"/>
                    <a:pt x="6" y="64"/>
                  </a:cubicBezTo>
                  <a:cubicBezTo>
                    <a:pt x="6" y="64"/>
                    <a:pt x="7" y="64"/>
                    <a:pt x="7" y="65"/>
                  </a:cubicBezTo>
                  <a:cubicBezTo>
                    <a:pt x="7" y="64"/>
                    <a:pt x="6" y="64"/>
                    <a:pt x="6" y="64"/>
                  </a:cubicBezTo>
                </a:path>
              </a:pathLst>
            </a:custGeom>
            <a:solidFill>
              <a:srgbClr val="96B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6" name="任意多边形: 形状 635"/>
            <p:cNvSpPr/>
            <p:nvPr userDrawn="1"/>
          </p:nvSpPr>
          <p:spPr bwMode="auto">
            <a:xfrm>
              <a:off x="6618158" y="2709862"/>
              <a:ext cx="171450" cy="171450"/>
            </a:xfrm>
            <a:custGeom>
              <a:avLst/>
              <a:gdLst>
                <a:gd name="T0" fmla="*/ 27 w 52"/>
                <a:gd name="T1" fmla="*/ 2 h 52"/>
                <a:gd name="T2" fmla="*/ 3 w 52"/>
                <a:gd name="T3" fmla="*/ 0 h 52"/>
                <a:gd name="T4" fmla="*/ 1 w 52"/>
                <a:gd name="T5" fmla="*/ 1 h 52"/>
                <a:gd name="T6" fmla="*/ 1 w 52"/>
                <a:gd name="T7" fmla="*/ 1 h 52"/>
                <a:gd name="T8" fmla="*/ 0 w 52"/>
                <a:gd name="T9" fmla="*/ 3 h 52"/>
                <a:gd name="T10" fmla="*/ 1 w 52"/>
                <a:gd name="T11" fmla="*/ 4 h 52"/>
                <a:gd name="T12" fmla="*/ 1 w 52"/>
                <a:gd name="T13" fmla="*/ 4 h 52"/>
                <a:gd name="T14" fmla="*/ 20 w 52"/>
                <a:gd name="T15" fmla="*/ 45 h 52"/>
                <a:gd name="T16" fmla="*/ 26 w 52"/>
                <a:gd name="T17" fmla="*/ 49 h 52"/>
                <a:gd name="T18" fmla="*/ 49 w 52"/>
                <a:gd name="T19" fmla="*/ 51 h 52"/>
                <a:gd name="T20" fmla="*/ 49 w 52"/>
                <a:gd name="T21" fmla="*/ 51 h 52"/>
                <a:gd name="T22" fmla="*/ 50 w 52"/>
                <a:gd name="T23" fmla="*/ 52 h 52"/>
                <a:gd name="T24" fmla="*/ 52 w 52"/>
                <a:gd name="T25" fmla="*/ 50 h 52"/>
                <a:gd name="T26" fmla="*/ 52 w 52"/>
                <a:gd name="T27" fmla="*/ 50 h 52"/>
                <a:gd name="T28" fmla="*/ 51 w 52"/>
                <a:gd name="T29" fmla="*/ 47 h 52"/>
                <a:gd name="T30" fmla="*/ 32 w 52"/>
                <a:gd name="T31" fmla="*/ 7 h 52"/>
                <a:gd name="T32" fmla="*/ 27 w 52"/>
                <a:gd name="T33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52">
                  <a:moveTo>
                    <a:pt x="27" y="2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7"/>
                    <a:pt x="24" y="49"/>
                    <a:pt x="26" y="49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50"/>
                    <a:pt x="52" y="49"/>
                    <a:pt x="51" y="4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5"/>
                    <a:pt x="29" y="3"/>
                    <a:pt x="27" y="2"/>
                  </a:cubicBezTo>
                  <a:close/>
                </a:path>
              </a:pathLst>
            </a:custGeom>
            <a:solidFill>
              <a:srgbClr val="D29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7" name="任意多边形: 形状 636"/>
            <p:cNvSpPr/>
            <p:nvPr userDrawn="1"/>
          </p:nvSpPr>
          <p:spPr bwMode="auto">
            <a:xfrm>
              <a:off x="6614983" y="2716212"/>
              <a:ext cx="171450" cy="168275"/>
            </a:xfrm>
            <a:custGeom>
              <a:avLst/>
              <a:gdLst>
                <a:gd name="T0" fmla="*/ 49 w 52"/>
                <a:gd name="T1" fmla="*/ 51 h 51"/>
                <a:gd name="T2" fmla="*/ 26 w 52"/>
                <a:gd name="T3" fmla="*/ 49 h 51"/>
                <a:gd name="T4" fmla="*/ 20 w 52"/>
                <a:gd name="T5" fmla="*/ 44 h 51"/>
                <a:gd name="T6" fmla="*/ 1 w 52"/>
                <a:gd name="T7" fmla="*/ 4 h 51"/>
                <a:gd name="T8" fmla="*/ 3 w 52"/>
                <a:gd name="T9" fmla="*/ 0 h 51"/>
                <a:gd name="T10" fmla="*/ 26 w 52"/>
                <a:gd name="T11" fmla="*/ 2 h 51"/>
                <a:gd name="T12" fmla="*/ 32 w 52"/>
                <a:gd name="T13" fmla="*/ 6 h 51"/>
                <a:gd name="T14" fmla="*/ 51 w 52"/>
                <a:gd name="T15" fmla="*/ 47 h 51"/>
                <a:gd name="T16" fmla="*/ 49 w 52"/>
                <a:gd name="T1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1">
                  <a:moveTo>
                    <a:pt x="49" y="51"/>
                  </a:moveTo>
                  <a:cubicBezTo>
                    <a:pt x="26" y="49"/>
                    <a:pt x="26" y="49"/>
                    <a:pt x="26" y="49"/>
                  </a:cubicBezTo>
                  <a:cubicBezTo>
                    <a:pt x="24" y="49"/>
                    <a:pt x="21" y="47"/>
                    <a:pt x="20" y="4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2"/>
                    <a:pt x="31" y="4"/>
                    <a:pt x="32" y="6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2" y="49"/>
                    <a:pt x="52" y="51"/>
                    <a:pt x="49" y="51"/>
                  </a:cubicBezTo>
                  <a:close/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8" name="任意多边形: 形状 637"/>
            <p:cNvSpPr/>
            <p:nvPr userDrawn="1"/>
          </p:nvSpPr>
          <p:spPr bwMode="auto">
            <a:xfrm>
              <a:off x="6661021" y="2765425"/>
              <a:ext cx="207963" cy="287338"/>
            </a:xfrm>
            <a:custGeom>
              <a:avLst/>
              <a:gdLst>
                <a:gd name="T0" fmla="*/ 16 w 63"/>
                <a:gd name="T1" fmla="*/ 0 h 87"/>
                <a:gd name="T2" fmla="*/ 13 w 63"/>
                <a:gd name="T3" fmla="*/ 1 h 87"/>
                <a:gd name="T4" fmla="*/ 10 w 63"/>
                <a:gd name="T5" fmla="*/ 4 h 87"/>
                <a:gd name="T6" fmla="*/ 10 w 63"/>
                <a:gd name="T7" fmla="*/ 4 h 87"/>
                <a:gd name="T8" fmla="*/ 3 w 63"/>
                <a:gd name="T9" fmla="*/ 15 h 87"/>
                <a:gd name="T10" fmla="*/ 9 w 63"/>
                <a:gd name="T11" fmla="*/ 44 h 87"/>
                <a:gd name="T12" fmla="*/ 9 w 63"/>
                <a:gd name="T13" fmla="*/ 44 h 87"/>
                <a:gd name="T14" fmla="*/ 26 w 63"/>
                <a:gd name="T15" fmla="*/ 70 h 87"/>
                <a:gd name="T16" fmla="*/ 37 w 63"/>
                <a:gd name="T17" fmla="*/ 80 h 87"/>
                <a:gd name="T18" fmla="*/ 40 w 63"/>
                <a:gd name="T19" fmla="*/ 82 h 87"/>
                <a:gd name="T20" fmla="*/ 59 w 63"/>
                <a:gd name="T21" fmla="*/ 47 h 87"/>
                <a:gd name="T22" fmla="*/ 59 w 63"/>
                <a:gd name="T23" fmla="*/ 25 h 87"/>
                <a:gd name="T24" fmla="*/ 55 w 63"/>
                <a:gd name="T25" fmla="*/ 8 h 87"/>
                <a:gd name="T26" fmla="*/ 53 w 63"/>
                <a:gd name="T27" fmla="*/ 0 h 87"/>
                <a:gd name="T28" fmla="*/ 47 w 63"/>
                <a:gd name="T29" fmla="*/ 17 h 87"/>
                <a:gd name="T30" fmla="*/ 44 w 63"/>
                <a:gd name="T31" fmla="*/ 35 h 87"/>
                <a:gd name="T32" fmla="*/ 38 w 63"/>
                <a:gd name="T33" fmla="*/ 57 h 87"/>
                <a:gd name="T34" fmla="*/ 24 w 63"/>
                <a:gd name="T35" fmla="*/ 38 h 87"/>
                <a:gd name="T36" fmla="*/ 23 w 63"/>
                <a:gd name="T37" fmla="*/ 36 h 87"/>
                <a:gd name="T38" fmla="*/ 23 w 63"/>
                <a:gd name="T39" fmla="*/ 32 h 87"/>
                <a:gd name="T40" fmla="*/ 23 w 63"/>
                <a:gd name="T41" fmla="*/ 15 h 87"/>
                <a:gd name="T42" fmla="*/ 16 w 63"/>
                <a:gd name="T4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87">
                  <a:moveTo>
                    <a:pt x="16" y="0"/>
                  </a:moveTo>
                  <a:cubicBezTo>
                    <a:pt x="15" y="0"/>
                    <a:pt x="14" y="0"/>
                    <a:pt x="13" y="1"/>
                  </a:cubicBezTo>
                  <a:cubicBezTo>
                    <a:pt x="12" y="1"/>
                    <a:pt x="11" y="3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8" y="7"/>
                    <a:pt x="5" y="12"/>
                    <a:pt x="3" y="15"/>
                  </a:cubicBezTo>
                  <a:cubicBezTo>
                    <a:pt x="0" y="23"/>
                    <a:pt x="6" y="40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3" y="57"/>
                    <a:pt x="9" y="55"/>
                    <a:pt x="26" y="70"/>
                  </a:cubicBezTo>
                  <a:cubicBezTo>
                    <a:pt x="29" y="73"/>
                    <a:pt x="32" y="77"/>
                    <a:pt x="37" y="80"/>
                  </a:cubicBezTo>
                  <a:cubicBezTo>
                    <a:pt x="39" y="80"/>
                    <a:pt x="39" y="81"/>
                    <a:pt x="40" y="82"/>
                  </a:cubicBezTo>
                  <a:cubicBezTo>
                    <a:pt x="51" y="87"/>
                    <a:pt x="57" y="58"/>
                    <a:pt x="59" y="47"/>
                  </a:cubicBezTo>
                  <a:cubicBezTo>
                    <a:pt x="61" y="34"/>
                    <a:pt x="63" y="33"/>
                    <a:pt x="59" y="25"/>
                  </a:cubicBezTo>
                  <a:cubicBezTo>
                    <a:pt x="57" y="22"/>
                    <a:pt x="56" y="12"/>
                    <a:pt x="55" y="8"/>
                  </a:cubicBezTo>
                  <a:cubicBezTo>
                    <a:pt x="54" y="3"/>
                    <a:pt x="55" y="0"/>
                    <a:pt x="53" y="0"/>
                  </a:cubicBezTo>
                  <a:cubicBezTo>
                    <a:pt x="49" y="0"/>
                    <a:pt x="48" y="13"/>
                    <a:pt x="47" y="17"/>
                  </a:cubicBezTo>
                  <a:cubicBezTo>
                    <a:pt x="47" y="26"/>
                    <a:pt x="45" y="32"/>
                    <a:pt x="44" y="35"/>
                  </a:cubicBezTo>
                  <a:cubicBezTo>
                    <a:pt x="43" y="40"/>
                    <a:pt x="41" y="52"/>
                    <a:pt x="38" y="57"/>
                  </a:cubicBezTo>
                  <a:cubicBezTo>
                    <a:pt x="36" y="55"/>
                    <a:pt x="24" y="39"/>
                    <a:pt x="24" y="38"/>
                  </a:cubicBezTo>
                  <a:cubicBezTo>
                    <a:pt x="24" y="38"/>
                    <a:pt x="23" y="36"/>
                    <a:pt x="23" y="36"/>
                  </a:cubicBezTo>
                  <a:cubicBezTo>
                    <a:pt x="23" y="36"/>
                    <a:pt x="23" y="32"/>
                    <a:pt x="23" y="32"/>
                  </a:cubicBezTo>
                  <a:cubicBezTo>
                    <a:pt x="24" y="17"/>
                    <a:pt x="23" y="25"/>
                    <a:pt x="23" y="15"/>
                  </a:cubicBezTo>
                  <a:cubicBezTo>
                    <a:pt x="23" y="8"/>
                    <a:pt x="24" y="0"/>
                    <a:pt x="16" y="0"/>
                  </a:cubicBezTo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9" name="任意多边形: 形状 638"/>
            <p:cNvSpPr/>
            <p:nvPr userDrawn="1"/>
          </p:nvSpPr>
          <p:spPr bwMode="auto">
            <a:xfrm>
              <a:off x="6795958" y="2643187"/>
              <a:ext cx="415925" cy="449263"/>
            </a:xfrm>
            <a:custGeom>
              <a:avLst/>
              <a:gdLst>
                <a:gd name="T0" fmla="*/ 28 w 126"/>
                <a:gd name="T1" fmla="*/ 0 h 136"/>
                <a:gd name="T2" fmla="*/ 6 w 126"/>
                <a:gd name="T3" fmla="*/ 26 h 136"/>
                <a:gd name="T4" fmla="*/ 6 w 126"/>
                <a:gd name="T5" fmla="*/ 26 h 136"/>
                <a:gd name="T6" fmla="*/ 2 w 126"/>
                <a:gd name="T7" fmla="*/ 41 h 136"/>
                <a:gd name="T8" fmla="*/ 2 w 126"/>
                <a:gd name="T9" fmla="*/ 50 h 136"/>
                <a:gd name="T10" fmla="*/ 14 w 126"/>
                <a:gd name="T11" fmla="*/ 65 h 136"/>
                <a:gd name="T12" fmla="*/ 15 w 126"/>
                <a:gd name="T13" fmla="*/ 80 h 136"/>
                <a:gd name="T14" fmla="*/ 14 w 126"/>
                <a:gd name="T15" fmla="*/ 97 h 136"/>
                <a:gd name="T16" fmla="*/ 14 w 126"/>
                <a:gd name="T17" fmla="*/ 97 h 136"/>
                <a:gd name="T18" fmla="*/ 27 w 126"/>
                <a:gd name="T19" fmla="*/ 121 h 136"/>
                <a:gd name="T20" fmla="*/ 30 w 126"/>
                <a:gd name="T21" fmla="*/ 123 h 136"/>
                <a:gd name="T22" fmla="*/ 35 w 126"/>
                <a:gd name="T23" fmla="*/ 127 h 136"/>
                <a:gd name="T24" fmla="*/ 55 w 126"/>
                <a:gd name="T25" fmla="*/ 135 h 136"/>
                <a:gd name="T26" fmla="*/ 94 w 126"/>
                <a:gd name="T27" fmla="*/ 133 h 136"/>
                <a:gd name="T28" fmla="*/ 99 w 126"/>
                <a:gd name="T29" fmla="*/ 110 h 136"/>
                <a:gd name="T30" fmla="*/ 99 w 126"/>
                <a:gd name="T31" fmla="*/ 96 h 136"/>
                <a:gd name="T32" fmla="*/ 123 w 126"/>
                <a:gd name="T33" fmla="*/ 97 h 136"/>
                <a:gd name="T34" fmla="*/ 125 w 126"/>
                <a:gd name="T35" fmla="*/ 65 h 136"/>
                <a:gd name="T36" fmla="*/ 123 w 126"/>
                <a:gd name="T37" fmla="*/ 54 h 136"/>
                <a:gd name="T38" fmla="*/ 113 w 126"/>
                <a:gd name="T39" fmla="*/ 34 h 136"/>
                <a:gd name="T40" fmla="*/ 109 w 126"/>
                <a:gd name="T41" fmla="*/ 32 h 136"/>
                <a:gd name="T42" fmla="*/ 103 w 126"/>
                <a:gd name="T43" fmla="*/ 29 h 136"/>
                <a:gd name="T44" fmla="*/ 90 w 126"/>
                <a:gd name="T45" fmla="*/ 24 h 136"/>
                <a:gd name="T46" fmla="*/ 82 w 126"/>
                <a:gd name="T47" fmla="*/ 18 h 136"/>
                <a:gd name="T48" fmla="*/ 75 w 126"/>
                <a:gd name="T49" fmla="*/ 16 h 136"/>
                <a:gd name="T50" fmla="*/ 56 w 126"/>
                <a:gd name="T51" fmla="*/ 23 h 136"/>
                <a:gd name="T52" fmla="*/ 47 w 126"/>
                <a:gd name="T53" fmla="*/ 14 h 136"/>
                <a:gd name="T54" fmla="*/ 43 w 126"/>
                <a:gd name="T55" fmla="*/ 5 h 136"/>
                <a:gd name="T56" fmla="*/ 42 w 126"/>
                <a:gd name="T57" fmla="*/ 4 h 136"/>
                <a:gd name="T58" fmla="*/ 28 w 126"/>
                <a:gd name="T59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6" h="136">
                  <a:moveTo>
                    <a:pt x="28" y="0"/>
                  </a:moveTo>
                  <a:cubicBezTo>
                    <a:pt x="9" y="0"/>
                    <a:pt x="9" y="18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31"/>
                    <a:pt x="2" y="38"/>
                    <a:pt x="2" y="41"/>
                  </a:cubicBezTo>
                  <a:cubicBezTo>
                    <a:pt x="1" y="44"/>
                    <a:pt x="0" y="48"/>
                    <a:pt x="2" y="50"/>
                  </a:cubicBezTo>
                  <a:cubicBezTo>
                    <a:pt x="7" y="54"/>
                    <a:pt x="9" y="49"/>
                    <a:pt x="14" y="65"/>
                  </a:cubicBezTo>
                  <a:cubicBezTo>
                    <a:pt x="15" y="71"/>
                    <a:pt x="15" y="69"/>
                    <a:pt x="15" y="80"/>
                  </a:cubicBezTo>
                  <a:cubicBezTo>
                    <a:pt x="15" y="86"/>
                    <a:pt x="15" y="89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1" y="115"/>
                    <a:pt x="9" y="108"/>
                    <a:pt x="27" y="121"/>
                  </a:cubicBezTo>
                  <a:cubicBezTo>
                    <a:pt x="28" y="122"/>
                    <a:pt x="29" y="122"/>
                    <a:pt x="30" y="123"/>
                  </a:cubicBezTo>
                  <a:cubicBezTo>
                    <a:pt x="32" y="125"/>
                    <a:pt x="32" y="125"/>
                    <a:pt x="35" y="127"/>
                  </a:cubicBezTo>
                  <a:cubicBezTo>
                    <a:pt x="46" y="134"/>
                    <a:pt x="44" y="134"/>
                    <a:pt x="55" y="135"/>
                  </a:cubicBezTo>
                  <a:cubicBezTo>
                    <a:pt x="58" y="136"/>
                    <a:pt x="85" y="135"/>
                    <a:pt x="94" y="133"/>
                  </a:cubicBezTo>
                  <a:cubicBezTo>
                    <a:pt x="100" y="132"/>
                    <a:pt x="97" y="125"/>
                    <a:pt x="99" y="110"/>
                  </a:cubicBezTo>
                  <a:cubicBezTo>
                    <a:pt x="99" y="110"/>
                    <a:pt x="99" y="99"/>
                    <a:pt x="99" y="96"/>
                  </a:cubicBezTo>
                  <a:cubicBezTo>
                    <a:pt x="114" y="99"/>
                    <a:pt x="120" y="100"/>
                    <a:pt x="123" y="97"/>
                  </a:cubicBezTo>
                  <a:cubicBezTo>
                    <a:pt x="123" y="96"/>
                    <a:pt x="126" y="74"/>
                    <a:pt x="125" y="65"/>
                  </a:cubicBezTo>
                  <a:cubicBezTo>
                    <a:pt x="125" y="63"/>
                    <a:pt x="123" y="53"/>
                    <a:pt x="123" y="54"/>
                  </a:cubicBezTo>
                  <a:cubicBezTo>
                    <a:pt x="122" y="47"/>
                    <a:pt x="119" y="37"/>
                    <a:pt x="113" y="34"/>
                  </a:cubicBezTo>
                  <a:cubicBezTo>
                    <a:pt x="112" y="33"/>
                    <a:pt x="108" y="32"/>
                    <a:pt x="109" y="32"/>
                  </a:cubicBezTo>
                  <a:cubicBezTo>
                    <a:pt x="107" y="31"/>
                    <a:pt x="108" y="31"/>
                    <a:pt x="103" y="29"/>
                  </a:cubicBezTo>
                  <a:cubicBezTo>
                    <a:pt x="96" y="26"/>
                    <a:pt x="95" y="27"/>
                    <a:pt x="90" y="24"/>
                  </a:cubicBezTo>
                  <a:cubicBezTo>
                    <a:pt x="85" y="20"/>
                    <a:pt x="85" y="20"/>
                    <a:pt x="82" y="18"/>
                  </a:cubicBezTo>
                  <a:cubicBezTo>
                    <a:pt x="81" y="18"/>
                    <a:pt x="78" y="16"/>
                    <a:pt x="75" y="16"/>
                  </a:cubicBezTo>
                  <a:cubicBezTo>
                    <a:pt x="69" y="16"/>
                    <a:pt x="72" y="25"/>
                    <a:pt x="56" y="23"/>
                  </a:cubicBezTo>
                  <a:cubicBezTo>
                    <a:pt x="51" y="22"/>
                    <a:pt x="48" y="19"/>
                    <a:pt x="47" y="14"/>
                  </a:cubicBezTo>
                  <a:cubicBezTo>
                    <a:pt x="50" y="11"/>
                    <a:pt x="48" y="6"/>
                    <a:pt x="43" y="5"/>
                  </a:cubicBezTo>
                  <a:cubicBezTo>
                    <a:pt x="43" y="5"/>
                    <a:pt x="42" y="4"/>
                    <a:pt x="42" y="4"/>
                  </a:cubicBezTo>
                  <a:cubicBezTo>
                    <a:pt x="37" y="1"/>
                    <a:pt x="30" y="0"/>
                    <a:pt x="28" y="0"/>
                  </a:cubicBezTo>
                </a:path>
              </a:pathLst>
            </a:custGeom>
            <a:solidFill>
              <a:srgbClr val="68AB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0" name="任意多边形: 形状 639"/>
            <p:cNvSpPr/>
            <p:nvPr userDrawn="1"/>
          </p:nvSpPr>
          <p:spPr bwMode="auto">
            <a:xfrm>
              <a:off x="6841996" y="2465387"/>
              <a:ext cx="173038" cy="247650"/>
            </a:xfrm>
            <a:custGeom>
              <a:avLst/>
              <a:gdLst>
                <a:gd name="T0" fmla="*/ 24 w 52"/>
                <a:gd name="T1" fmla="*/ 0 h 75"/>
                <a:gd name="T2" fmla="*/ 13 w 52"/>
                <a:gd name="T3" fmla="*/ 4 h 75"/>
                <a:gd name="T4" fmla="*/ 4 w 52"/>
                <a:gd name="T5" fmla="*/ 39 h 75"/>
                <a:gd name="T6" fmla="*/ 26 w 52"/>
                <a:gd name="T7" fmla="*/ 75 h 75"/>
                <a:gd name="T8" fmla="*/ 42 w 52"/>
                <a:gd name="T9" fmla="*/ 57 h 75"/>
                <a:gd name="T10" fmla="*/ 44 w 52"/>
                <a:gd name="T11" fmla="*/ 14 h 75"/>
                <a:gd name="T12" fmla="*/ 29 w 52"/>
                <a:gd name="T13" fmla="*/ 1 h 75"/>
                <a:gd name="T14" fmla="*/ 24 w 52"/>
                <a:gd name="T1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75">
                  <a:moveTo>
                    <a:pt x="24" y="0"/>
                  </a:moveTo>
                  <a:cubicBezTo>
                    <a:pt x="21" y="0"/>
                    <a:pt x="18" y="1"/>
                    <a:pt x="13" y="4"/>
                  </a:cubicBezTo>
                  <a:cubicBezTo>
                    <a:pt x="1" y="9"/>
                    <a:pt x="0" y="28"/>
                    <a:pt x="4" y="39"/>
                  </a:cubicBezTo>
                  <a:cubicBezTo>
                    <a:pt x="7" y="47"/>
                    <a:pt x="17" y="75"/>
                    <a:pt x="26" y="75"/>
                  </a:cubicBezTo>
                  <a:cubicBezTo>
                    <a:pt x="33" y="75"/>
                    <a:pt x="40" y="65"/>
                    <a:pt x="42" y="57"/>
                  </a:cubicBezTo>
                  <a:cubicBezTo>
                    <a:pt x="45" y="47"/>
                    <a:pt x="52" y="31"/>
                    <a:pt x="44" y="14"/>
                  </a:cubicBezTo>
                  <a:cubicBezTo>
                    <a:pt x="42" y="10"/>
                    <a:pt x="34" y="2"/>
                    <a:pt x="29" y="1"/>
                  </a:cubicBezTo>
                  <a:cubicBezTo>
                    <a:pt x="27" y="0"/>
                    <a:pt x="25" y="0"/>
                    <a:pt x="24" y="0"/>
                  </a:cubicBezTo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1" name="任意多边形: 形状 640"/>
            <p:cNvSpPr/>
            <p:nvPr userDrawn="1"/>
          </p:nvSpPr>
          <p:spPr bwMode="auto">
            <a:xfrm>
              <a:off x="6826121" y="2406650"/>
              <a:ext cx="241300" cy="257175"/>
            </a:xfrm>
            <a:custGeom>
              <a:avLst/>
              <a:gdLst>
                <a:gd name="T0" fmla="*/ 35 w 73"/>
                <a:gd name="T1" fmla="*/ 0 h 78"/>
                <a:gd name="T2" fmla="*/ 27 w 73"/>
                <a:gd name="T3" fmla="*/ 1 h 78"/>
                <a:gd name="T4" fmla="*/ 11 w 73"/>
                <a:gd name="T5" fmla="*/ 11 h 78"/>
                <a:gd name="T6" fmla="*/ 5 w 73"/>
                <a:gd name="T7" fmla="*/ 35 h 78"/>
                <a:gd name="T8" fmla="*/ 23 w 73"/>
                <a:gd name="T9" fmla="*/ 35 h 78"/>
                <a:gd name="T10" fmla="*/ 23 w 73"/>
                <a:gd name="T11" fmla="*/ 35 h 78"/>
                <a:gd name="T12" fmla="*/ 27 w 73"/>
                <a:gd name="T13" fmla="*/ 34 h 78"/>
                <a:gd name="T14" fmla="*/ 44 w 73"/>
                <a:gd name="T15" fmla="*/ 51 h 78"/>
                <a:gd name="T16" fmla="*/ 45 w 73"/>
                <a:gd name="T17" fmla="*/ 65 h 78"/>
                <a:gd name="T18" fmla="*/ 56 w 73"/>
                <a:gd name="T19" fmla="*/ 72 h 78"/>
                <a:gd name="T20" fmla="*/ 59 w 73"/>
                <a:gd name="T21" fmla="*/ 68 h 78"/>
                <a:gd name="T22" fmla="*/ 59 w 73"/>
                <a:gd name="T23" fmla="*/ 69 h 78"/>
                <a:gd name="T24" fmla="*/ 58 w 73"/>
                <a:gd name="T25" fmla="*/ 10 h 78"/>
                <a:gd name="T26" fmla="*/ 42 w 73"/>
                <a:gd name="T27" fmla="*/ 1 h 78"/>
                <a:gd name="T28" fmla="*/ 35 w 73"/>
                <a:gd name="T29" fmla="*/ 0 h 78"/>
                <a:gd name="T30" fmla="*/ 35 w 73"/>
                <a:gd name="T3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3" h="78">
                  <a:moveTo>
                    <a:pt x="35" y="0"/>
                  </a:moveTo>
                  <a:cubicBezTo>
                    <a:pt x="33" y="0"/>
                    <a:pt x="28" y="1"/>
                    <a:pt x="27" y="1"/>
                  </a:cubicBezTo>
                  <a:cubicBezTo>
                    <a:pt x="17" y="1"/>
                    <a:pt x="17" y="5"/>
                    <a:pt x="11" y="11"/>
                  </a:cubicBezTo>
                  <a:cubicBezTo>
                    <a:pt x="4" y="18"/>
                    <a:pt x="0" y="31"/>
                    <a:pt x="5" y="35"/>
                  </a:cubicBezTo>
                  <a:cubicBezTo>
                    <a:pt x="10" y="38"/>
                    <a:pt x="13" y="36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5" y="34"/>
                    <a:pt x="25" y="34"/>
                    <a:pt x="27" y="34"/>
                  </a:cubicBezTo>
                  <a:cubicBezTo>
                    <a:pt x="35" y="34"/>
                    <a:pt x="42" y="40"/>
                    <a:pt x="44" y="51"/>
                  </a:cubicBezTo>
                  <a:cubicBezTo>
                    <a:pt x="45" y="55"/>
                    <a:pt x="45" y="62"/>
                    <a:pt x="45" y="65"/>
                  </a:cubicBezTo>
                  <a:cubicBezTo>
                    <a:pt x="45" y="76"/>
                    <a:pt x="51" y="78"/>
                    <a:pt x="56" y="72"/>
                  </a:cubicBezTo>
                  <a:cubicBezTo>
                    <a:pt x="57" y="71"/>
                    <a:pt x="58" y="70"/>
                    <a:pt x="59" y="68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69" y="56"/>
                    <a:pt x="73" y="27"/>
                    <a:pt x="58" y="10"/>
                  </a:cubicBezTo>
                  <a:cubicBezTo>
                    <a:pt x="50" y="3"/>
                    <a:pt x="53" y="5"/>
                    <a:pt x="42" y="1"/>
                  </a:cubicBezTo>
                  <a:cubicBezTo>
                    <a:pt x="40" y="0"/>
                    <a:pt x="37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</a:path>
              </a:pathLst>
            </a:custGeom>
            <a:solidFill>
              <a:srgbClr val="2F54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2" name="任意多边形: 形状 641"/>
            <p:cNvSpPr/>
            <p:nvPr userDrawn="1"/>
          </p:nvSpPr>
          <p:spPr bwMode="auto">
            <a:xfrm>
              <a:off x="6954708" y="2560637"/>
              <a:ext cx="52388" cy="73025"/>
            </a:xfrm>
            <a:custGeom>
              <a:avLst/>
              <a:gdLst>
                <a:gd name="T0" fmla="*/ 9 w 16"/>
                <a:gd name="T1" fmla="*/ 0 h 22"/>
                <a:gd name="T2" fmla="*/ 5 w 16"/>
                <a:gd name="T3" fmla="*/ 3 h 22"/>
                <a:gd name="T4" fmla="*/ 2 w 16"/>
                <a:gd name="T5" fmla="*/ 7 h 22"/>
                <a:gd name="T6" fmla="*/ 2 w 16"/>
                <a:gd name="T7" fmla="*/ 12 h 22"/>
                <a:gd name="T8" fmla="*/ 3 w 16"/>
                <a:gd name="T9" fmla="*/ 14 h 22"/>
                <a:gd name="T10" fmla="*/ 8 w 16"/>
                <a:gd name="T11" fmla="*/ 20 h 22"/>
                <a:gd name="T12" fmla="*/ 15 w 16"/>
                <a:gd name="T13" fmla="*/ 5 h 22"/>
                <a:gd name="T14" fmla="*/ 9 w 16"/>
                <a:gd name="T15" fmla="*/ 0 h 22"/>
                <a:gd name="T16" fmla="*/ 15 w 16"/>
                <a:gd name="T17" fmla="*/ 7 h 22"/>
                <a:gd name="T18" fmla="*/ 15 w 16"/>
                <a:gd name="T1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2">
                  <a:moveTo>
                    <a:pt x="9" y="0"/>
                  </a:moveTo>
                  <a:cubicBezTo>
                    <a:pt x="7" y="0"/>
                    <a:pt x="6" y="2"/>
                    <a:pt x="5" y="3"/>
                  </a:cubicBezTo>
                  <a:cubicBezTo>
                    <a:pt x="3" y="4"/>
                    <a:pt x="3" y="6"/>
                    <a:pt x="2" y="7"/>
                  </a:cubicBezTo>
                  <a:cubicBezTo>
                    <a:pt x="2" y="9"/>
                    <a:pt x="1" y="11"/>
                    <a:pt x="2" y="12"/>
                  </a:cubicBezTo>
                  <a:cubicBezTo>
                    <a:pt x="3" y="14"/>
                    <a:pt x="3" y="12"/>
                    <a:pt x="3" y="14"/>
                  </a:cubicBezTo>
                  <a:cubicBezTo>
                    <a:pt x="0" y="18"/>
                    <a:pt x="5" y="22"/>
                    <a:pt x="8" y="20"/>
                  </a:cubicBezTo>
                  <a:cubicBezTo>
                    <a:pt x="13" y="17"/>
                    <a:pt x="16" y="7"/>
                    <a:pt x="15" y="5"/>
                  </a:cubicBezTo>
                  <a:cubicBezTo>
                    <a:pt x="14" y="1"/>
                    <a:pt x="11" y="0"/>
                    <a:pt x="9" y="0"/>
                  </a:cubicBezTo>
                  <a:moveTo>
                    <a:pt x="15" y="7"/>
                  </a:moveTo>
                  <a:cubicBezTo>
                    <a:pt x="15" y="8"/>
                    <a:pt x="15" y="8"/>
                    <a:pt x="15" y="7"/>
                  </a:cubicBezTo>
                </a:path>
              </a:pathLst>
            </a:custGeom>
            <a:solidFill>
              <a:srgbClr val="F5DB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slideLayout" Target="../slideLayouts/slideLayout1.xml"/><Relationship Id="rId3" Type="http://schemas.openxmlformats.org/officeDocument/2006/relationships/themeOverride" Target="../theme/themeOverride1.xml"/><Relationship Id="rId2" Type="http://schemas.openxmlformats.org/officeDocument/2006/relationships/image" Target="../media/image1.emf"/><Relationship Id="rId1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2.jpeg"/><Relationship Id="rId2" Type="http://schemas.openxmlformats.org/officeDocument/2006/relationships/image" Target="../media/image8.jpeg"/><Relationship Id="rId1" Type="http://schemas.openxmlformats.org/officeDocument/2006/relationships/image" Target="../media/image7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8" Type="http://schemas.openxmlformats.org/officeDocument/2006/relationships/slideLayout" Target="../slideLayouts/slideLayout5.xml"/><Relationship Id="rId17" Type="http://schemas.openxmlformats.org/officeDocument/2006/relationships/themeOverride" Target="../theme/themeOverride2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10.jpeg"/><Relationship Id="rId1" Type="http://schemas.openxmlformats.org/officeDocument/2006/relationships/image" Target="../media/image7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1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2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6.xml"/><Relationship Id="rId3" Type="http://schemas.openxmlformats.org/officeDocument/2006/relationships/themeOverride" Target="../theme/themeOverride3.xml"/><Relationship Id="rId2" Type="http://schemas.openxmlformats.org/officeDocument/2006/relationships/image" Target="../media/image1.emf"/><Relationship Id="rId1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970643" y="4548327"/>
            <a:ext cx="4551432" cy="558799"/>
          </a:xfrm>
        </p:spPr>
        <p:txBody>
          <a:bodyPr>
            <a:normAutofit lnSpcReduction="10000"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XX</a:t>
            </a:r>
            <a:r>
              <a:rPr lang="zh-CN" altLang="en-US" sz="2400" dirty="0">
                <a:cs typeface="+mn-ea"/>
                <a:sym typeface="+mn-lt"/>
              </a:rPr>
              <a:t>年级</a:t>
            </a:r>
            <a:r>
              <a:rPr lang="en-US" altLang="zh-CN" sz="2400" dirty="0">
                <a:cs typeface="+mn-ea"/>
                <a:sym typeface="+mn-lt"/>
              </a:rPr>
              <a:t>XX</a:t>
            </a:r>
            <a:r>
              <a:rPr lang="zh-CN" altLang="en-US" sz="2400" dirty="0">
                <a:cs typeface="+mn-ea"/>
                <a:sym typeface="+mn-lt"/>
              </a:rPr>
              <a:t>专业</a:t>
            </a:r>
            <a:r>
              <a:rPr lang="en-US" altLang="zh-CN" sz="2400" dirty="0">
                <a:cs typeface="+mn-ea"/>
                <a:sym typeface="+mn-lt"/>
              </a:rPr>
              <a:t>20XX</a:t>
            </a:r>
            <a:r>
              <a:rPr lang="zh-CN" altLang="en-US" sz="2400" dirty="0">
                <a:cs typeface="+mn-ea"/>
                <a:sym typeface="+mn-lt"/>
              </a:rPr>
              <a:t>毕业答辩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134617" y="1674132"/>
            <a:ext cx="6387458" cy="2819579"/>
          </a:xfrm>
          <a:ln>
            <a:noFill/>
          </a:ln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4400" b="0" dirty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数据存储与管理</a:t>
            </a:r>
            <a:br>
              <a:rPr lang="en-US" altLang="zh-CN" sz="60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6000" dirty="0">
                <a:latin typeface="+mn-lt"/>
                <a:ea typeface="+mn-ea"/>
                <a:cs typeface="+mn-ea"/>
                <a:sym typeface="+mn-lt"/>
              </a:rPr>
              <a:t>期末答辩</a:t>
            </a:r>
            <a:r>
              <a:rPr lang="zh-CN" altLang="en-US" sz="6000" dirty="0">
                <a:latin typeface="+mn-lt"/>
                <a:ea typeface="+mn-ea"/>
                <a:cs typeface="+mn-ea"/>
                <a:sym typeface="+mn-lt"/>
              </a:rPr>
              <a:t>报告</a:t>
            </a:r>
            <a:br>
              <a:rPr lang="zh-CN" altLang="en-US" sz="6000" dirty="0">
                <a:latin typeface="+mn-lt"/>
                <a:ea typeface="+mn-ea"/>
                <a:cs typeface="+mn-ea"/>
                <a:sym typeface="+mn-lt"/>
              </a:rPr>
            </a:br>
            <a:endParaRPr lang="zh-CN" altLang="en-US" sz="60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5134617" y="5399590"/>
            <a:ext cx="6387458" cy="296271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指导老师：</a:t>
            </a:r>
            <a:r>
              <a:rPr lang="en-US" altLang="zh-CN" dirty="0" err="1">
                <a:cs typeface="+mn-ea"/>
                <a:sym typeface="+mn-lt"/>
              </a:rPr>
              <a:t>OfficePLUS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5134617" y="5695861"/>
            <a:ext cx="6387458" cy="296271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答辩人：</a:t>
            </a:r>
            <a:r>
              <a:rPr lang="en-US" altLang="zh-CN" dirty="0" err="1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25" name="矩形: 圆角 24"/>
          <p:cNvSpPr/>
          <p:nvPr/>
        </p:nvSpPr>
        <p:spPr>
          <a:xfrm>
            <a:off x="10605956" y="1673860"/>
            <a:ext cx="727868" cy="94343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基础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399" y="1575129"/>
            <a:ext cx="10858501" cy="4339562"/>
            <a:chOff x="660399" y="1575129"/>
            <a:chExt cx="10858501" cy="4339562"/>
          </a:xfrm>
        </p:grpSpPr>
        <p:sp>
          <p:nvSpPr>
            <p:cNvPr id="6" name="箭头: 右 5"/>
            <p:cNvSpPr/>
            <p:nvPr/>
          </p:nvSpPr>
          <p:spPr>
            <a:xfrm>
              <a:off x="660400" y="1575129"/>
              <a:ext cx="10295600" cy="2666336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cxnSp>
          <p:nvCxnSpPr>
            <p:cNvPr id="7" name="直接箭头连接符 6"/>
            <p:cNvCxnSpPr/>
            <p:nvPr/>
          </p:nvCxnSpPr>
          <p:spPr>
            <a:xfrm>
              <a:off x="660400" y="4370599"/>
              <a:ext cx="10858500" cy="1980"/>
            </a:xfrm>
            <a:prstGeom prst="straightConnector1">
              <a:avLst/>
            </a:prstGeom>
            <a:noFill/>
            <a:ln w="12700" cap="flat" cmpd="sng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8" name="组合 7"/>
            <p:cNvGrpSpPr/>
            <p:nvPr/>
          </p:nvGrpSpPr>
          <p:grpSpPr>
            <a:xfrm>
              <a:off x="9644847" y="4655325"/>
              <a:ext cx="1874052" cy="1259366"/>
              <a:chOff x="1163789" y="2274621"/>
              <a:chExt cx="1436954" cy="1143954"/>
            </a:xfrm>
          </p:grpSpPr>
          <p:sp>
            <p:nvSpPr>
              <p:cNvPr id="46" name="矩形 45"/>
              <p:cNvSpPr/>
              <p:nvPr/>
            </p:nvSpPr>
            <p:spPr bwMode="auto">
              <a:xfrm>
                <a:off x="1163789" y="2716427"/>
                <a:ext cx="1436954" cy="7021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47" name="文本框 46"/>
              <p:cNvSpPr txBox="1"/>
              <p:nvPr/>
            </p:nvSpPr>
            <p:spPr bwMode="auto">
              <a:xfrm>
                <a:off x="1163789" y="2274621"/>
                <a:ext cx="143695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研究基础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9" name="矩形: 圆角 8"/>
            <p:cNvSpPr/>
            <p:nvPr/>
          </p:nvSpPr>
          <p:spPr>
            <a:xfrm>
              <a:off x="9694480" y="2375029"/>
              <a:ext cx="1774785" cy="1066533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9750947" y="2985131"/>
              <a:ext cx="1661851" cy="3475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ctr" rtl="0">
                <a:buSzPct val="25000"/>
                <a:buNone/>
              </a:pPr>
              <a:r>
                <a:rPr lang="en-US" altLang="zh-CN" sz="1200" b="1" i="1" u="none" strike="noStrike" cap="none" baseline="0" dirty="0">
                  <a:solidFill>
                    <a:schemeClr val="lt1"/>
                  </a:solidFill>
                  <a:cs typeface="+mn-ea"/>
                  <a:sym typeface="+mn-lt"/>
                </a:rPr>
                <a:t>Text</a:t>
              </a:r>
              <a:endParaRPr lang="zh-CN" altLang="en-US" sz="1200" b="1" i="1" u="none" strike="noStrike" cap="none" baseline="0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>
            <a:xfrm>
              <a:off x="10581872" y="3461767"/>
              <a:ext cx="0" cy="908831"/>
            </a:xfrm>
            <a:prstGeom prst="straightConnector1">
              <a:avLst/>
            </a:prstGeom>
            <a:noFill/>
            <a:ln w="9525" cap="flat" cmpd="sng">
              <a:solidFill>
                <a:schemeClr val="accent2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12" name="椭圆 11"/>
            <p:cNvSpPr/>
            <p:nvPr/>
          </p:nvSpPr>
          <p:spPr>
            <a:xfrm>
              <a:off x="10525632" y="4314357"/>
              <a:ext cx="112482" cy="11248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7445812" y="4655325"/>
              <a:ext cx="1874052" cy="1259366"/>
              <a:chOff x="1163789" y="2274621"/>
              <a:chExt cx="1436954" cy="1143954"/>
            </a:xfrm>
          </p:grpSpPr>
          <p:sp>
            <p:nvSpPr>
              <p:cNvPr id="44" name="矩形 43"/>
              <p:cNvSpPr/>
              <p:nvPr/>
            </p:nvSpPr>
            <p:spPr bwMode="auto">
              <a:xfrm>
                <a:off x="1163789" y="2716427"/>
                <a:ext cx="1436954" cy="7021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45" name="文本框 44"/>
              <p:cNvSpPr txBox="1"/>
              <p:nvPr/>
            </p:nvSpPr>
            <p:spPr bwMode="auto">
              <a:xfrm>
                <a:off x="1163789" y="2274621"/>
                <a:ext cx="143695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研究基础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14" name="矩形: 圆角 13"/>
            <p:cNvSpPr/>
            <p:nvPr/>
          </p:nvSpPr>
          <p:spPr>
            <a:xfrm>
              <a:off x="7495448" y="2375029"/>
              <a:ext cx="1774785" cy="1066533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/>
            <p:cNvSpPr/>
            <p:nvPr/>
          </p:nvSpPr>
          <p:spPr>
            <a:xfrm>
              <a:off x="10378698" y="2561601"/>
              <a:ext cx="406349" cy="37337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7551915" y="2985131"/>
              <a:ext cx="1661851" cy="3475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ctr" rtl="0">
                <a:buSzPct val="25000"/>
                <a:buNone/>
              </a:pPr>
              <a:r>
                <a:rPr lang="en-US" altLang="zh-CN" sz="1200" b="1" i="1" u="none" strike="noStrike" cap="none" baseline="0" dirty="0">
                  <a:solidFill>
                    <a:schemeClr val="lt1"/>
                  </a:solidFill>
                  <a:cs typeface="+mn-ea"/>
                  <a:sym typeface="+mn-lt"/>
                </a:rPr>
                <a:t>Text</a:t>
              </a:r>
              <a:endParaRPr lang="zh-CN" altLang="en-US" sz="1200" b="1" i="1" u="none" strike="noStrike" cap="none" baseline="0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cxnSp>
          <p:nvCxnSpPr>
            <p:cNvPr id="17" name="直接箭头连接符 16"/>
            <p:cNvCxnSpPr/>
            <p:nvPr/>
          </p:nvCxnSpPr>
          <p:spPr>
            <a:xfrm>
              <a:off x="8335762" y="3461767"/>
              <a:ext cx="0" cy="908831"/>
            </a:xfrm>
            <a:prstGeom prst="straightConnector1">
              <a:avLst/>
            </a:prstGeom>
            <a:noFill/>
            <a:ln w="9525" cap="flat" cmpd="sng">
              <a:solidFill>
                <a:schemeClr val="accent2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18" name="椭圆 17"/>
            <p:cNvSpPr/>
            <p:nvPr/>
          </p:nvSpPr>
          <p:spPr>
            <a:xfrm>
              <a:off x="8279520" y="4314357"/>
              <a:ext cx="112482" cy="11248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19" name="组合 18"/>
            <p:cNvGrpSpPr/>
            <p:nvPr/>
          </p:nvGrpSpPr>
          <p:grpSpPr>
            <a:xfrm>
              <a:off x="2859434" y="4655325"/>
              <a:ext cx="1874052" cy="1259366"/>
              <a:chOff x="1163789" y="2274621"/>
              <a:chExt cx="1436954" cy="1143954"/>
            </a:xfrm>
          </p:grpSpPr>
          <p:sp>
            <p:nvSpPr>
              <p:cNvPr id="42" name="矩形 41"/>
              <p:cNvSpPr/>
              <p:nvPr/>
            </p:nvSpPr>
            <p:spPr bwMode="auto">
              <a:xfrm>
                <a:off x="1163789" y="2716427"/>
                <a:ext cx="1436954" cy="7021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43" name="文本框 42"/>
              <p:cNvSpPr txBox="1"/>
              <p:nvPr/>
            </p:nvSpPr>
            <p:spPr bwMode="auto">
              <a:xfrm>
                <a:off x="1163789" y="2274621"/>
                <a:ext cx="143695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研究基础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20" name="矩形: 圆角 19"/>
            <p:cNvSpPr/>
            <p:nvPr/>
          </p:nvSpPr>
          <p:spPr>
            <a:xfrm>
              <a:off x="2909071" y="2375029"/>
              <a:ext cx="1774785" cy="1066533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/>
            <p:cNvSpPr/>
            <p:nvPr/>
          </p:nvSpPr>
          <p:spPr>
            <a:xfrm>
              <a:off x="3623906" y="2561601"/>
              <a:ext cx="406349" cy="37337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2965538" y="2985131"/>
              <a:ext cx="1661851" cy="3475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ctr" rtl="0">
                <a:buSzPct val="25000"/>
                <a:buNone/>
              </a:pPr>
              <a:r>
                <a:rPr lang="en-US" altLang="zh-CN" sz="1200" b="1" i="1" u="none" strike="noStrike" cap="none" baseline="0" dirty="0">
                  <a:solidFill>
                    <a:schemeClr val="lt1"/>
                  </a:solidFill>
                  <a:cs typeface="+mn-ea"/>
                  <a:sym typeface="+mn-lt"/>
                </a:rPr>
                <a:t>Text</a:t>
              </a:r>
              <a:endParaRPr lang="zh-CN" altLang="en-US" sz="1200" b="1" i="1" u="none" strike="noStrike" cap="none" baseline="0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cxnSp>
          <p:nvCxnSpPr>
            <p:cNvPr id="23" name="直接箭头连接符 22"/>
            <p:cNvCxnSpPr/>
            <p:nvPr/>
          </p:nvCxnSpPr>
          <p:spPr>
            <a:xfrm>
              <a:off x="3843540" y="3461767"/>
              <a:ext cx="0" cy="908831"/>
            </a:xfrm>
            <a:prstGeom prst="straightConnector1">
              <a:avLst/>
            </a:prstGeom>
            <a:noFill/>
            <a:ln w="9525" cap="flat" cmpd="sng">
              <a:solidFill>
                <a:schemeClr val="accent2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24" name="椭圆 23"/>
            <p:cNvSpPr/>
            <p:nvPr/>
          </p:nvSpPr>
          <p:spPr>
            <a:xfrm>
              <a:off x="3787296" y="4314357"/>
              <a:ext cx="112482" cy="11248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25" name="组合 24"/>
            <p:cNvGrpSpPr/>
            <p:nvPr/>
          </p:nvGrpSpPr>
          <p:grpSpPr>
            <a:xfrm>
              <a:off x="660399" y="4655325"/>
              <a:ext cx="1874052" cy="1259366"/>
              <a:chOff x="1163789" y="2274621"/>
              <a:chExt cx="1436954" cy="1143954"/>
            </a:xfrm>
          </p:grpSpPr>
          <p:sp>
            <p:nvSpPr>
              <p:cNvPr id="40" name="矩形 39"/>
              <p:cNvSpPr/>
              <p:nvPr/>
            </p:nvSpPr>
            <p:spPr bwMode="auto">
              <a:xfrm>
                <a:off x="1163789" y="2716427"/>
                <a:ext cx="1436954" cy="7021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41" name="文本框 40"/>
              <p:cNvSpPr txBox="1"/>
              <p:nvPr/>
            </p:nvSpPr>
            <p:spPr bwMode="auto">
              <a:xfrm>
                <a:off x="1163789" y="2274621"/>
                <a:ext cx="143695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研究基础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26" name="矩形: 圆角 25"/>
            <p:cNvSpPr/>
            <p:nvPr/>
          </p:nvSpPr>
          <p:spPr>
            <a:xfrm>
              <a:off x="710038" y="2375029"/>
              <a:ext cx="1774785" cy="1066533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1394256" y="2561601"/>
              <a:ext cx="406349" cy="37337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766504" y="2985131"/>
              <a:ext cx="1661851" cy="3475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ctr" rtl="0">
                <a:buSzPct val="25000"/>
                <a:buNone/>
              </a:pPr>
              <a:r>
                <a:rPr lang="en-US" altLang="zh-CN" sz="1200" b="1" i="1" u="none" strike="noStrike" cap="none" baseline="0" dirty="0">
                  <a:solidFill>
                    <a:schemeClr val="lt1"/>
                  </a:solidFill>
                  <a:cs typeface="+mn-ea"/>
                  <a:sym typeface="+mn-lt"/>
                </a:rPr>
                <a:t>Text</a:t>
              </a:r>
              <a:endParaRPr lang="zh-CN" altLang="en-US" sz="1200" b="1" i="1" u="none" strike="noStrike" cap="none" baseline="0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cxnSp>
          <p:nvCxnSpPr>
            <p:cNvPr id="29" name="直接箭头连接符 28"/>
            <p:cNvCxnSpPr/>
            <p:nvPr/>
          </p:nvCxnSpPr>
          <p:spPr>
            <a:xfrm>
              <a:off x="1597429" y="3461767"/>
              <a:ext cx="0" cy="908831"/>
            </a:xfrm>
            <a:prstGeom prst="straightConnector1">
              <a:avLst/>
            </a:prstGeom>
            <a:noFill/>
            <a:ln w="9525" cap="flat" cmpd="sng">
              <a:solidFill>
                <a:schemeClr val="accent2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30" name="椭圆 29"/>
            <p:cNvSpPr/>
            <p:nvPr/>
          </p:nvSpPr>
          <p:spPr>
            <a:xfrm>
              <a:off x="1541184" y="4314357"/>
              <a:ext cx="112482" cy="11248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31" name="组合 30"/>
            <p:cNvGrpSpPr/>
            <p:nvPr/>
          </p:nvGrpSpPr>
          <p:grpSpPr>
            <a:xfrm>
              <a:off x="5152622" y="4655325"/>
              <a:ext cx="1874052" cy="1259366"/>
              <a:chOff x="1163789" y="2274621"/>
              <a:chExt cx="1436954" cy="1143954"/>
            </a:xfrm>
          </p:grpSpPr>
          <p:sp>
            <p:nvSpPr>
              <p:cNvPr id="38" name="矩形 37"/>
              <p:cNvSpPr/>
              <p:nvPr/>
            </p:nvSpPr>
            <p:spPr bwMode="auto">
              <a:xfrm>
                <a:off x="1163789" y="2716427"/>
                <a:ext cx="1436954" cy="7021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39" name="文本框 38"/>
              <p:cNvSpPr txBox="1"/>
              <p:nvPr/>
            </p:nvSpPr>
            <p:spPr bwMode="auto">
              <a:xfrm>
                <a:off x="1163789" y="2274621"/>
                <a:ext cx="143695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研究基础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cxnSp>
          <p:nvCxnSpPr>
            <p:cNvPr id="32" name="直接箭头连接符 31"/>
            <p:cNvCxnSpPr/>
            <p:nvPr/>
          </p:nvCxnSpPr>
          <p:spPr>
            <a:xfrm>
              <a:off x="6089651" y="3461767"/>
              <a:ext cx="0" cy="908831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33" name="椭圆 32"/>
            <p:cNvSpPr/>
            <p:nvPr/>
          </p:nvSpPr>
          <p:spPr>
            <a:xfrm>
              <a:off x="6033408" y="4314357"/>
              <a:ext cx="112482" cy="112482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" name="矩形: 圆角 33"/>
            <p:cNvSpPr/>
            <p:nvPr/>
          </p:nvSpPr>
          <p:spPr>
            <a:xfrm>
              <a:off x="5058470" y="2288623"/>
              <a:ext cx="2062360" cy="1239346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" name="任意多边形: 形状 34"/>
            <p:cNvSpPr/>
            <p:nvPr/>
          </p:nvSpPr>
          <p:spPr>
            <a:xfrm>
              <a:off x="5853556" y="2505426"/>
              <a:ext cx="472191" cy="433869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5124086" y="2997581"/>
              <a:ext cx="1931127" cy="403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ctr" rtl="0">
                <a:buSzPct val="25000"/>
                <a:buNone/>
              </a:pPr>
              <a:r>
                <a:rPr lang="en-US" altLang="zh-CN" sz="1200" b="1" i="1" u="none" strike="noStrike" cap="none" baseline="0" dirty="0">
                  <a:solidFill>
                    <a:schemeClr val="lt1"/>
                  </a:solidFill>
                  <a:cs typeface="+mn-ea"/>
                  <a:sym typeface="+mn-lt"/>
                </a:rPr>
                <a:t>Text</a:t>
              </a:r>
              <a:endParaRPr lang="zh-CN" altLang="en-US" sz="1200" b="1" i="1" u="none" strike="noStrike" cap="none" baseline="0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37" name="任意多边形: 形状 36"/>
            <p:cNvSpPr/>
            <p:nvPr/>
          </p:nvSpPr>
          <p:spPr>
            <a:xfrm>
              <a:off x="8149048" y="2561601"/>
              <a:ext cx="406349" cy="373371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方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499" cy="5003800"/>
            <a:chOff x="660400" y="1130300"/>
            <a:chExt cx="10858499" cy="5003800"/>
          </a:xfrm>
        </p:grpSpPr>
        <p:sp>
          <p:nvSpPr>
            <p:cNvPr id="6" name="矩形 5"/>
            <p:cNvSpPr/>
            <p:nvPr/>
          </p:nvSpPr>
          <p:spPr>
            <a:xfrm>
              <a:off x="5629586" y="1130300"/>
              <a:ext cx="5889313" cy="5003800"/>
            </a:xfrm>
            <a:prstGeom prst="rect">
              <a:avLst/>
            </a:prstGeom>
            <a:noFill/>
            <a:ln w="28575" cap="flat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660400" y="1130300"/>
              <a:ext cx="3848847" cy="1735811"/>
              <a:chOff x="660400" y="2904565"/>
              <a:chExt cx="3513759" cy="1735811"/>
            </a:xfrm>
          </p:grpSpPr>
          <p:sp>
            <p:nvSpPr>
              <p:cNvPr id="177" name="文本框 176"/>
              <p:cNvSpPr txBox="1"/>
              <p:nvPr/>
            </p:nvSpPr>
            <p:spPr>
              <a:xfrm>
                <a:off x="660400" y="3385462"/>
                <a:ext cx="3513759" cy="12549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cs typeface="+mn-ea"/>
                    <a:sym typeface="+mn-lt"/>
                  </a:rPr>
                  <a:t>Theme color makes PPT more convenient to change.</a:t>
                </a:r>
                <a:endParaRPr lang="en-US" sz="1200" dirty="0">
                  <a:cs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cs typeface="+mn-ea"/>
                    <a:sym typeface="+mn-lt"/>
                  </a:rPr>
                  <a:t>Adjust the spacing to adapt to Chinese typesetting, use the reference line in PPT.</a:t>
                </a:r>
                <a:endParaRPr lang="en-US" sz="1200" dirty="0">
                  <a:cs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altLang="zh-CN" sz="1200" dirty="0">
                    <a:cs typeface="+mn-ea"/>
                    <a:sym typeface="+mn-lt"/>
                  </a:rPr>
                  <a:t>……</a:t>
                </a:r>
                <a:endParaRPr lang="en-US" sz="1200" dirty="0">
                  <a:cs typeface="+mn-ea"/>
                  <a:sym typeface="+mn-lt"/>
                </a:endParaRPr>
              </a:p>
            </p:txBody>
          </p:sp>
          <p:sp>
            <p:nvSpPr>
              <p:cNvPr id="178" name="文本框 177"/>
              <p:cNvSpPr txBox="1"/>
              <p:nvPr/>
            </p:nvSpPr>
            <p:spPr>
              <a:xfrm>
                <a:off x="660400" y="2904565"/>
                <a:ext cx="3513759" cy="48089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  <a:endParaRPr lang="id-ID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/>
            <p:nvPr/>
          </p:nvGrpSpPr>
          <p:grpSpPr>
            <a:xfrm>
              <a:off x="3614825" y="2299058"/>
              <a:ext cx="4085859" cy="3835042"/>
              <a:chOff x="3683000" y="1174750"/>
              <a:chExt cx="4810126" cy="4514850"/>
            </a:xfrm>
          </p:grpSpPr>
          <p:sp>
            <p:nvSpPr>
              <p:cNvPr id="32" name="矩形 31"/>
              <p:cNvSpPr/>
              <p:nvPr/>
            </p:nvSpPr>
            <p:spPr bwMode="auto">
              <a:xfrm>
                <a:off x="4689475" y="1174750"/>
                <a:ext cx="2414588" cy="1808163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" name="矩形 32"/>
              <p:cNvSpPr/>
              <p:nvPr/>
            </p:nvSpPr>
            <p:spPr bwMode="auto">
              <a:xfrm>
                <a:off x="4775200" y="1236663"/>
                <a:ext cx="2247900" cy="16827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" name="矩形 33"/>
              <p:cNvSpPr/>
              <p:nvPr/>
            </p:nvSpPr>
            <p:spPr bwMode="auto">
              <a:xfrm>
                <a:off x="5065713" y="1339850"/>
                <a:ext cx="1662113" cy="130175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" name="矩形 34"/>
              <p:cNvSpPr/>
              <p:nvPr/>
            </p:nvSpPr>
            <p:spPr bwMode="auto">
              <a:xfrm>
                <a:off x="5003800" y="2386013"/>
                <a:ext cx="130175" cy="323850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矩形 35"/>
              <p:cNvSpPr/>
              <p:nvPr/>
            </p:nvSpPr>
            <p:spPr bwMode="auto">
              <a:xfrm>
                <a:off x="5292725" y="2101850"/>
                <a:ext cx="131763" cy="608013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" name="矩形 36"/>
              <p:cNvSpPr/>
              <p:nvPr/>
            </p:nvSpPr>
            <p:spPr bwMode="auto">
              <a:xfrm>
                <a:off x="5583238" y="2163763"/>
                <a:ext cx="131763" cy="546100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" name="矩形 37"/>
              <p:cNvSpPr/>
              <p:nvPr/>
            </p:nvSpPr>
            <p:spPr bwMode="auto">
              <a:xfrm>
                <a:off x="5880100" y="1857375"/>
                <a:ext cx="125413" cy="852488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/>
              <p:cNvSpPr/>
              <p:nvPr/>
            </p:nvSpPr>
            <p:spPr bwMode="auto">
              <a:xfrm>
                <a:off x="4918075" y="1624013"/>
                <a:ext cx="1593850" cy="1176338"/>
              </a:xfrm>
              <a:custGeom>
                <a:avLst/>
                <a:gdLst>
                  <a:gd name="T0" fmla="*/ 1004 w 1004"/>
                  <a:gd name="T1" fmla="*/ 741 h 741"/>
                  <a:gd name="T2" fmla="*/ 0 w 1004"/>
                  <a:gd name="T3" fmla="*/ 741 h 741"/>
                  <a:gd name="T4" fmla="*/ 0 w 1004"/>
                  <a:gd name="T5" fmla="*/ 0 h 741"/>
                  <a:gd name="T6" fmla="*/ 11 w 1004"/>
                  <a:gd name="T7" fmla="*/ 0 h 741"/>
                  <a:gd name="T8" fmla="*/ 11 w 1004"/>
                  <a:gd name="T9" fmla="*/ 730 h 741"/>
                  <a:gd name="T10" fmla="*/ 1004 w 1004"/>
                  <a:gd name="T11" fmla="*/ 730 h 741"/>
                  <a:gd name="T12" fmla="*/ 1004 w 1004"/>
                  <a:gd name="T13" fmla="*/ 741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04" h="741">
                    <a:moveTo>
                      <a:pt x="1004" y="741"/>
                    </a:moveTo>
                    <a:lnTo>
                      <a:pt x="0" y="741"/>
                    </a:lnTo>
                    <a:lnTo>
                      <a:pt x="0" y="0"/>
                    </a:lnTo>
                    <a:lnTo>
                      <a:pt x="11" y="0"/>
                    </a:lnTo>
                    <a:lnTo>
                      <a:pt x="11" y="730"/>
                    </a:lnTo>
                    <a:lnTo>
                      <a:pt x="1004" y="730"/>
                    </a:lnTo>
                    <a:lnTo>
                      <a:pt x="1004" y="741"/>
                    </a:ln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/>
              <p:cNvSpPr/>
              <p:nvPr/>
            </p:nvSpPr>
            <p:spPr bwMode="auto">
              <a:xfrm>
                <a:off x="5048250" y="1646238"/>
                <a:ext cx="900113" cy="563563"/>
              </a:xfrm>
              <a:custGeom>
                <a:avLst/>
                <a:gdLst>
                  <a:gd name="T0" fmla="*/ 7 w 567"/>
                  <a:gd name="T1" fmla="*/ 355 h 355"/>
                  <a:gd name="T2" fmla="*/ 0 w 567"/>
                  <a:gd name="T3" fmla="*/ 347 h 355"/>
                  <a:gd name="T4" fmla="*/ 190 w 567"/>
                  <a:gd name="T5" fmla="*/ 176 h 355"/>
                  <a:gd name="T6" fmla="*/ 366 w 567"/>
                  <a:gd name="T7" fmla="*/ 215 h 355"/>
                  <a:gd name="T8" fmla="*/ 560 w 567"/>
                  <a:gd name="T9" fmla="*/ 0 h 355"/>
                  <a:gd name="T10" fmla="*/ 567 w 567"/>
                  <a:gd name="T11" fmla="*/ 11 h 355"/>
                  <a:gd name="T12" fmla="*/ 373 w 567"/>
                  <a:gd name="T13" fmla="*/ 226 h 355"/>
                  <a:gd name="T14" fmla="*/ 194 w 567"/>
                  <a:gd name="T15" fmla="*/ 190 h 355"/>
                  <a:gd name="T16" fmla="*/ 7 w 567"/>
                  <a:gd name="T17" fmla="*/ 355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7" h="355">
                    <a:moveTo>
                      <a:pt x="7" y="355"/>
                    </a:moveTo>
                    <a:lnTo>
                      <a:pt x="0" y="347"/>
                    </a:lnTo>
                    <a:lnTo>
                      <a:pt x="190" y="176"/>
                    </a:lnTo>
                    <a:lnTo>
                      <a:pt x="366" y="215"/>
                    </a:lnTo>
                    <a:lnTo>
                      <a:pt x="560" y="0"/>
                    </a:lnTo>
                    <a:lnTo>
                      <a:pt x="567" y="11"/>
                    </a:lnTo>
                    <a:lnTo>
                      <a:pt x="373" y="226"/>
                    </a:lnTo>
                    <a:lnTo>
                      <a:pt x="194" y="190"/>
                    </a:lnTo>
                    <a:lnTo>
                      <a:pt x="7" y="355"/>
                    </a:ln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/>
              <p:cNvSpPr/>
              <p:nvPr/>
            </p:nvSpPr>
            <p:spPr bwMode="auto">
              <a:xfrm>
                <a:off x="5884863" y="1600200"/>
                <a:ext cx="114300" cy="107950"/>
              </a:xfrm>
              <a:custGeom>
                <a:avLst/>
                <a:gdLst>
                  <a:gd name="T0" fmla="*/ 54 w 72"/>
                  <a:gd name="T1" fmla="*/ 68 h 68"/>
                  <a:gd name="T2" fmla="*/ 0 w 72"/>
                  <a:gd name="T3" fmla="*/ 18 h 68"/>
                  <a:gd name="T4" fmla="*/ 72 w 72"/>
                  <a:gd name="T5" fmla="*/ 0 h 68"/>
                  <a:gd name="T6" fmla="*/ 54 w 72"/>
                  <a:gd name="T7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" h="68">
                    <a:moveTo>
                      <a:pt x="54" y="68"/>
                    </a:moveTo>
                    <a:lnTo>
                      <a:pt x="0" y="18"/>
                    </a:lnTo>
                    <a:lnTo>
                      <a:pt x="72" y="0"/>
                    </a:lnTo>
                    <a:lnTo>
                      <a:pt x="54" y="68"/>
                    </a:ln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" name="矩形 41"/>
              <p:cNvSpPr/>
              <p:nvPr/>
            </p:nvSpPr>
            <p:spPr bwMode="auto">
              <a:xfrm>
                <a:off x="6278563" y="1639888"/>
                <a:ext cx="592138" cy="2857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" name="矩形 42"/>
              <p:cNvSpPr/>
              <p:nvPr/>
            </p:nvSpPr>
            <p:spPr bwMode="auto">
              <a:xfrm>
                <a:off x="6199188" y="1697038"/>
                <a:ext cx="671513" cy="23813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" name="矩形 43"/>
              <p:cNvSpPr/>
              <p:nvPr/>
            </p:nvSpPr>
            <p:spPr bwMode="auto">
              <a:xfrm>
                <a:off x="6199188" y="1754188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" name="矩形 44"/>
              <p:cNvSpPr/>
              <p:nvPr/>
            </p:nvSpPr>
            <p:spPr bwMode="auto">
              <a:xfrm>
                <a:off x="6199188" y="1811338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" name="矩形 45"/>
              <p:cNvSpPr/>
              <p:nvPr/>
            </p:nvSpPr>
            <p:spPr bwMode="auto">
              <a:xfrm>
                <a:off x="6199188" y="1868488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" name="矩形 46"/>
              <p:cNvSpPr/>
              <p:nvPr/>
            </p:nvSpPr>
            <p:spPr bwMode="auto">
              <a:xfrm>
                <a:off x="6199188" y="1925638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" name="矩形 47"/>
              <p:cNvSpPr/>
              <p:nvPr/>
            </p:nvSpPr>
            <p:spPr bwMode="auto">
              <a:xfrm>
                <a:off x="6199188" y="1981200"/>
                <a:ext cx="671513" cy="23813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" name="矩形 48"/>
              <p:cNvSpPr/>
              <p:nvPr/>
            </p:nvSpPr>
            <p:spPr bwMode="auto">
              <a:xfrm>
                <a:off x="6199188" y="2033588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" name="矩形 49"/>
              <p:cNvSpPr/>
              <p:nvPr/>
            </p:nvSpPr>
            <p:spPr bwMode="auto">
              <a:xfrm>
                <a:off x="6199188" y="2089150"/>
                <a:ext cx="671513" cy="23813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" name="矩形 50"/>
              <p:cNvSpPr/>
              <p:nvPr/>
            </p:nvSpPr>
            <p:spPr bwMode="auto">
              <a:xfrm>
                <a:off x="6199188" y="2146300"/>
                <a:ext cx="671513" cy="23813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" name="矩形 51"/>
              <p:cNvSpPr/>
              <p:nvPr/>
            </p:nvSpPr>
            <p:spPr bwMode="auto">
              <a:xfrm>
                <a:off x="6199188" y="2203450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" name="矩形 52"/>
              <p:cNvSpPr/>
              <p:nvPr/>
            </p:nvSpPr>
            <p:spPr bwMode="auto">
              <a:xfrm>
                <a:off x="6199188" y="2260600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" name="矩形 53"/>
              <p:cNvSpPr/>
              <p:nvPr/>
            </p:nvSpPr>
            <p:spPr bwMode="auto">
              <a:xfrm>
                <a:off x="6199188" y="2317750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" name="矩形 54"/>
              <p:cNvSpPr/>
              <p:nvPr/>
            </p:nvSpPr>
            <p:spPr bwMode="auto">
              <a:xfrm>
                <a:off x="6199188" y="2374900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" name="矩形 55"/>
              <p:cNvSpPr/>
              <p:nvPr/>
            </p:nvSpPr>
            <p:spPr bwMode="auto">
              <a:xfrm>
                <a:off x="6199188" y="2425700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" name="矩形 56"/>
              <p:cNvSpPr/>
              <p:nvPr/>
            </p:nvSpPr>
            <p:spPr bwMode="auto">
              <a:xfrm>
                <a:off x="6199188" y="2482850"/>
                <a:ext cx="67151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" name="矩形 57"/>
              <p:cNvSpPr/>
              <p:nvPr/>
            </p:nvSpPr>
            <p:spPr bwMode="auto">
              <a:xfrm>
                <a:off x="6199188" y="2538413"/>
                <a:ext cx="671513" cy="23813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" name="矩形 58"/>
              <p:cNvSpPr/>
              <p:nvPr/>
            </p:nvSpPr>
            <p:spPr bwMode="auto">
              <a:xfrm>
                <a:off x="6199188" y="2595563"/>
                <a:ext cx="671513" cy="23813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" name="矩形 59"/>
              <p:cNvSpPr/>
              <p:nvPr/>
            </p:nvSpPr>
            <p:spPr bwMode="auto">
              <a:xfrm>
                <a:off x="6573838" y="2652713"/>
                <a:ext cx="296863" cy="22225"/>
              </a:xfrm>
              <a:prstGeom prst="rect">
                <a:avLst/>
              </a:pr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" name="椭圆 60"/>
              <p:cNvSpPr/>
              <p:nvPr/>
            </p:nvSpPr>
            <p:spPr bwMode="auto">
              <a:xfrm>
                <a:off x="3744913" y="5308600"/>
                <a:ext cx="4748213" cy="381000"/>
              </a:xfrm>
              <a:prstGeom prst="ellipse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/>
              <p:cNvSpPr/>
              <p:nvPr/>
            </p:nvSpPr>
            <p:spPr bwMode="auto">
              <a:xfrm>
                <a:off x="5862638" y="4535488"/>
                <a:ext cx="68263" cy="1006475"/>
              </a:xfrm>
              <a:custGeom>
                <a:avLst/>
                <a:gdLst>
                  <a:gd name="T0" fmla="*/ 9 w 12"/>
                  <a:gd name="T1" fmla="*/ 174 h 177"/>
                  <a:gd name="T2" fmla="*/ 12 w 12"/>
                  <a:gd name="T3" fmla="*/ 0 h 177"/>
                  <a:gd name="T4" fmla="*/ 0 w 12"/>
                  <a:gd name="T5" fmla="*/ 0 h 177"/>
                  <a:gd name="T6" fmla="*/ 4 w 12"/>
                  <a:gd name="T7" fmla="*/ 174 h 177"/>
                  <a:gd name="T8" fmla="*/ 6 w 12"/>
                  <a:gd name="T9" fmla="*/ 177 h 177"/>
                  <a:gd name="T10" fmla="*/ 9 w 12"/>
                  <a:gd name="T11" fmla="*/ 174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77">
                    <a:moveTo>
                      <a:pt x="9" y="174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174"/>
                      <a:pt x="4" y="174"/>
                      <a:pt x="4" y="174"/>
                    </a:cubicBezTo>
                    <a:cubicBezTo>
                      <a:pt x="4" y="176"/>
                      <a:pt x="5" y="177"/>
                      <a:pt x="6" y="177"/>
                    </a:cubicBezTo>
                    <a:cubicBezTo>
                      <a:pt x="7" y="177"/>
                      <a:pt x="9" y="176"/>
                      <a:pt x="9" y="174"/>
                    </a:cubicBez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/>
              <p:cNvSpPr/>
              <p:nvPr/>
            </p:nvSpPr>
            <p:spPr bwMode="auto">
              <a:xfrm>
                <a:off x="5338763" y="4546600"/>
                <a:ext cx="415925" cy="955675"/>
              </a:xfrm>
              <a:custGeom>
                <a:avLst/>
                <a:gdLst>
                  <a:gd name="T0" fmla="*/ 6 w 73"/>
                  <a:gd name="T1" fmla="*/ 165 h 168"/>
                  <a:gd name="T2" fmla="*/ 73 w 73"/>
                  <a:gd name="T3" fmla="*/ 5 h 168"/>
                  <a:gd name="T4" fmla="*/ 62 w 73"/>
                  <a:gd name="T5" fmla="*/ 0 h 168"/>
                  <a:gd name="T6" fmla="*/ 1 w 73"/>
                  <a:gd name="T7" fmla="*/ 163 h 168"/>
                  <a:gd name="T8" fmla="*/ 2 w 73"/>
                  <a:gd name="T9" fmla="*/ 167 h 168"/>
                  <a:gd name="T10" fmla="*/ 6 w 73"/>
                  <a:gd name="T11" fmla="*/ 16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168">
                    <a:moveTo>
                      <a:pt x="6" y="165"/>
                    </a:moveTo>
                    <a:cubicBezTo>
                      <a:pt x="73" y="5"/>
                      <a:pt x="73" y="5"/>
                      <a:pt x="73" y="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1" y="163"/>
                      <a:pt x="1" y="163"/>
                      <a:pt x="1" y="163"/>
                    </a:cubicBezTo>
                    <a:cubicBezTo>
                      <a:pt x="0" y="165"/>
                      <a:pt x="1" y="167"/>
                      <a:pt x="2" y="167"/>
                    </a:cubicBezTo>
                    <a:cubicBezTo>
                      <a:pt x="3" y="168"/>
                      <a:pt x="5" y="167"/>
                      <a:pt x="6" y="165"/>
                    </a:cubicBez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/>
              <p:cNvSpPr/>
              <p:nvPr/>
            </p:nvSpPr>
            <p:spPr bwMode="auto">
              <a:xfrm>
                <a:off x="6038850" y="4546600"/>
                <a:ext cx="415925" cy="955675"/>
              </a:xfrm>
              <a:custGeom>
                <a:avLst/>
                <a:gdLst>
                  <a:gd name="T0" fmla="*/ 67 w 73"/>
                  <a:gd name="T1" fmla="*/ 165 h 168"/>
                  <a:gd name="T2" fmla="*/ 0 w 73"/>
                  <a:gd name="T3" fmla="*/ 5 h 168"/>
                  <a:gd name="T4" fmla="*/ 11 w 73"/>
                  <a:gd name="T5" fmla="*/ 0 h 168"/>
                  <a:gd name="T6" fmla="*/ 72 w 73"/>
                  <a:gd name="T7" fmla="*/ 163 h 168"/>
                  <a:gd name="T8" fmla="*/ 71 w 73"/>
                  <a:gd name="T9" fmla="*/ 167 h 168"/>
                  <a:gd name="T10" fmla="*/ 67 w 73"/>
                  <a:gd name="T11" fmla="*/ 16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168">
                    <a:moveTo>
                      <a:pt x="67" y="16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72" y="163"/>
                      <a:pt x="72" y="163"/>
                      <a:pt x="72" y="163"/>
                    </a:cubicBezTo>
                    <a:cubicBezTo>
                      <a:pt x="73" y="165"/>
                      <a:pt x="72" y="167"/>
                      <a:pt x="71" y="167"/>
                    </a:cubicBezTo>
                    <a:cubicBezTo>
                      <a:pt x="70" y="168"/>
                      <a:pt x="68" y="167"/>
                      <a:pt x="67" y="165"/>
                    </a:cubicBez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" name="任意多边形: 形状 64"/>
              <p:cNvSpPr/>
              <p:nvPr/>
            </p:nvSpPr>
            <p:spPr bwMode="auto">
              <a:xfrm>
                <a:off x="5145088" y="3159125"/>
                <a:ext cx="1463675" cy="1563688"/>
              </a:xfrm>
              <a:custGeom>
                <a:avLst/>
                <a:gdLst>
                  <a:gd name="T0" fmla="*/ 177 w 257"/>
                  <a:gd name="T1" fmla="*/ 193 h 275"/>
                  <a:gd name="T2" fmla="*/ 163 w 257"/>
                  <a:gd name="T3" fmla="*/ 48 h 275"/>
                  <a:gd name="T4" fmla="*/ 77 w 257"/>
                  <a:gd name="T5" fmla="*/ 20 h 275"/>
                  <a:gd name="T6" fmla="*/ 16 w 257"/>
                  <a:gd name="T7" fmla="*/ 111 h 275"/>
                  <a:gd name="T8" fmla="*/ 9 w 257"/>
                  <a:gd name="T9" fmla="*/ 217 h 275"/>
                  <a:gd name="T10" fmla="*/ 90 w 257"/>
                  <a:gd name="T11" fmla="*/ 270 h 275"/>
                  <a:gd name="T12" fmla="*/ 228 w 257"/>
                  <a:gd name="T13" fmla="*/ 262 h 275"/>
                  <a:gd name="T14" fmla="*/ 241 w 257"/>
                  <a:gd name="T15" fmla="*/ 234 h 275"/>
                  <a:gd name="T16" fmla="*/ 188 w 257"/>
                  <a:gd name="T17" fmla="*/ 22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7" h="275">
                    <a:moveTo>
                      <a:pt x="177" y="193"/>
                    </a:moveTo>
                    <a:cubicBezTo>
                      <a:pt x="181" y="145"/>
                      <a:pt x="177" y="95"/>
                      <a:pt x="163" y="48"/>
                    </a:cubicBezTo>
                    <a:cubicBezTo>
                      <a:pt x="151" y="9"/>
                      <a:pt x="111" y="0"/>
                      <a:pt x="77" y="20"/>
                    </a:cubicBezTo>
                    <a:cubicBezTo>
                      <a:pt x="45" y="39"/>
                      <a:pt x="27" y="77"/>
                      <a:pt x="16" y="111"/>
                    </a:cubicBezTo>
                    <a:cubicBezTo>
                      <a:pt x="6" y="145"/>
                      <a:pt x="0" y="183"/>
                      <a:pt x="9" y="217"/>
                    </a:cubicBezTo>
                    <a:cubicBezTo>
                      <a:pt x="20" y="254"/>
                      <a:pt x="55" y="267"/>
                      <a:pt x="90" y="270"/>
                    </a:cubicBezTo>
                    <a:cubicBezTo>
                      <a:pt x="136" y="275"/>
                      <a:pt x="183" y="274"/>
                      <a:pt x="228" y="262"/>
                    </a:cubicBezTo>
                    <a:cubicBezTo>
                      <a:pt x="242" y="259"/>
                      <a:pt x="257" y="247"/>
                      <a:pt x="241" y="234"/>
                    </a:cubicBezTo>
                    <a:cubicBezTo>
                      <a:pt x="227" y="224"/>
                      <a:pt x="205" y="220"/>
                      <a:pt x="188" y="220"/>
                    </a:cubicBezTo>
                  </a:path>
                </a:pathLst>
              </a:cu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/>
              <p:cNvSpPr/>
              <p:nvPr/>
            </p:nvSpPr>
            <p:spPr bwMode="auto">
              <a:xfrm>
                <a:off x="5299075" y="3954463"/>
                <a:ext cx="955675" cy="603250"/>
              </a:xfrm>
              <a:custGeom>
                <a:avLst/>
                <a:gdLst>
                  <a:gd name="T0" fmla="*/ 12 w 168"/>
                  <a:gd name="T1" fmla="*/ 6 h 106"/>
                  <a:gd name="T2" fmla="*/ 0 w 168"/>
                  <a:gd name="T3" fmla="*/ 55 h 106"/>
                  <a:gd name="T4" fmla="*/ 2 w 168"/>
                  <a:gd name="T5" fmla="*/ 79 h 106"/>
                  <a:gd name="T6" fmla="*/ 28 w 168"/>
                  <a:gd name="T7" fmla="*/ 104 h 106"/>
                  <a:gd name="T8" fmla="*/ 44 w 168"/>
                  <a:gd name="T9" fmla="*/ 105 h 106"/>
                  <a:gd name="T10" fmla="*/ 147 w 168"/>
                  <a:gd name="T11" fmla="*/ 101 h 106"/>
                  <a:gd name="T12" fmla="*/ 162 w 168"/>
                  <a:gd name="T13" fmla="*/ 88 h 106"/>
                  <a:gd name="T14" fmla="*/ 165 w 168"/>
                  <a:gd name="T15" fmla="*/ 59 h 106"/>
                  <a:gd name="T16" fmla="*/ 130 w 168"/>
                  <a:gd name="T17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8" h="106">
                    <a:moveTo>
                      <a:pt x="12" y="6"/>
                    </a:moveTo>
                    <a:cubicBezTo>
                      <a:pt x="6" y="21"/>
                      <a:pt x="2" y="38"/>
                      <a:pt x="0" y="55"/>
                    </a:cubicBezTo>
                    <a:cubicBezTo>
                      <a:pt x="0" y="63"/>
                      <a:pt x="0" y="71"/>
                      <a:pt x="2" y="79"/>
                    </a:cubicBezTo>
                    <a:cubicBezTo>
                      <a:pt x="6" y="91"/>
                      <a:pt x="16" y="101"/>
                      <a:pt x="28" y="104"/>
                    </a:cubicBezTo>
                    <a:cubicBezTo>
                      <a:pt x="33" y="105"/>
                      <a:pt x="38" y="105"/>
                      <a:pt x="44" y="105"/>
                    </a:cubicBezTo>
                    <a:cubicBezTo>
                      <a:pt x="76" y="103"/>
                      <a:pt x="115" y="106"/>
                      <a:pt x="147" y="101"/>
                    </a:cubicBezTo>
                    <a:cubicBezTo>
                      <a:pt x="155" y="100"/>
                      <a:pt x="157" y="95"/>
                      <a:pt x="162" y="88"/>
                    </a:cubicBezTo>
                    <a:cubicBezTo>
                      <a:pt x="168" y="81"/>
                      <a:pt x="167" y="69"/>
                      <a:pt x="165" y="59"/>
                    </a:cubicBezTo>
                    <a:cubicBezTo>
                      <a:pt x="159" y="36"/>
                      <a:pt x="147" y="15"/>
                      <a:pt x="130" y="0"/>
                    </a:cubicBezTo>
                  </a:path>
                </a:pathLst>
              </a:custGeom>
              <a:solidFill>
                <a:srgbClr val="2C9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/>
              <p:cNvSpPr/>
              <p:nvPr/>
            </p:nvSpPr>
            <p:spPr bwMode="auto">
              <a:xfrm>
                <a:off x="5402263" y="3756025"/>
                <a:ext cx="796925" cy="466725"/>
              </a:xfrm>
              <a:custGeom>
                <a:avLst/>
                <a:gdLst>
                  <a:gd name="T0" fmla="*/ 7 w 140"/>
                  <a:gd name="T1" fmla="*/ 27 h 82"/>
                  <a:gd name="T2" fmla="*/ 0 w 140"/>
                  <a:gd name="T3" fmla="*/ 70 h 82"/>
                  <a:gd name="T4" fmla="*/ 0 w 140"/>
                  <a:gd name="T5" fmla="*/ 76 h 82"/>
                  <a:gd name="T6" fmla="*/ 16 w 140"/>
                  <a:gd name="T7" fmla="*/ 82 h 82"/>
                  <a:gd name="T8" fmla="*/ 140 w 140"/>
                  <a:gd name="T9" fmla="*/ 80 h 82"/>
                  <a:gd name="T10" fmla="*/ 118 w 140"/>
                  <a:gd name="T1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0" h="82">
                    <a:moveTo>
                      <a:pt x="7" y="27"/>
                    </a:moveTo>
                    <a:cubicBezTo>
                      <a:pt x="3" y="41"/>
                      <a:pt x="1" y="55"/>
                      <a:pt x="0" y="70"/>
                    </a:cubicBezTo>
                    <a:cubicBezTo>
                      <a:pt x="0" y="72"/>
                      <a:pt x="0" y="74"/>
                      <a:pt x="0" y="76"/>
                    </a:cubicBezTo>
                    <a:cubicBezTo>
                      <a:pt x="3" y="82"/>
                      <a:pt x="10" y="82"/>
                      <a:pt x="16" y="82"/>
                    </a:cubicBezTo>
                    <a:cubicBezTo>
                      <a:pt x="57" y="81"/>
                      <a:pt x="98" y="81"/>
                      <a:pt x="140" y="80"/>
                    </a:cubicBezTo>
                    <a:cubicBezTo>
                      <a:pt x="135" y="52"/>
                      <a:pt x="128" y="26"/>
                      <a:pt x="118" y="0"/>
                    </a:cubicBezTo>
                  </a:path>
                </a:pathLst>
              </a:custGeom>
              <a:solidFill>
                <a:srgbClr val="57C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" name="任意多边形: 形状 67"/>
              <p:cNvSpPr/>
              <p:nvPr/>
            </p:nvSpPr>
            <p:spPr bwMode="auto">
              <a:xfrm>
                <a:off x="5675313" y="5376863"/>
                <a:ext cx="165100" cy="187325"/>
              </a:xfrm>
              <a:custGeom>
                <a:avLst/>
                <a:gdLst>
                  <a:gd name="T0" fmla="*/ 13 w 29"/>
                  <a:gd name="T1" fmla="*/ 11 h 33"/>
                  <a:gd name="T2" fmla="*/ 6 w 29"/>
                  <a:gd name="T3" fmla="*/ 21 h 33"/>
                  <a:gd name="T4" fmla="*/ 0 w 29"/>
                  <a:gd name="T5" fmla="*/ 32 h 33"/>
                  <a:gd name="T6" fmla="*/ 13 w 29"/>
                  <a:gd name="T7" fmla="*/ 31 h 33"/>
                  <a:gd name="T8" fmla="*/ 24 w 29"/>
                  <a:gd name="T9" fmla="*/ 24 h 33"/>
                  <a:gd name="T10" fmla="*/ 28 w 29"/>
                  <a:gd name="T11" fmla="*/ 20 h 33"/>
                  <a:gd name="T12" fmla="*/ 28 w 29"/>
                  <a:gd name="T13" fmla="*/ 13 h 33"/>
                  <a:gd name="T14" fmla="*/ 23 w 29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3">
                    <a:moveTo>
                      <a:pt x="13" y="11"/>
                    </a:moveTo>
                    <a:cubicBezTo>
                      <a:pt x="12" y="15"/>
                      <a:pt x="9" y="18"/>
                      <a:pt x="6" y="21"/>
                    </a:cubicBezTo>
                    <a:cubicBezTo>
                      <a:pt x="3" y="24"/>
                      <a:pt x="0" y="28"/>
                      <a:pt x="0" y="32"/>
                    </a:cubicBezTo>
                    <a:cubicBezTo>
                      <a:pt x="4" y="33"/>
                      <a:pt x="9" y="33"/>
                      <a:pt x="13" y="31"/>
                    </a:cubicBezTo>
                    <a:cubicBezTo>
                      <a:pt x="17" y="29"/>
                      <a:pt x="21" y="27"/>
                      <a:pt x="24" y="24"/>
                    </a:cubicBezTo>
                    <a:cubicBezTo>
                      <a:pt x="26" y="23"/>
                      <a:pt x="27" y="22"/>
                      <a:pt x="28" y="20"/>
                    </a:cubicBezTo>
                    <a:cubicBezTo>
                      <a:pt x="29" y="18"/>
                      <a:pt x="29" y="15"/>
                      <a:pt x="28" y="13"/>
                    </a:cubicBezTo>
                    <a:cubicBezTo>
                      <a:pt x="27" y="8"/>
                      <a:pt x="25" y="4"/>
                      <a:pt x="23" y="0"/>
                    </a:cubicBezTo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" name="任意多边形: 形状 68"/>
              <p:cNvSpPr/>
              <p:nvPr/>
            </p:nvSpPr>
            <p:spPr bwMode="auto">
              <a:xfrm>
                <a:off x="5418138" y="4306888"/>
                <a:ext cx="409575" cy="1131888"/>
              </a:xfrm>
              <a:custGeom>
                <a:avLst/>
                <a:gdLst>
                  <a:gd name="T0" fmla="*/ 61 w 72"/>
                  <a:gd name="T1" fmla="*/ 51 h 199"/>
                  <a:gd name="T2" fmla="*/ 50 w 72"/>
                  <a:gd name="T3" fmla="*/ 18 h 199"/>
                  <a:gd name="T4" fmla="*/ 23 w 72"/>
                  <a:gd name="T5" fmla="*/ 0 h 199"/>
                  <a:gd name="T6" fmla="*/ 13 w 72"/>
                  <a:gd name="T7" fmla="*/ 4 h 199"/>
                  <a:gd name="T8" fmla="*/ 8 w 72"/>
                  <a:gd name="T9" fmla="*/ 14 h 199"/>
                  <a:gd name="T10" fmla="*/ 21 w 72"/>
                  <a:gd name="T11" fmla="*/ 109 h 199"/>
                  <a:gd name="T12" fmla="*/ 58 w 72"/>
                  <a:gd name="T13" fmla="*/ 199 h 199"/>
                  <a:gd name="T14" fmla="*/ 70 w 72"/>
                  <a:gd name="T15" fmla="*/ 195 h 199"/>
                  <a:gd name="T16" fmla="*/ 61 w 72"/>
                  <a:gd name="T17" fmla="*/ 51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199">
                    <a:moveTo>
                      <a:pt x="61" y="51"/>
                    </a:moveTo>
                    <a:cubicBezTo>
                      <a:pt x="59" y="40"/>
                      <a:pt x="56" y="28"/>
                      <a:pt x="50" y="18"/>
                    </a:cubicBezTo>
                    <a:cubicBezTo>
                      <a:pt x="44" y="8"/>
                      <a:pt x="34" y="0"/>
                      <a:pt x="23" y="0"/>
                    </a:cubicBezTo>
                    <a:cubicBezTo>
                      <a:pt x="20" y="0"/>
                      <a:pt x="16" y="1"/>
                      <a:pt x="13" y="4"/>
                    </a:cubicBezTo>
                    <a:cubicBezTo>
                      <a:pt x="11" y="7"/>
                      <a:pt x="9" y="10"/>
                      <a:pt x="8" y="14"/>
                    </a:cubicBezTo>
                    <a:cubicBezTo>
                      <a:pt x="0" y="45"/>
                      <a:pt x="10" y="79"/>
                      <a:pt x="21" y="109"/>
                    </a:cubicBezTo>
                    <a:cubicBezTo>
                      <a:pt x="31" y="138"/>
                      <a:pt x="48" y="170"/>
                      <a:pt x="58" y="199"/>
                    </a:cubicBezTo>
                    <a:cubicBezTo>
                      <a:pt x="70" y="195"/>
                      <a:pt x="70" y="195"/>
                      <a:pt x="70" y="195"/>
                    </a:cubicBezTo>
                    <a:cubicBezTo>
                      <a:pt x="72" y="147"/>
                      <a:pt x="70" y="98"/>
                      <a:pt x="61" y="51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" name="任意多边形: 形状 69"/>
              <p:cNvSpPr/>
              <p:nvPr/>
            </p:nvSpPr>
            <p:spPr bwMode="auto">
              <a:xfrm>
                <a:off x="6102350" y="5394325"/>
                <a:ext cx="169863" cy="176213"/>
              </a:xfrm>
              <a:custGeom>
                <a:avLst/>
                <a:gdLst>
                  <a:gd name="T0" fmla="*/ 15 w 30"/>
                  <a:gd name="T1" fmla="*/ 9 h 31"/>
                  <a:gd name="T2" fmla="*/ 23 w 30"/>
                  <a:gd name="T3" fmla="*/ 19 h 31"/>
                  <a:gd name="T4" fmla="*/ 30 w 30"/>
                  <a:gd name="T5" fmla="*/ 30 h 31"/>
                  <a:gd name="T6" fmla="*/ 17 w 30"/>
                  <a:gd name="T7" fmla="*/ 29 h 31"/>
                  <a:gd name="T8" fmla="*/ 5 w 30"/>
                  <a:gd name="T9" fmla="*/ 24 h 31"/>
                  <a:gd name="T10" fmla="*/ 1 w 30"/>
                  <a:gd name="T11" fmla="*/ 20 h 31"/>
                  <a:gd name="T12" fmla="*/ 0 w 30"/>
                  <a:gd name="T13" fmla="*/ 13 h 31"/>
                  <a:gd name="T14" fmla="*/ 4 w 30"/>
                  <a:gd name="T1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15" y="9"/>
                    </a:moveTo>
                    <a:cubicBezTo>
                      <a:pt x="16" y="14"/>
                      <a:pt x="20" y="16"/>
                      <a:pt x="23" y="19"/>
                    </a:cubicBezTo>
                    <a:cubicBezTo>
                      <a:pt x="26" y="22"/>
                      <a:pt x="30" y="25"/>
                      <a:pt x="30" y="30"/>
                    </a:cubicBezTo>
                    <a:cubicBezTo>
                      <a:pt x="26" y="31"/>
                      <a:pt x="21" y="31"/>
                      <a:pt x="17" y="29"/>
                    </a:cubicBezTo>
                    <a:cubicBezTo>
                      <a:pt x="13" y="28"/>
                      <a:pt x="9" y="26"/>
                      <a:pt x="5" y="24"/>
                    </a:cubicBezTo>
                    <a:cubicBezTo>
                      <a:pt x="4" y="23"/>
                      <a:pt x="2" y="22"/>
                      <a:pt x="1" y="20"/>
                    </a:cubicBezTo>
                    <a:cubicBezTo>
                      <a:pt x="0" y="18"/>
                      <a:pt x="0" y="16"/>
                      <a:pt x="0" y="13"/>
                    </a:cubicBezTo>
                    <a:cubicBezTo>
                      <a:pt x="1" y="8"/>
                      <a:pt x="2" y="4"/>
                      <a:pt x="4" y="0"/>
                    </a:cubicBezTo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" name="任意多边形: 形状 70"/>
              <p:cNvSpPr/>
              <p:nvPr/>
            </p:nvSpPr>
            <p:spPr bwMode="auto">
              <a:xfrm>
                <a:off x="6067425" y="4302125"/>
                <a:ext cx="369888" cy="1143000"/>
              </a:xfrm>
              <a:custGeom>
                <a:avLst/>
                <a:gdLst>
                  <a:gd name="T0" fmla="*/ 4 w 65"/>
                  <a:gd name="T1" fmla="*/ 55 h 201"/>
                  <a:gd name="T2" fmla="*/ 12 w 65"/>
                  <a:gd name="T3" fmla="*/ 21 h 201"/>
                  <a:gd name="T4" fmla="*/ 37 w 65"/>
                  <a:gd name="T5" fmla="*/ 0 h 201"/>
                  <a:gd name="T6" fmla="*/ 47 w 65"/>
                  <a:gd name="T7" fmla="*/ 3 h 201"/>
                  <a:gd name="T8" fmla="*/ 53 w 65"/>
                  <a:gd name="T9" fmla="*/ 12 h 201"/>
                  <a:gd name="T10" fmla="*/ 49 w 65"/>
                  <a:gd name="T11" fmla="*/ 108 h 201"/>
                  <a:gd name="T12" fmla="*/ 21 w 65"/>
                  <a:gd name="T13" fmla="*/ 201 h 201"/>
                  <a:gd name="T14" fmla="*/ 9 w 65"/>
                  <a:gd name="T15" fmla="*/ 199 h 201"/>
                  <a:gd name="T16" fmla="*/ 4 w 65"/>
                  <a:gd name="T17" fmla="*/ 55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201">
                    <a:moveTo>
                      <a:pt x="4" y="55"/>
                    </a:moveTo>
                    <a:cubicBezTo>
                      <a:pt x="5" y="43"/>
                      <a:pt x="7" y="31"/>
                      <a:pt x="12" y="21"/>
                    </a:cubicBezTo>
                    <a:cubicBezTo>
                      <a:pt x="17" y="10"/>
                      <a:pt x="26" y="1"/>
                      <a:pt x="37" y="0"/>
                    </a:cubicBezTo>
                    <a:cubicBezTo>
                      <a:pt x="40" y="0"/>
                      <a:pt x="44" y="0"/>
                      <a:pt x="47" y="3"/>
                    </a:cubicBezTo>
                    <a:cubicBezTo>
                      <a:pt x="50" y="5"/>
                      <a:pt x="52" y="8"/>
                      <a:pt x="53" y="12"/>
                    </a:cubicBezTo>
                    <a:cubicBezTo>
                      <a:pt x="65" y="42"/>
                      <a:pt x="57" y="76"/>
                      <a:pt x="49" y="108"/>
                    </a:cubicBezTo>
                    <a:cubicBezTo>
                      <a:pt x="42" y="138"/>
                      <a:pt x="28" y="172"/>
                      <a:pt x="21" y="201"/>
                    </a:cubicBezTo>
                    <a:cubicBezTo>
                      <a:pt x="9" y="199"/>
                      <a:pt x="9" y="199"/>
                      <a:pt x="9" y="199"/>
                    </a:cubicBezTo>
                    <a:cubicBezTo>
                      <a:pt x="2" y="151"/>
                      <a:pt x="0" y="103"/>
                      <a:pt x="4" y="55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" name="任意多边形: 形状 71"/>
              <p:cNvSpPr/>
              <p:nvPr/>
            </p:nvSpPr>
            <p:spPr bwMode="auto">
              <a:xfrm>
                <a:off x="5208588" y="3079750"/>
                <a:ext cx="1092200" cy="989013"/>
              </a:xfrm>
              <a:custGeom>
                <a:avLst/>
                <a:gdLst>
                  <a:gd name="T0" fmla="*/ 103 w 192"/>
                  <a:gd name="T1" fmla="*/ 171 h 174"/>
                  <a:gd name="T2" fmla="*/ 165 w 192"/>
                  <a:gd name="T3" fmla="*/ 170 h 174"/>
                  <a:gd name="T4" fmla="*/ 187 w 192"/>
                  <a:gd name="T5" fmla="*/ 120 h 174"/>
                  <a:gd name="T6" fmla="*/ 185 w 192"/>
                  <a:gd name="T7" fmla="*/ 70 h 174"/>
                  <a:gd name="T8" fmla="*/ 182 w 192"/>
                  <a:gd name="T9" fmla="*/ 44 h 174"/>
                  <a:gd name="T10" fmla="*/ 176 w 192"/>
                  <a:gd name="T11" fmla="*/ 22 h 174"/>
                  <a:gd name="T12" fmla="*/ 151 w 192"/>
                  <a:gd name="T13" fmla="*/ 8 h 174"/>
                  <a:gd name="T14" fmla="*/ 116 w 192"/>
                  <a:gd name="T15" fmla="*/ 0 h 174"/>
                  <a:gd name="T16" fmla="*/ 75 w 192"/>
                  <a:gd name="T17" fmla="*/ 1 h 174"/>
                  <a:gd name="T18" fmla="*/ 25 w 192"/>
                  <a:gd name="T19" fmla="*/ 17 h 174"/>
                  <a:gd name="T20" fmla="*/ 13 w 192"/>
                  <a:gd name="T21" fmla="*/ 23 h 174"/>
                  <a:gd name="T22" fmla="*/ 4 w 192"/>
                  <a:gd name="T23" fmla="*/ 69 h 174"/>
                  <a:gd name="T24" fmla="*/ 7 w 192"/>
                  <a:gd name="T25" fmla="*/ 91 h 174"/>
                  <a:gd name="T26" fmla="*/ 27 w 192"/>
                  <a:gd name="T27" fmla="*/ 165 h 174"/>
                  <a:gd name="T28" fmla="*/ 30 w 192"/>
                  <a:gd name="T29" fmla="*/ 170 h 174"/>
                  <a:gd name="T30" fmla="*/ 37 w 192"/>
                  <a:gd name="T31" fmla="*/ 171 h 174"/>
                  <a:gd name="T32" fmla="*/ 94 w 192"/>
                  <a:gd name="T33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2" h="174">
                    <a:moveTo>
                      <a:pt x="103" y="171"/>
                    </a:moveTo>
                    <a:cubicBezTo>
                      <a:pt x="118" y="170"/>
                      <a:pt x="149" y="171"/>
                      <a:pt x="165" y="170"/>
                    </a:cubicBezTo>
                    <a:cubicBezTo>
                      <a:pt x="192" y="169"/>
                      <a:pt x="186" y="141"/>
                      <a:pt x="187" y="120"/>
                    </a:cubicBezTo>
                    <a:cubicBezTo>
                      <a:pt x="187" y="103"/>
                      <a:pt x="186" y="86"/>
                      <a:pt x="185" y="70"/>
                    </a:cubicBezTo>
                    <a:cubicBezTo>
                      <a:pt x="184" y="61"/>
                      <a:pt x="183" y="53"/>
                      <a:pt x="182" y="44"/>
                    </a:cubicBezTo>
                    <a:cubicBezTo>
                      <a:pt x="181" y="37"/>
                      <a:pt x="181" y="28"/>
                      <a:pt x="176" y="22"/>
                    </a:cubicBezTo>
                    <a:cubicBezTo>
                      <a:pt x="170" y="14"/>
                      <a:pt x="160" y="10"/>
                      <a:pt x="151" y="8"/>
                    </a:cubicBezTo>
                    <a:cubicBezTo>
                      <a:pt x="139" y="6"/>
                      <a:pt x="128" y="3"/>
                      <a:pt x="116" y="0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59" y="6"/>
                      <a:pt x="42" y="12"/>
                      <a:pt x="25" y="17"/>
                    </a:cubicBezTo>
                    <a:cubicBezTo>
                      <a:pt x="21" y="18"/>
                      <a:pt x="16" y="20"/>
                      <a:pt x="13" y="23"/>
                    </a:cubicBezTo>
                    <a:cubicBezTo>
                      <a:pt x="0" y="34"/>
                      <a:pt x="3" y="54"/>
                      <a:pt x="4" y="69"/>
                    </a:cubicBezTo>
                    <a:cubicBezTo>
                      <a:pt x="4" y="77"/>
                      <a:pt x="6" y="84"/>
                      <a:pt x="7" y="91"/>
                    </a:cubicBezTo>
                    <a:cubicBezTo>
                      <a:pt x="12" y="116"/>
                      <a:pt x="18" y="142"/>
                      <a:pt x="27" y="165"/>
                    </a:cubicBezTo>
                    <a:cubicBezTo>
                      <a:pt x="28" y="167"/>
                      <a:pt x="29" y="168"/>
                      <a:pt x="30" y="170"/>
                    </a:cubicBezTo>
                    <a:cubicBezTo>
                      <a:pt x="32" y="171"/>
                      <a:pt x="34" y="171"/>
                      <a:pt x="37" y="171"/>
                    </a:cubicBezTo>
                    <a:cubicBezTo>
                      <a:pt x="64" y="174"/>
                      <a:pt x="66" y="173"/>
                      <a:pt x="94" y="170"/>
                    </a:cubicBezTo>
                  </a:path>
                </a:pathLst>
              </a:custGeom>
              <a:solidFill>
                <a:srgbClr val="57C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" name="任意多边形: 形状 72"/>
              <p:cNvSpPr/>
              <p:nvPr/>
            </p:nvSpPr>
            <p:spPr bwMode="auto">
              <a:xfrm>
                <a:off x="5622925" y="2874963"/>
                <a:ext cx="239713" cy="244475"/>
              </a:xfrm>
              <a:custGeom>
                <a:avLst/>
                <a:gdLst>
                  <a:gd name="T0" fmla="*/ 6 w 42"/>
                  <a:gd name="T1" fmla="*/ 0 h 43"/>
                  <a:gd name="T2" fmla="*/ 0 w 42"/>
                  <a:gd name="T3" fmla="*/ 37 h 43"/>
                  <a:gd name="T4" fmla="*/ 21 w 42"/>
                  <a:gd name="T5" fmla="*/ 43 h 43"/>
                  <a:gd name="T6" fmla="*/ 42 w 42"/>
                  <a:gd name="T7" fmla="*/ 36 h 43"/>
                  <a:gd name="T8" fmla="*/ 35 w 42"/>
                  <a:gd name="T9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3">
                    <a:moveTo>
                      <a:pt x="6" y="0"/>
                    </a:moveTo>
                    <a:cubicBezTo>
                      <a:pt x="3" y="13"/>
                      <a:pt x="1" y="25"/>
                      <a:pt x="0" y="37"/>
                    </a:cubicBezTo>
                    <a:cubicBezTo>
                      <a:pt x="6" y="42"/>
                      <a:pt x="13" y="43"/>
                      <a:pt x="21" y="43"/>
                    </a:cubicBezTo>
                    <a:cubicBezTo>
                      <a:pt x="28" y="42"/>
                      <a:pt x="40" y="40"/>
                      <a:pt x="42" y="36"/>
                    </a:cubicBezTo>
                    <a:cubicBezTo>
                      <a:pt x="41" y="32"/>
                      <a:pt x="37" y="17"/>
                      <a:pt x="35" y="8"/>
                    </a:cubicBezTo>
                  </a:path>
                </a:pathLst>
              </a:custGeom>
              <a:solidFill>
                <a:srgbClr val="8E55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" name="任意多边形: 形状 73"/>
              <p:cNvSpPr/>
              <p:nvPr/>
            </p:nvSpPr>
            <p:spPr bwMode="auto">
              <a:xfrm>
                <a:off x="5845175" y="2663825"/>
                <a:ext cx="120650" cy="211138"/>
              </a:xfrm>
              <a:custGeom>
                <a:avLst/>
                <a:gdLst>
                  <a:gd name="T0" fmla="*/ 4 w 21"/>
                  <a:gd name="T1" fmla="*/ 0 h 37"/>
                  <a:gd name="T2" fmla="*/ 13 w 21"/>
                  <a:gd name="T3" fmla="*/ 5 h 37"/>
                  <a:gd name="T4" fmla="*/ 14 w 21"/>
                  <a:gd name="T5" fmla="*/ 13 h 37"/>
                  <a:gd name="T6" fmla="*/ 18 w 21"/>
                  <a:gd name="T7" fmla="*/ 14 h 37"/>
                  <a:gd name="T8" fmla="*/ 19 w 21"/>
                  <a:gd name="T9" fmla="*/ 18 h 37"/>
                  <a:gd name="T10" fmla="*/ 19 w 21"/>
                  <a:gd name="T11" fmla="*/ 24 h 37"/>
                  <a:gd name="T12" fmla="*/ 18 w 21"/>
                  <a:gd name="T13" fmla="*/ 25 h 37"/>
                  <a:gd name="T14" fmla="*/ 19 w 21"/>
                  <a:gd name="T15" fmla="*/ 26 h 37"/>
                  <a:gd name="T16" fmla="*/ 21 w 21"/>
                  <a:gd name="T17" fmla="*/ 30 h 37"/>
                  <a:gd name="T18" fmla="*/ 16 w 21"/>
                  <a:gd name="T19" fmla="*/ 37 h 37"/>
                  <a:gd name="T20" fmla="*/ 11 w 21"/>
                  <a:gd name="T21" fmla="*/ 36 h 37"/>
                  <a:gd name="T22" fmla="*/ 4 w 21"/>
                  <a:gd name="T23" fmla="*/ 29 h 37"/>
                  <a:gd name="T24" fmla="*/ 0 w 21"/>
                  <a:gd name="T25" fmla="*/ 2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7">
                    <a:moveTo>
                      <a:pt x="4" y="0"/>
                    </a:moveTo>
                    <a:cubicBezTo>
                      <a:pt x="8" y="1"/>
                      <a:pt x="11" y="1"/>
                      <a:pt x="13" y="5"/>
                    </a:cubicBezTo>
                    <a:cubicBezTo>
                      <a:pt x="15" y="7"/>
                      <a:pt x="15" y="10"/>
                      <a:pt x="14" y="13"/>
                    </a:cubicBezTo>
                    <a:cubicBezTo>
                      <a:pt x="16" y="13"/>
                      <a:pt x="17" y="13"/>
                      <a:pt x="18" y="14"/>
                    </a:cubicBezTo>
                    <a:cubicBezTo>
                      <a:pt x="19" y="16"/>
                      <a:pt x="19" y="17"/>
                      <a:pt x="19" y="18"/>
                    </a:cubicBezTo>
                    <a:cubicBezTo>
                      <a:pt x="19" y="20"/>
                      <a:pt x="20" y="22"/>
                      <a:pt x="19" y="24"/>
                    </a:cubicBezTo>
                    <a:cubicBezTo>
                      <a:pt x="18" y="24"/>
                      <a:pt x="18" y="25"/>
                      <a:pt x="18" y="25"/>
                    </a:cubicBezTo>
                    <a:cubicBezTo>
                      <a:pt x="18" y="25"/>
                      <a:pt x="19" y="25"/>
                      <a:pt x="19" y="26"/>
                    </a:cubicBezTo>
                    <a:cubicBezTo>
                      <a:pt x="20" y="26"/>
                      <a:pt x="21" y="28"/>
                      <a:pt x="21" y="30"/>
                    </a:cubicBezTo>
                    <a:cubicBezTo>
                      <a:pt x="21" y="33"/>
                      <a:pt x="19" y="36"/>
                      <a:pt x="16" y="37"/>
                    </a:cubicBezTo>
                    <a:cubicBezTo>
                      <a:pt x="15" y="37"/>
                      <a:pt x="13" y="37"/>
                      <a:pt x="11" y="36"/>
                    </a:cubicBezTo>
                    <a:cubicBezTo>
                      <a:pt x="8" y="35"/>
                      <a:pt x="6" y="32"/>
                      <a:pt x="4" y="29"/>
                    </a:cubicBezTo>
                    <a:cubicBezTo>
                      <a:pt x="2" y="26"/>
                      <a:pt x="1" y="23"/>
                      <a:pt x="0" y="20"/>
                    </a:cubicBezTo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" name="任意多边形: 形状 74"/>
              <p:cNvSpPr/>
              <p:nvPr/>
            </p:nvSpPr>
            <p:spPr bwMode="auto">
              <a:xfrm>
                <a:off x="5583238" y="2630488"/>
                <a:ext cx="354013" cy="385763"/>
              </a:xfrm>
              <a:custGeom>
                <a:avLst/>
                <a:gdLst>
                  <a:gd name="T0" fmla="*/ 61 w 62"/>
                  <a:gd name="T1" fmla="*/ 40 h 68"/>
                  <a:gd name="T2" fmla="*/ 57 w 62"/>
                  <a:gd name="T3" fmla="*/ 18 h 68"/>
                  <a:gd name="T4" fmla="*/ 40 w 62"/>
                  <a:gd name="T5" fmla="*/ 2 h 68"/>
                  <a:gd name="T6" fmla="*/ 12 w 62"/>
                  <a:gd name="T7" fmla="*/ 10 h 68"/>
                  <a:gd name="T8" fmla="*/ 11 w 62"/>
                  <a:gd name="T9" fmla="*/ 52 h 68"/>
                  <a:gd name="T10" fmla="*/ 33 w 62"/>
                  <a:gd name="T11" fmla="*/ 66 h 68"/>
                  <a:gd name="T12" fmla="*/ 52 w 62"/>
                  <a:gd name="T13" fmla="*/ 62 h 68"/>
                  <a:gd name="T14" fmla="*/ 61 w 62"/>
                  <a:gd name="T15" fmla="*/ 54 h 68"/>
                  <a:gd name="T16" fmla="*/ 61 w 62"/>
                  <a:gd name="T17" fmla="*/ 4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68">
                    <a:moveTo>
                      <a:pt x="61" y="40"/>
                    </a:moveTo>
                    <a:cubicBezTo>
                      <a:pt x="59" y="33"/>
                      <a:pt x="59" y="25"/>
                      <a:pt x="57" y="18"/>
                    </a:cubicBezTo>
                    <a:cubicBezTo>
                      <a:pt x="54" y="10"/>
                      <a:pt x="49" y="4"/>
                      <a:pt x="40" y="2"/>
                    </a:cubicBezTo>
                    <a:cubicBezTo>
                      <a:pt x="30" y="0"/>
                      <a:pt x="19" y="3"/>
                      <a:pt x="12" y="10"/>
                    </a:cubicBezTo>
                    <a:cubicBezTo>
                      <a:pt x="0" y="20"/>
                      <a:pt x="1" y="40"/>
                      <a:pt x="11" y="52"/>
                    </a:cubicBezTo>
                    <a:cubicBezTo>
                      <a:pt x="17" y="60"/>
                      <a:pt x="26" y="65"/>
                      <a:pt x="33" y="66"/>
                    </a:cubicBezTo>
                    <a:cubicBezTo>
                      <a:pt x="38" y="68"/>
                      <a:pt x="47" y="64"/>
                      <a:pt x="52" y="62"/>
                    </a:cubicBezTo>
                    <a:cubicBezTo>
                      <a:pt x="56" y="60"/>
                      <a:pt x="60" y="58"/>
                      <a:pt x="61" y="54"/>
                    </a:cubicBezTo>
                    <a:cubicBezTo>
                      <a:pt x="62" y="50"/>
                      <a:pt x="62" y="44"/>
                      <a:pt x="61" y="40"/>
                    </a:cubicBezTo>
                    <a:close/>
                  </a:path>
                </a:pathLst>
              </a:custGeom>
              <a:solidFill>
                <a:srgbClr val="A36A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" name="任意多边形: 形状 75"/>
              <p:cNvSpPr/>
              <p:nvPr/>
            </p:nvSpPr>
            <p:spPr bwMode="auto">
              <a:xfrm>
                <a:off x="5514975" y="2566988"/>
                <a:ext cx="398463" cy="381000"/>
              </a:xfrm>
              <a:custGeom>
                <a:avLst/>
                <a:gdLst>
                  <a:gd name="T0" fmla="*/ 23 w 70"/>
                  <a:gd name="T1" fmla="*/ 34 h 67"/>
                  <a:gd name="T2" fmla="*/ 38 w 70"/>
                  <a:gd name="T3" fmla="*/ 37 h 67"/>
                  <a:gd name="T4" fmla="*/ 42 w 70"/>
                  <a:gd name="T5" fmla="*/ 30 h 67"/>
                  <a:gd name="T6" fmla="*/ 48 w 70"/>
                  <a:gd name="T7" fmla="*/ 33 h 67"/>
                  <a:gd name="T8" fmla="*/ 54 w 70"/>
                  <a:gd name="T9" fmla="*/ 31 h 67"/>
                  <a:gd name="T10" fmla="*/ 56 w 70"/>
                  <a:gd name="T11" fmla="*/ 24 h 67"/>
                  <a:gd name="T12" fmla="*/ 67 w 70"/>
                  <a:gd name="T13" fmla="*/ 20 h 67"/>
                  <a:gd name="T14" fmla="*/ 67 w 70"/>
                  <a:gd name="T15" fmla="*/ 8 h 67"/>
                  <a:gd name="T16" fmla="*/ 55 w 70"/>
                  <a:gd name="T17" fmla="*/ 7 h 67"/>
                  <a:gd name="T18" fmla="*/ 51 w 70"/>
                  <a:gd name="T19" fmla="*/ 2 h 67"/>
                  <a:gd name="T20" fmla="*/ 39 w 70"/>
                  <a:gd name="T21" fmla="*/ 1 h 67"/>
                  <a:gd name="T22" fmla="*/ 33 w 70"/>
                  <a:gd name="T23" fmla="*/ 4 h 67"/>
                  <a:gd name="T24" fmla="*/ 30 w 70"/>
                  <a:gd name="T25" fmla="*/ 11 h 67"/>
                  <a:gd name="T26" fmla="*/ 24 w 70"/>
                  <a:gd name="T27" fmla="*/ 9 h 67"/>
                  <a:gd name="T28" fmla="*/ 16 w 70"/>
                  <a:gd name="T29" fmla="*/ 11 h 67"/>
                  <a:gd name="T30" fmla="*/ 10 w 70"/>
                  <a:gd name="T31" fmla="*/ 17 h 67"/>
                  <a:gd name="T32" fmla="*/ 9 w 70"/>
                  <a:gd name="T33" fmla="*/ 22 h 67"/>
                  <a:gd name="T34" fmla="*/ 10 w 70"/>
                  <a:gd name="T35" fmla="*/ 30 h 67"/>
                  <a:gd name="T36" fmla="*/ 8 w 70"/>
                  <a:gd name="T37" fmla="*/ 31 h 67"/>
                  <a:gd name="T38" fmla="*/ 7 w 70"/>
                  <a:gd name="T39" fmla="*/ 48 h 67"/>
                  <a:gd name="T40" fmla="*/ 5 w 70"/>
                  <a:gd name="T41" fmla="*/ 52 h 67"/>
                  <a:gd name="T42" fmla="*/ 13 w 70"/>
                  <a:gd name="T43" fmla="*/ 61 h 67"/>
                  <a:gd name="T44" fmla="*/ 19 w 70"/>
                  <a:gd name="T45" fmla="*/ 67 h 67"/>
                  <a:gd name="T46" fmla="*/ 26 w 70"/>
                  <a:gd name="T47" fmla="*/ 63 h 67"/>
                  <a:gd name="T48" fmla="*/ 28 w 70"/>
                  <a:gd name="T49" fmla="*/ 53 h 67"/>
                  <a:gd name="T50" fmla="*/ 25 w 70"/>
                  <a:gd name="T51" fmla="*/ 48 h 67"/>
                  <a:gd name="T52" fmla="*/ 27 w 70"/>
                  <a:gd name="T53" fmla="*/ 43 h 67"/>
                  <a:gd name="T54" fmla="*/ 23 w 70"/>
                  <a:gd name="T55" fmla="*/ 3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0" h="67">
                    <a:moveTo>
                      <a:pt x="23" y="34"/>
                    </a:moveTo>
                    <a:cubicBezTo>
                      <a:pt x="27" y="38"/>
                      <a:pt x="33" y="40"/>
                      <a:pt x="38" y="37"/>
                    </a:cubicBezTo>
                    <a:cubicBezTo>
                      <a:pt x="40" y="36"/>
                      <a:pt x="42" y="33"/>
                      <a:pt x="42" y="30"/>
                    </a:cubicBezTo>
                    <a:cubicBezTo>
                      <a:pt x="43" y="32"/>
                      <a:pt x="45" y="33"/>
                      <a:pt x="48" y="33"/>
                    </a:cubicBezTo>
                    <a:cubicBezTo>
                      <a:pt x="50" y="33"/>
                      <a:pt x="52" y="32"/>
                      <a:pt x="54" y="31"/>
                    </a:cubicBezTo>
                    <a:cubicBezTo>
                      <a:pt x="56" y="29"/>
                      <a:pt x="57" y="26"/>
                      <a:pt x="56" y="24"/>
                    </a:cubicBezTo>
                    <a:cubicBezTo>
                      <a:pt x="60" y="25"/>
                      <a:pt x="65" y="24"/>
                      <a:pt x="67" y="20"/>
                    </a:cubicBezTo>
                    <a:cubicBezTo>
                      <a:pt x="70" y="17"/>
                      <a:pt x="70" y="11"/>
                      <a:pt x="67" y="8"/>
                    </a:cubicBezTo>
                    <a:cubicBezTo>
                      <a:pt x="64" y="5"/>
                      <a:pt x="59" y="4"/>
                      <a:pt x="55" y="7"/>
                    </a:cubicBezTo>
                    <a:cubicBezTo>
                      <a:pt x="55" y="5"/>
                      <a:pt x="53" y="3"/>
                      <a:pt x="51" y="2"/>
                    </a:cubicBezTo>
                    <a:cubicBezTo>
                      <a:pt x="47" y="1"/>
                      <a:pt x="43" y="0"/>
                      <a:pt x="39" y="1"/>
                    </a:cubicBezTo>
                    <a:cubicBezTo>
                      <a:pt x="37" y="2"/>
                      <a:pt x="35" y="3"/>
                      <a:pt x="33" y="4"/>
                    </a:cubicBezTo>
                    <a:cubicBezTo>
                      <a:pt x="31" y="6"/>
                      <a:pt x="30" y="8"/>
                      <a:pt x="30" y="11"/>
                    </a:cubicBezTo>
                    <a:cubicBezTo>
                      <a:pt x="29" y="9"/>
                      <a:pt x="26" y="9"/>
                      <a:pt x="24" y="9"/>
                    </a:cubicBezTo>
                    <a:cubicBezTo>
                      <a:pt x="21" y="9"/>
                      <a:pt x="18" y="10"/>
                      <a:pt x="16" y="11"/>
                    </a:cubicBezTo>
                    <a:cubicBezTo>
                      <a:pt x="13" y="13"/>
                      <a:pt x="11" y="14"/>
                      <a:pt x="10" y="17"/>
                    </a:cubicBezTo>
                    <a:cubicBezTo>
                      <a:pt x="9" y="18"/>
                      <a:pt x="9" y="20"/>
                      <a:pt x="9" y="22"/>
                    </a:cubicBezTo>
                    <a:cubicBezTo>
                      <a:pt x="8" y="25"/>
                      <a:pt x="10" y="30"/>
                      <a:pt x="10" y="30"/>
                    </a:cubicBezTo>
                    <a:cubicBezTo>
                      <a:pt x="10" y="30"/>
                      <a:pt x="9" y="31"/>
                      <a:pt x="8" y="31"/>
                    </a:cubicBezTo>
                    <a:cubicBezTo>
                      <a:pt x="1" y="34"/>
                      <a:pt x="0" y="45"/>
                      <a:pt x="7" y="48"/>
                    </a:cubicBezTo>
                    <a:cubicBezTo>
                      <a:pt x="6" y="48"/>
                      <a:pt x="5" y="50"/>
                      <a:pt x="5" y="52"/>
                    </a:cubicBezTo>
                    <a:cubicBezTo>
                      <a:pt x="5" y="56"/>
                      <a:pt x="9" y="60"/>
                      <a:pt x="13" y="61"/>
                    </a:cubicBezTo>
                    <a:cubicBezTo>
                      <a:pt x="13" y="64"/>
                      <a:pt x="16" y="66"/>
                      <a:pt x="19" y="67"/>
                    </a:cubicBezTo>
                    <a:cubicBezTo>
                      <a:pt x="22" y="67"/>
                      <a:pt x="25" y="65"/>
                      <a:pt x="26" y="63"/>
                    </a:cubicBezTo>
                    <a:cubicBezTo>
                      <a:pt x="28" y="60"/>
                      <a:pt x="29" y="56"/>
                      <a:pt x="28" y="53"/>
                    </a:cubicBezTo>
                    <a:cubicBezTo>
                      <a:pt x="27" y="51"/>
                      <a:pt x="27" y="49"/>
                      <a:pt x="25" y="48"/>
                    </a:cubicBezTo>
                    <a:cubicBezTo>
                      <a:pt x="26" y="47"/>
                      <a:pt x="27" y="45"/>
                      <a:pt x="27" y="43"/>
                    </a:cubicBezTo>
                    <a:cubicBezTo>
                      <a:pt x="27" y="39"/>
                      <a:pt x="26" y="35"/>
                      <a:pt x="23" y="33"/>
                    </a:cubicBezTo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" name="任意多边形: 形状 76"/>
              <p:cNvSpPr/>
              <p:nvPr/>
            </p:nvSpPr>
            <p:spPr bwMode="auto">
              <a:xfrm>
                <a:off x="5629275" y="2835275"/>
                <a:ext cx="79375" cy="90488"/>
              </a:xfrm>
              <a:custGeom>
                <a:avLst/>
                <a:gdLst>
                  <a:gd name="T0" fmla="*/ 8 w 14"/>
                  <a:gd name="T1" fmla="*/ 2 h 16"/>
                  <a:gd name="T2" fmla="*/ 5 w 14"/>
                  <a:gd name="T3" fmla="*/ 1 h 16"/>
                  <a:gd name="T4" fmla="*/ 2 w 14"/>
                  <a:gd name="T5" fmla="*/ 1 h 16"/>
                  <a:gd name="T6" fmla="*/ 0 w 14"/>
                  <a:gd name="T7" fmla="*/ 3 h 16"/>
                  <a:gd name="T8" fmla="*/ 1 w 14"/>
                  <a:gd name="T9" fmla="*/ 11 h 16"/>
                  <a:gd name="T10" fmla="*/ 7 w 14"/>
                  <a:gd name="T11" fmla="*/ 16 h 16"/>
                  <a:gd name="T12" fmla="*/ 14 w 14"/>
                  <a:gd name="T1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6">
                    <a:moveTo>
                      <a:pt x="8" y="2"/>
                    </a:moveTo>
                    <a:cubicBezTo>
                      <a:pt x="7" y="2"/>
                      <a:pt x="6" y="1"/>
                      <a:pt x="5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1" y="2"/>
                      <a:pt x="1" y="3"/>
                      <a:pt x="0" y="3"/>
                    </a:cubicBezTo>
                    <a:cubicBezTo>
                      <a:pt x="0" y="6"/>
                      <a:pt x="0" y="9"/>
                      <a:pt x="1" y="11"/>
                    </a:cubicBezTo>
                    <a:cubicBezTo>
                      <a:pt x="2" y="14"/>
                      <a:pt x="5" y="16"/>
                      <a:pt x="7" y="16"/>
                    </a:cubicBezTo>
                    <a:cubicBezTo>
                      <a:pt x="10" y="16"/>
                      <a:pt x="13" y="15"/>
                      <a:pt x="14" y="12"/>
                    </a:cubicBezTo>
                  </a:path>
                </a:pathLst>
              </a:custGeom>
              <a:solidFill>
                <a:srgbClr val="A36A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" name="任意多边形: 形状 77"/>
              <p:cNvSpPr/>
              <p:nvPr/>
            </p:nvSpPr>
            <p:spPr bwMode="auto">
              <a:xfrm>
                <a:off x="5441950" y="3340100"/>
                <a:ext cx="107950" cy="477838"/>
              </a:xfrm>
              <a:custGeom>
                <a:avLst/>
                <a:gdLst>
                  <a:gd name="T0" fmla="*/ 0 w 19"/>
                  <a:gd name="T1" fmla="*/ 1 h 84"/>
                  <a:gd name="T2" fmla="*/ 17 w 19"/>
                  <a:gd name="T3" fmla="*/ 83 h 84"/>
                  <a:gd name="T4" fmla="*/ 19 w 19"/>
                  <a:gd name="T5" fmla="*/ 83 h 84"/>
                  <a:gd name="T6" fmla="*/ 2 w 19"/>
                  <a:gd name="T7" fmla="*/ 0 h 84"/>
                  <a:gd name="T8" fmla="*/ 0 w 19"/>
                  <a:gd name="T9" fmla="*/ 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4">
                    <a:moveTo>
                      <a:pt x="0" y="1"/>
                    </a:moveTo>
                    <a:cubicBezTo>
                      <a:pt x="5" y="28"/>
                      <a:pt x="10" y="56"/>
                      <a:pt x="17" y="83"/>
                    </a:cubicBezTo>
                    <a:cubicBezTo>
                      <a:pt x="17" y="84"/>
                      <a:pt x="19" y="84"/>
                      <a:pt x="19" y="83"/>
                    </a:cubicBezTo>
                    <a:cubicBezTo>
                      <a:pt x="15" y="55"/>
                      <a:pt x="8" y="28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" name="任意多边形: 形状 78"/>
              <p:cNvSpPr/>
              <p:nvPr/>
            </p:nvSpPr>
            <p:spPr bwMode="auto">
              <a:xfrm>
                <a:off x="6005513" y="3317875"/>
                <a:ext cx="39688" cy="471488"/>
              </a:xfrm>
              <a:custGeom>
                <a:avLst/>
                <a:gdLst>
                  <a:gd name="T0" fmla="*/ 1 w 7"/>
                  <a:gd name="T1" fmla="*/ 2 h 83"/>
                  <a:gd name="T2" fmla="*/ 6 w 7"/>
                  <a:gd name="T3" fmla="*/ 83 h 83"/>
                  <a:gd name="T4" fmla="*/ 7 w 7"/>
                  <a:gd name="T5" fmla="*/ 83 h 83"/>
                  <a:gd name="T6" fmla="*/ 3 w 7"/>
                  <a:gd name="T7" fmla="*/ 2 h 83"/>
                  <a:gd name="T8" fmla="*/ 1 w 7"/>
                  <a:gd name="T9" fmla="*/ 2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3">
                    <a:moveTo>
                      <a:pt x="1" y="2"/>
                    </a:moveTo>
                    <a:cubicBezTo>
                      <a:pt x="0" y="28"/>
                      <a:pt x="0" y="56"/>
                      <a:pt x="6" y="83"/>
                    </a:cubicBezTo>
                    <a:cubicBezTo>
                      <a:pt x="6" y="83"/>
                      <a:pt x="7" y="83"/>
                      <a:pt x="7" y="83"/>
                    </a:cubicBezTo>
                    <a:cubicBezTo>
                      <a:pt x="6" y="55"/>
                      <a:pt x="3" y="29"/>
                      <a:pt x="3" y="2"/>
                    </a:cubicBezTo>
                    <a:cubicBezTo>
                      <a:pt x="3" y="0"/>
                      <a:pt x="1" y="0"/>
                      <a:pt x="1" y="2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" name="任意多边形: 形状 79"/>
              <p:cNvSpPr/>
              <p:nvPr/>
            </p:nvSpPr>
            <p:spPr bwMode="auto">
              <a:xfrm>
                <a:off x="5719763" y="3113088"/>
                <a:ext cx="34925" cy="239713"/>
              </a:xfrm>
              <a:custGeom>
                <a:avLst/>
                <a:gdLst>
                  <a:gd name="T0" fmla="*/ 2 w 6"/>
                  <a:gd name="T1" fmla="*/ 1 h 42"/>
                  <a:gd name="T2" fmla="*/ 2 w 6"/>
                  <a:gd name="T3" fmla="*/ 40 h 42"/>
                  <a:gd name="T4" fmla="*/ 4 w 6"/>
                  <a:gd name="T5" fmla="*/ 40 h 42"/>
                  <a:gd name="T6" fmla="*/ 4 w 6"/>
                  <a:gd name="T7" fmla="*/ 1 h 42"/>
                  <a:gd name="T8" fmla="*/ 2 w 6"/>
                  <a:gd name="T9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2">
                    <a:moveTo>
                      <a:pt x="2" y="1"/>
                    </a:moveTo>
                    <a:cubicBezTo>
                      <a:pt x="1" y="13"/>
                      <a:pt x="0" y="28"/>
                      <a:pt x="2" y="40"/>
                    </a:cubicBezTo>
                    <a:cubicBezTo>
                      <a:pt x="3" y="42"/>
                      <a:pt x="4" y="41"/>
                      <a:pt x="4" y="40"/>
                    </a:cubicBezTo>
                    <a:cubicBezTo>
                      <a:pt x="6" y="28"/>
                      <a:pt x="5" y="14"/>
                      <a:pt x="4" y="1"/>
                    </a:cubicBezTo>
                    <a:cubicBezTo>
                      <a:pt x="4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" name="任意多边形: 形状 80"/>
              <p:cNvSpPr/>
              <p:nvPr/>
            </p:nvSpPr>
            <p:spPr bwMode="auto">
              <a:xfrm>
                <a:off x="5618163" y="3062288"/>
                <a:ext cx="255588" cy="68263"/>
              </a:xfrm>
              <a:custGeom>
                <a:avLst/>
                <a:gdLst>
                  <a:gd name="T0" fmla="*/ 0 w 45"/>
                  <a:gd name="T1" fmla="*/ 4 h 12"/>
                  <a:gd name="T2" fmla="*/ 19 w 45"/>
                  <a:gd name="T3" fmla="*/ 11 h 12"/>
                  <a:gd name="T4" fmla="*/ 43 w 45"/>
                  <a:gd name="T5" fmla="*/ 4 h 12"/>
                  <a:gd name="T6" fmla="*/ 41 w 45"/>
                  <a:gd name="T7" fmla="*/ 2 h 12"/>
                  <a:gd name="T8" fmla="*/ 2 w 45"/>
                  <a:gd name="T9" fmla="*/ 3 h 12"/>
                  <a:gd name="T10" fmla="*/ 0 w 45"/>
                  <a:gd name="T11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12">
                    <a:moveTo>
                      <a:pt x="0" y="4"/>
                    </a:moveTo>
                    <a:cubicBezTo>
                      <a:pt x="4" y="10"/>
                      <a:pt x="12" y="11"/>
                      <a:pt x="19" y="11"/>
                    </a:cubicBezTo>
                    <a:cubicBezTo>
                      <a:pt x="28" y="12"/>
                      <a:pt x="37" y="11"/>
                      <a:pt x="43" y="4"/>
                    </a:cubicBezTo>
                    <a:cubicBezTo>
                      <a:pt x="45" y="3"/>
                      <a:pt x="42" y="0"/>
                      <a:pt x="41" y="2"/>
                    </a:cubicBezTo>
                    <a:cubicBezTo>
                      <a:pt x="32" y="11"/>
                      <a:pt x="11" y="10"/>
                      <a:pt x="2" y="3"/>
                    </a:cubicBezTo>
                    <a:cubicBezTo>
                      <a:pt x="1" y="2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" name="任意多边形: 形状 81"/>
              <p:cNvSpPr/>
              <p:nvPr/>
            </p:nvSpPr>
            <p:spPr bwMode="auto">
              <a:xfrm>
                <a:off x="5754688" y="3163888"/>
                <a:ext cx="28575" cy="23813"/>
              </a:xfrm>
              <a:custGeom>
                <a:avLst/>
                <a:gdLst>
                  <a:gd name="T0" fmla="*/ 1 w 5"/>
                  <a:gd name="T1" fmla="*/ 3 h 4"/>
                  <a:gd name="T2" fmla="*/ 2 w 5"/>
                  <a:gd name="T3" fmla="*/ 3 h 4"/>
                  <a:gd name="T4" fmla="*/ 4 w 5"/>
                  <a:gd name="T5" fmla="*/ 3 h 4"/>
                  <a:gd name="T6" fmla="*/ 4 w 5"/>
                  <a:gd name="T7" fmla="*/ 3 h 4"/>
                  <a:gd name="T8" fmla="*/ 3 w 5"/>
                  <a:gd name="T9" fmla="*/ 0 h 4"/>
                  <a:gd name="T10" fmla="*/ 1 w 5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1" y="3"/>
                    </a:moveTo>
                    <a:cubicBezTo>
                      <a:pt x="1" y="3"/>
                      <a:pt x="1" y="3"/>
                      <a:pt x="2" y="3"/>
                    </a:cubicBezTo>
                    <a:cubicBezTo>
                      <a:pt x="2" y="4"/>
                      <a:pt x="3" y="4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5" y="2"/>
                      <a:pt x="4" y="0"/>
                      <a:pt x="3" y="0"/>
                    </a:cubicBezTo>
                    <a:cubicBezTo>
                      <a:pt x="1" y="0"/>
                      <a:pt x="0" y="2"/>
                      <a:pt x="1" y="3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" name="任意多边形: 形状 82"/>
              <p:cNvSpPr/>
              <p:nvPr/>
            </p:nvSpPr>
            <p:spPr bwMode="auto">
              <a:xfrm>
                <a:off x="5759450" y="3227388"/>
                <a:ext cx="17463" cy="22225"/>
              </a:xfrm>
              <a:custGeom>
                <a:avLst/>
                <a:gdLst>
                  <a:gd name="T0" fmla="*/ 0 w 3"/>
                  <a:gd name="T1" fmla="*/ 2 h 4"/>
                  <a:gd name="T2" fmla="*/ 0 w 3"/>
                  <a:gd name="T3" fmla="*/ 2 h 4"/>
                  <a:gd name="T4" fmla="*/ 3 w 3"/>
                  <a:gd name="T5" fmla="*/ 2 h 4"/>
                  <a:gd name="T6" fmla="*/ 3 w 3"/>
                  <a:gd name="T7" fmla="*/ 2 h 4"/>
                  <a:gd name="T8" fmla="*/ 0 w 3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4"/>
                      <a:pt x="3" y="4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" name="任意多边形: 形状 83"/>
              <p:cNvSpPr/>
              <p:nvPr/>
            </p:nvSpPr>
            <p:spPr bwMode="auto">
              <a:xfrm>
                <a:off x="5754688" y="3295650"/>
                <a:ext cx="28575" cy="22225"/>
              </a:xfrm>
              <a:custGeom>
                <a:avLst/>
                <a:gdLst>
                  <a:gd name="T0" fmla="*/ 2 w 5"/>
                  <a:gd name="T1" fmla="*/ 4 h 4"/>
                  <a:gd name="T2" fmla="*/ 2 w 5"/>
                  <a:gd name="T3" fmla="*/ 0 h 4"/>
                  <a:gd name="T4" fmla="*/ 2 w 5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2" y="4"/>
                    </a:moveTo>
                    <a:cubicBezTo>
                      <a:pt x="5" y="4"/>
                      <a:pt x="5" y="0"/>
                      <a:pt x="2" y="0"/>
                    </a:cubicBezTo>
                    <a:cubicBezTo>
                      <a:pt x="0" y="0"/>
                      <a:pt x="0" y="4"/>
                      <a:pt x="2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" name="任意多边形: 形状 84"/>
              <p:cNvSpPr/>
              <p:nvPr/>
            </p:nvSpPr>
            <p:spPr bwMode="auto">
              <a:xfrm>
                <a:off x="5402263" y="3613150"/>
                <a:ext cx="671513" cy="449263"/>
              </a:xfrm>
              <a:custGeom>
                <a:avLst/>
                <a:gdLst>
                  <a:gd name="T0" fmla="*/ 118 w 118"/>
                  <a:gd name="T1" fmla="*/ 79 h 79"/>
                  <a:gd name="T2" fmla="*/ 0 w 118"/>
                  <a:gd name="T3" fmla="*/ 79 h 79"/>
                  <a:gd name="T4" fmla="*/ 0 w 118"/>
                  <a:gd name="T5" fmla="*/ 9 h 79"/>
                  <a:gd name="T6" fmla="*/ 9 w 118"/>
                  <a:gd name="T7" fmla="*/ 0 h 79"/>
                  <a:gd name="T8" fmla="*/ 108 w 118"/>
                  <a:gd name="T9" fmla="*/ 0 h 79"/>
                  <a:gd name="T10" fmla="*/ 118 w 118"/>
                  <a:gd name="T11" fmla="*/ 9 h 79"/>
                  <a:gd name="T12" fmla="*/ 118 w 118"/>
                  <a:gd name="T13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8" h="79">
                    <a:moveTo>
                      <a:pt x="118" y="79"/>
                    </a:moveTo>
                    <a:cubicBezTo>
                      <a:pt x="0" y="79"/>
                      <a:pt x="0" y="79"/>
                      <a:pt x="0" y="7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14" y="0"/>
                      <a:pt x="118" y="4"/>
                      <a:pt x="118" y="9"/>
                    </a:cubicBezTo>
                    <a:lnTo>
                      <a:pt x="118" y="79"/>
                    </a:lnTo>
                    <a:close/>
                  </a:path>
                </a:pathLst>
              </a:cu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" name="任意多边形: 形状 85"/>
              <p:cNvSpPr/>
              <p:nvPr/>
            </p:nvSpPr>
            <p:spPr bwMode="auto">
              <a:xfrm>
                <a:off x="5856288" y="2767013"/>
                <a:ext cx="39688" cy="50800"/>
              </a:xfrm>
              <a:custGeom>
                <a:avLst/>
                <a:gdLst>
                  <a:gd name="T0" fmla="*/ 4 w 7"/>
                  <a:gd name="T1" fmla="*/ 1 h 9"/>
                  <a:gd name="T2" fmla="*/ 1 w 7"/>
                  <a:gd name="T3" fmla="*/ 3 h 9"/>
                  <a:gd name="T4" fmla="*/ 4 w 7"/>
                  <a:gd name="T5" fmla="*/ 8 h 9"/>
                  <a:gd name="T6" fmla="*/ 4 w 7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9">
                    <a:moveTo>
                      <a:pt x="4" y="1"/>
                    </a:moveTo>
                    <a:cubicBezTo>
                      <a:pt x="2" y="0"/>
                      <a:pt x="1" y="1"/>
                      <a:pt x="1" y="3"/>
                    </a:cubicBezTo>
                    <a:cubicBezTo>
                      <a:pt x="0" y="5"/>
                      <a:pt x="1" y="9"/>
                      <a:pt x="4" y="8"/>
                    </a:cubicBezTo>
                    <a:cubicBezTo>
                      <a:pt x="7" y="8"/>
                      <a:pt x="6" y="3"/>
                      <a:pt x="4" y="1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" name="任意多边形: 形状 86"/>
              <p:cNvSpPr/>
              <p:nvPr/>
            </p:nvSpPr>
            <p:spPr bwMode="auto">
              <a:xfrm>
                <a:off x="5873750" y="2778125"/>
                <a:ext cx="17463" cy="22225"/>
              </a:xfrm>
              <a:custGeom>
                <a:avLst/>
                <a:gdLst>
                  <a:gd name="T0" fmla="*/ 1 w 3"/>
                  <a:gd name="T1" fmla="*/ 1 h 4"/>
                  <a:gd name="T2" fmla="*/ 0 w 3"/>
                  <a:gd name="T3" fmla="*/ 2 h 4"/>
                  <a:gd name="T4" fmla="*/ 1 w 3"/>
                  <a:gd name="T5" fmla="*/ 4 h 4"/>
                  <a:gd name="T6" fmla="*/ 1 w 3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1" y="1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3" y="4"/>
                      <a:pt x="2" y="2"/>
                      <a:pt x="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" name="任意多边形: 形状 87"/>
              <p:cNvSpPr/>
              <p:nvPr/>
            </p:nvSpPr>
            <p:spPr bwMode="auto">
              <a:xfrm>
                <a:off x="5737225" y="2817813"/>
                <a:ext cx="39688" cy="46038"/>
              </a:xfrm>
              <a:custGeom>
                <a:avLst/>
                <a:gdLst>
                  <a:gd name="T0" fmla="*/ 3 w 7"/>
                  <a:gd name="T1" fmla="*/ 1 h 8"/>
                  <a:gd name="T2" fmla="*/ 0 w 7"/>
                  <a:gd name="T3" fmla="*/ 3 h 8"/>
                  <a:gd name="T4" fmla="*/ 3 w 7"/>
                  <a:gd name="T5" fmla="*/ 8 h 8"/>
                  <a:gd name="T6" fmla="*/ 3 w 7"/>
                  <a:gd name="T7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3" y="1"/>
                    </a:moveTo>
                    <a:cubicBezTo>
                      <a:pt x="2" y="0"/>
                      <a:pt x="0" y="0"/>
                      <a:pt x="0" y="3"/>
                    </a:cubicBezTo>
                    <a:cubicBezTo>
                      <a:pt x="0" y="5"/>
                      <a:pt x="0" y="8"/>
                      <a:pt x="3" y="8"/>
                    </a:cubicBezTo>
                    <a:cubicBezTo>
                      <a:pt x="7" y="7"/>
                      <a:pt x="5" y="2"/>
                      <a:pt x="3" y="1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" name="任意多边形: 形状 88"/>
              <p:cNvSpPr/>
              <p:nvPr/>
            </p:nvSpPr>
            <p:spPr bwMode="auto">
              <a:xfrm>
                <a:off x="5748338" y="2828925"/>
                <a:ext cx="23813" cy="22225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1 h 4"/>
                  <a:gd name="T4" fmla="*/ 2 w 4"/>
                  <a:gd name="T5" fmla="*/ 3 h 4"/>
                  <a:gd name="T6" fmla="*/ 2 w 4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1" y="4"/>
                      <a:pt x="2" y="3"/>
                    </a:cubicBezTo>
                    <a:cubicBezTo>
                      <a:pt x="4" y="3"/>
                      <a:pt x="3" y="1"/>
                      <a:pt x="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" name="任意多边形: 形状 89"/>
              <p:cNvSpPr/>
              <p:nvPr/>
            </p:nvSpPr>
            <p:spPr bwMode="auto">
              <a:xfrm>
                <a:off x="5703888" y="2778125"/>
                <a:ext cx="50800" cy="17463"/>
              </a:xfrm>
              <a:custGeom>
                <a:avLst/>
                <a:gdLst>
                  <a:gd name="T0" fmla="*/ 1 w 9"/>
                  <a:gd name="T1" fmla="*/ 3 h 3"/>
                  <a:gd name="T2" fmla="*/ 5 w 9"/>
                  <a:gd name="T3" fmla="*/ 3 h 3"/>
                  <a:gd name="T4" fmla="*/ 8 w 9"/>
                  <a:gd name="T5" fmla="*/ 3 h 3"/>
                  <a:gd name="T6" fmla="*/ 9 w 9"/>
                  <a:gd name="T7" fmla="*/ 1 h 3"/>
                  <a:gd name="T8" fmla="*/ 1 w 9"/>
                  <a:gd name="T9" fmla="*/ 2 h 3"/>
                  <a:gd name="T10" fmla="*/ 1 w 9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">
                    <a:moveTo>
                      <a:pt x="1" y="3"/>
                    </a:moveTo>
                    <a:cubicBezTo>
                      <a:pt x="3" y="3"/>
                      <a:pt x="4" y="3"/>
                      <a:pt x="5" y="3"/>
                    </a:cubicBezTo>
                    <a:cubicBezTo>
                      <a:pt x="6" y="3"/>
                      <a:pt x="7" y="3"/>
                      <a:pt x="8" y="3"/>
                    </a:cubicBezTo>
                    <a:cubicBezTo>
                      <a:pt x="9" y="3"/>
                      <a:pt x="9" y="2"/>
                      <a:pt x="9" y="1"/>
                    </a:cubicBezTo>
                    <a:cubicBezTo>
                      <a:pt x="6" y="0"/>
                      <a:pt x="3" y="1"/>
                      <a:pt x="1" y="2"/>
                    </a:cubicBezTo>
                    <a:cubicBezTo>
                      <a:pt x="0" y="2"/>
                      <a:pt x="0" y="3"/>
                      <a:pt x="1" y="3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" name="任意多边形: 形状 90"/>
              <p:cNvSpPr/>
              <p:nvPr/>
            </p:nvSpPr>
            <p:spPr bwMode="auto">
              <a:xfrm>
                <a:off x="5845175" y="2720975"/>
                <a:ext cx="39688" cy="34925"/>
              </a:xfrm>
              <a:custGeom>
                <a:avLst/>
                <a:gdLst>
                  <a:gd name="T0" fmla="*/ 6 w 7"/>
                  <a:gd name="T1" fmla="*/ 0 h 6"/>
                  <a:gd name="T2" fmla="*/ 0 w 7"/>
                  <a:gd name="T3" fmla="*/ 6 h 6"/>
                  <a:gd name="T4" fmla="*/ 1 w 7"/>
                  <a:gd name="T5" fmla="*/ 6 h 6"/>
                  <a:gd name="T6" fmla="*/ 6 w 7"/>
                  <a:gd name="T7" fmla="*/ 2 h 6"/>
                  <a:gd name="T8" fmla="*/ 6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cubicBezTo>
                      <a:pt x="3" y="0"/>
                      <a:pt x="0" y="2"/>
                      <a:pt x="0" y="6"/>
                    </a:cubicBezTo>
                    <a:cubicBezTo>
                      <a:pt x="0" y="6"/>
                      <a:pt x="1" y="6"/>
                      <a:pt x="1" y="6"/>
                    </a:cubicBezTo>
                    <a:cubicBezTo>
                      <a:pt x="3" y="5"/>
                      <a:pt x="3" y="2"/>
                      <a:pt x="6" y="2"/>
                    </a:cubicBezTo>
                    <a:cubicBezTo>
                      <a:pt x="7" y="2"/>
                      <a:pt x="7" y="1"/>
                      <a:pt x="6" y="0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" name="任意多边形: 形状 91"/>
              <p:cNvSpPr/>
              <p:nvPr/>
            </p:nvSpPr>
            <p:spPr bwMode="auto">
              <a:xfrm>
                <a:off x="5816600" y="2890838"/>
                <a:ext cx="68263" cy="52388"/>
              </a:xfrm>
              <a:custGeom>
                <a:avLst/>
                <a:gdLst>
                  <a:gd name="T0" fmla="*/ 0 w 12"/>
                  <a:gd name="T1" fmla="*/ 4 h 9"/>
                  <a:gd name="T2" fmla="*/ 0 w 12"/>
                  <a:gd name="T3" fmla="*/ 4 h 9"/>
                  <a:gd name="T4" fmla="*/ 11 w 12"/>
                  <a:gd name="T5" fmla="*/ 0 h 9"/>
                  <a:gd name="T6" fmla="*/ 12 w 12"/>
                  <a:gd name="T7" fmla="*/ 0 h 9"/>
                  <a:gd name="T8" fmla="*/ 12 w 12"/>
                  <a:gd name="T9" fmla="*/ 0 h 9"/>
                  <a:gd name="T10" fmla="*/ 12 w 12"/>
                  <a:gd name="T11" fmla="*/ 2 h 9"/>
                  <a:gd name="T12" fmla="*/ 12 w 12"/>
                  <a:gd name="T13" fmla="*/ 5 h 9"/>
                  <a:gd name="T14" fmla="*/ 10 w 12"/>
                  <a:gd name="T15" fmla="*/ 7 h 9"/>
                  <a:gd name="T16" fmla="*/ 4 w 12"/>
                  <a:gd name="T17" fmla="*/ 9 h 9"/>
                  <a:gd name="T18" fmla="*/ 2 w 12"/>
                  <a:gd name="T19" fmla="*/ 8 h 9"/>
                  <a:gd name="T20" fmla="*/ 0 w 12"/>
                  <a:gd name="T21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9"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4" y="2"/>
                      <a:pt x="7" y="1"/>
                      <a:pt x="11" y="0"/>
                    </a:cubicBezTo>
                    <a:cubicBezTo>
                      <a:pt x="11" y="0"/>
                      <a:pt x="11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1"/>
                      <a:pt x="12" y="2"/>
                      <a:pt x="12" y="2"/>
                    </a:cubicBezTo>
                    <a:cubicBezTo>
                      <a:pt x="12" y="3"/>
                      <a:pt x="12" y="4"/>
                      <a:pt x="12" y="5"/>
                    </a:cubicBezTo>
                    <a:cubicBezTo>
                      <a:pt x="11" y="6"/>
                      <a:pt x="11" y="6"/>
                      <a:pt x="10" y="7"/>
                    </a:cubicBezTo>
                    <a:cubicBezTo>
                      <a:pt x="9" y="8"/>
                      <a:pt x="6" y="9"/>
                      <a:pt x="4" y="9"/>
                    </a:cubicBezTo>
                    <a:cubicBezTo>
                      <a:pt x="3" y="8"/>
                      <a:pt x="2" y="8"/>
                      <a:pt x="2" y="8"/>
                    </a:cubicBezTo>
                    <a:cubicBezTo>
                      <a:pt x="1" y="7"/>
                      <a:pt x="0" y="5"/>
                      <a:pt x="0" y="4"/>
                    </a:cubicBezTo>
                  </a:path>
                </a:pathLst>
              </a:custGeom>
              <a:solidFill>
                <a:srgbClr val="7F40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" name="任意多边形: 形状 92"/>
              <p:cNvSpPr/>
              <p:nvPr/>
            </p:nvSpPr>
            <p:spPr bwMode="auto">
              <a:xfrm>
                <a:off x="5827713" y="2828925"/>
                <a:ext cx="41275" cy="50800"/>
              </a:xfrm>
              <a:custGeom>
                <a:avLst/>
                <a:gdLst>
                  <a:gd name="T0" fmla="*/ 3 w 7"/>
                  <a:gd name="T1" fmla="*/ 0 h 9"/>
                  <a:gd name="T2" fmla="*/ 5 w 7"/>
                  <a:gd name="T3" fmla="*/ 1 h 9"/>
                  <a:gd name="T4" fmla="*/ 6 w 7"/>
                  <a:gd name="T5" fmla="*/ 3 h 9"/>
                  <a:gd name="T6" fmla="*/ 7 w 7"/>
                  <a:gd name="T7" fmla="*/ 7 h 9"/>
                  <a:gd name="T8" fmla="*/ 6 w 7"/>
                  <a:gd name="T9" fmla="*/ 8 h 9"/>
                  <a:gd name="T10" fmla="*/ 5 w 7"/>
                  <a:gd name="T11" fmla="*/ 9 h 9"/>
                  <a:gd name="T12" fmla="*/ 2 w 7"/>
                  <a:gd name="T13" fmla="*/ 9 h 9"/>
                  <a:gd name="T14" fmla="*/ 0 w 7"/>
                  <a:gd name="T15" fmla="*/ 9 h 9"/>
                  <a:gd name="T16" fmla="*/ 2 w 7"/>
                  <a:gd name="T17" fmla="*/ 8 h 9"/>
                  <a:gd name="T18" fmla="*/ 4 w 7"/>
                  <a:gd name="T19" fmla="*/ 7 h 9"/>
                  <a:gd name="T20" fmla="*/ 5 w 7"/>
                  <a:gd name="T21" fmla="*/ 7 h 9"/>
                  <a:gd name="T22" fmla="*/ 5 w 7"/>
                  <a:gd name="T23" fmla="*/ 6 h 9"/>
                  <a:gd name="T24" fmla="*/ 5 w 7"/>
                  <a:gd name="T25" fmla="*/ 4 h 9"/>
                  <a:gd name="T26" fmla="*/ 4 w 7"/>
                  <a:gd name="T27" fmla="*/ 2 h 9"/>
                  <a:gd name="T28" fmla="*/ 3 w 7"/>
                  <a:gd name="T2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cubicBezTo>
                      <a:pt x="3" y="0"/>
                      <a:pt x="4" y="0"/>
                      <a:pt x="5" y="1"/>
                    </a:cubicBezTo>
                    <a:cubicBezTo>
                      <a:pt x="5" y="2"/>
                      <a:pt x="6" y="3"/>
                      <a:pt x="6" y="3"/>
                    </a:cubicBezTo>
                    <a:cubicBezTo>
                      <a:pt x="7" y="4"/>
                      <a:pt x="7" y="5"/>
                      <a:pt x="7" y="7"/>
                    </a:cubicBezTo>
                    <a:cubicBezTo>
                      <a:pt x="7" y="7"/>
                      <a:pt x="7" y="8"/>
                      <a:pt x="6" y="8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3" y="9"/>
                      <a:pt x="2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9"/>
                      <a:pt x="1" y="9"/>
                      <a:pt x="2" y="8"/>
                    </a:cubicBezTo>
                    <a:cubicBezTo>
                      <a:pt x="2" y="8"/>
                      <a:pt x="3" y="7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5"/>
                      <a:pt x="5" y="4"/>
                    </a:cubicBezTo>
                    <a:cubicBezTo>
                      <a:pt x="4" y="3"/>
                      <a:pt x="4" y="3"/>
                      <a:pt x="4" y="2"/>
                    </a:cubicBezTo>
                    <a:cubicBezTo>
                      <a:pt x="3" y="1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8E55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" name="矩形 93"/>
              <p:cNvSpPr/>
              <p:nvPr/>
            </p:nvSpPr>
            <p:spPr bwMode="auto">
              <a:xfrm>
                <a:off x="6369050" y="3932238"/>
                <a:ext cx="552450" cy="107950"/>
              </a:xfrm>
              <a:prstGeom prst="rect">
                <a:avLst/>
              </a:prstGeom>
              <a:solidFill>
                <a:srgbClr val="8BC0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" name="矩形 94"/>
              <p:cNvSpPr/>
              <p:nvPr/>
            </p:nvSpPr>
            <p:spPr bwMode="auto">
              <a:xfrm>
                <a:off x="6432550" y="3960813"/>
                <a:ext cx="346075" cy="50800"/>
              </a:xfrm>
              <a:prstGeom prst="rect">
                <a:avLst/>
              </a:prstGeom>
              <a:solidFill>
                <a:srgbClr val="DEE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" name="矩形 95"/>
              <p:cNvSpPr/>
              <p:nvPr/>
            </p:nvSpPr>
            <p:spPr bwMode="auto">
              <a:xfrm>
                <a:off x="6369050" y="3716338"/>
                <a:ext cx="552450" cy="107950"/>
              </a:xfrm>
              <a:prstGeom prst="rect">
                <a:avLst/>
              </a:prstGeom>
              <a:solidFill>
                <a:srgbClr val="8BC0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" name="矩形 96"/>
              <p:cNvSpPr/>
              <p:nvPr/>
            </p:nvSpPr>
            <p:spPr bwMode="auto">
              <a:xfrm>
                <a:off x="6432550" y="3744913"/>
                <a:ext cx="346075" cy="50800"/>
              </a:xfrm>
              <a:prstGeom prst="rect">
                <a:avLst/>
              </a:prstGeom>
              <a:solidFill>
                <a:srgbClr val="DEE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" name="矩形 97"/>
              <p:cNvSpPr/>
              <p:nvPr/>
            </p:nvSpPr>
            <p:spPr bwMode="auto">
              <a:xfrm>
                <a:off x="6369050" y="3824288"/>
                <a:ext cx="552450" cy="107950"/>
              </a:xfrm>
              <a:prstGeom prst="rect">
                <a:avLst/>
              </a:pr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" name="矩形 98"/>
              <p:cNvSpPr/>
              <p:nvPr/>
            </p:nvSpPr>
            <p:spPr bwMode="auto">
              <a:xfrm>
                <a:off x="6432550" y="3852863"/>
                <a:ext cx="346075" cy="50800"/>
              </a:xfrm>
              <a:prstGeom prst="rect">
                <a:avLst/>
              </a:prstGeom>
              <a:solidFill>
                <a:srgbClr val="DEE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" name="任意多边形: 形状 99"/>
              <p:cNvSpPr/>
              <p:nvPr/>
            </p:nvSpPr>
            <p:spPr bwMode="auto">
              <a:xfrm>
                <a:off x="4405313" y="4535488"/>
                <a:ext cx="61913" cy="1006475"/>
              </a:xfrm>
              <a:custGeom>
                <a:avLst/>
                <a:gdLst>
                  <a:gd name="T0" fmla="*/ 8 w 11"/>
                  <a:gd name="T1" fmla="*/ 174 h 177"/>
                  <a:gd name="T2" fmla="*/ 11 w 11"/>
                  <a:gd name="T3" fmla="*/ 0 h 177"/>
                  <a:gd name="T4" fmla="*/ 0 w 11"/>
                  <a:gd name="T5" fmla="*/ 0 h 177"/>
                  <a:gd name="T6" fmla="*/ 3 w 11"/>
                  <a:gd name="T7" fmla="*/ 174 h 177"/>
                  <a:gd name="T8" fmla="*/ 6 w 11"/>
                  <a:gd name="T9" fmla="*/ 177 h 177"/>
                  <a:gd name="T10" fmla="*/ 8 w 11"/>
                  <a:gd name="T11" fmla="*/ 174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77">
                    <a:moveTo>
                      <a:pt x="8" y="174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174"/>
                      <a:pt x="3" y="174"/>
                      <a:pt x="3" y="174"/>
                    </a:cubicBezTo>
                    <a:cubicBezTo>
                      <a:pt x="3" y="176"/>
                      <a:pt x="4" y="177"/>
                      <a:pt x="6" y="177"/>
                    </a:cubicBezTo>
                    <a:cubicBezTo>
                      <a:pt x="7" y="177"/>
                      <a:pt x="8" y="176"/>
                      <a:pt x="8" y="174"/>
                    </a:cubicBez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1" name="任意多边形: 形状 100"/>
              <p:cNvSpPr/>
              <p:nvPr/>
            </p:nvSpPr>
            <p:spPr bwMode="auto">
              <a:xfrm>
                <a:off x="3881438" y="4546600"/>
                <a:ext cx="415925" cy="955675"/>
              </a:xfrm>
              <a:custGeom>
                <a:avLst/>
                <a:gdLst>
                  <a:gd name="T0" fmla="*/ 5 w 73"/>
                  <a:gd name="T1" fmla="*/ 165 h 168"/>
                  <a:gd name="T2" fmla="*/ 73 w 73"/>
                  <a:gd name="T3" fmla="*/ 5 h 168"/>
                  <a:gd name="T4" fmla="*/ 62 w 73"/>
                  <a:gd name="T5" fmla="*/ 0 h 168"/>
                  <a:gd name="T6" fmla="*/ 1 w 73"/>
                  <a:gd name="T7" fmla="*/ 163 h 168"/>
                  <a:gd name="T8" fmla="*/ 2 w 73"/>
                  <a:gd name="T9" fmla="*/ 167 h 168"/>
                  <a:gd name="T10" fmla="*/ 5 w 73"/>
                  <a:gd name="T11" fmla="*/ 16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168">
                    <a:moveTo>
                      <a:pt x="5" y="165"/>
                    </a:moveTo>
                    <a:cubicBezTo>
                      <a:pt x="73" y="5"/>
                      <a:pt x="73" y="5"/>
                      <a:pt x="73" y="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1" y="163"/>
                      <a:pt x="1" y="163"/>
                      <a:pt x="1" y="163"/>
                    </a:cubicBezTo>
                    <a:cubicBezTo>
                      <a:pt x="0" y="165"/>
                      <a:pt x="1" y="167"/>
                      <a:pt x="2" y="167"/>
                    </a:cubicBezTo>
                    <a:cubicBezTo>
                      <a:pt x="3" y="168"/>
                      <a:pt x="5" y="167"/>
                      <a:pt x="5" y="165"/>
                    </a:cubicBez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2" name="任意多边形: 形状 101"/>
              <p:cNvSpPr/>
              <p:nvPr/>
            </p:nvSpPr>
            <p:spPr bwMode="auto">
              <a:xfrm>
                <a:off x="4581525" y="4546600"/>
                <a:ext cx="409575" cy="955675"/>
              </a:xfrm>
              <a:custGeom>
                <a:avLst/>
                <a:gdLst>
                  <a:gd name="T0" fmla="*/ 67 w 72"/>
                  <a:gd name="T1" fmla="*/ 165 h 168"/>
                  <a:gd name="T2" fmla="*/ 0 w 72"/>
                  <a:gd name="T3" fmla="*/ 5 h 168"/>
                  <a:gd name="T4" fmla="*/ 11 w 72"/>
                  <a:gd name="T5" fmla="*/ 0 h 168"/>
                  <a:gd name="T6" fmla="*/ 72 w 72"/>
                  <a:gd name="T7" fmla="*/ 163 h 168"/>
                  <a:gd name="T8" fmla="*/ 71 w 72"/>
                  <a:gd name="T9" fmla="*/ 167 h 168"/>
                  <a:gd name="T10" fmla="*/ 67 w 72"/>
                  <a:gd name="T11" fmla="*/ 16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168">
                    <a:moveTo>
                      <a:pt x="67" y="16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72" y="163"/>
                      <a:pt x="72" y="163"/>
                      <a:pt x="72" y="163"/>
                    </a:cubicBezTo>
                    <a:cubicBezTo>
                      <a:pt x="72" y="165"/>
                      <a:pt x="72" y="167"/>
                      <a:pt x="71" y="167"/>
                    </a:cubicBezTo>
                    <a:cubicBezTo>
                      <a:pt x="69" y="168"/>
                      <a:pt x="68" y="167"/>
                      <a:pt x="67" y="165"/>
                    </a:cubicBez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3" name="任意多边形: 形状 102"/>
              <p:cNvSpPr/>
              <p:nvPr/>
            </p:nvSpPr>
            <p:spPr bwMode="auto">
              <a:xfrm>
                <a:off x="3683000" y="3159125"/>
                <a:ext cx="1468438" cy="1563688"/>
              </a:xfrm>
              <a:custGeom>
                <a:avLst/>
                <a:gdLst>
                  <a:gd name="T0" fmla="*/ 178 w 258"/>
                  <a:gd name="T1" fmla="*/ 193 h 275"/>
                  <a:gd name="T2" fmla="*/ 164 w 258"/>
                  <a:gd name="T3" fmla="*/ 48 h 275"/>
                  <a:gd name="T4" fmla="*/ 78 w 258"/>
                  <a:gd name="T5" fmla="*/ 20 h 275"/>
                  <a:gd name="T6" fmla="*/ 17 w 258"/>
                  <a:gd name="T7" fmla="*/ 111 h 275"/>
                  <a:gd name="T8" fmla="*/ 10 w 258"/>
                  <a:gd name="T9" fmla="*/ 217 h 275"/>
                  <a:gd name="T10" fmla="*/ 91 w 258"/>
                  <a:gd name="T11" fmla="*/ 270 h 275"/>
                  <a:gd name="T12" fmla="*/ 229 w 258"/>
                  <a:gd name="T13" fmla="*/ 262 h 275"/>
                  <a:gd name="T14" fmla="*/ 241 w 258"/>
                  <a:gd name="T15" fmla="*/ 234 h 275"/>
                  <a:gd name="T16" fmla="*/ 189 w 258"/>
                  <a:gd name="T17" fmla="*/ 22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8" h="275">
                    <a:moveTo>
                      <a:pt x="178" y="193"/>
                    </a:moveTo>
                    <a:cubicBezTo>
                      <a:pt x="181" y="145"/>
                      <a:pt x="178" y="95"/>
                      <a:pt x="164" y="48"/>
                    </a:cubicBezTo>
                    <a:cubicBezTo>
                      <a:pt x="152" y="9"/>
                      <a:pt x="111" y="0"/>
                      <a:pt x="78" y="20"/>
                    </a:cubicBezTo>
                    <a:cubicBezTo>
                      <a:pt x="45" y="39"/>
                      <a:pt x="27" y="77"/>
                      <a:pt x="17" y="111"/>
                    </a:cubicBezTo>
                    <a:cubicBezTo>
                      <a:pt x="7" y="145"/>
                      <a:pt x="0" y="183"/>
                      <a:pt x="10" y="217"/>
                    </a:cubicBezTo>
                    <a:cubicBezTo>
                      <a:pt x="20" y="254"/>
                      <a:pt x="56" y="267"/>
                      <a:pt x="91" y="270"/>
                    </a:cubicBezTo>
                    <a:cubicBezTo>
                      <a:pt x="137" y="275"/>
                      <a:pt x="184" y="274"/>
                      <a:pt x="229" y="262"/>
                    </a:cubicBezTo>
                    <a:cubicBezTo>
                      <a:pt x="243" y="259"/>
                      <a:pt x="258" y="247"/>
                      <a:pt x="241" y="234"/>
                    </a:cubicBezTo>
                    <a:cubicBezTo>
                      <a:pt x="228" y="224"/>
                      <a:pt x="206" y="220"/>
                      <a:pt x="189" y="220"/>
                    </a:cubicBezTo>
                  </a:path>
                </a:pathLst>
              </a:cu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4" name="任意多边形: 形状 103"/>
              <p:cNvSpPr/>
              <p:nvPr/>
            </p:nvSpPr>
            <p:spPr bwMode="auto">
              <a:xfrm>
                <a:off x="4660900" y="4335463"/>
                <a:ext cx="700088" cy="1063625"/>
              </a:xfrm>
              <a:custGeom>
                <a:avLst/>
                <a:gdLst>
                  <a:gd name="T0" fmla="*/ 57 w 123"/>
                  <a:gd name="T1" fmla="*/ 0 h 187"/>
                  <a:gd name="T2" fmla="*/ 88 w 123"/>
                  <a:gd name="T3" fmla="*/ 75 h 187"/>
                  <a:gd name="T4" fmla="*/ 100 w 123"/>
                  <a:gd name="T5" fmla="*/ 138 h 187"/>
                  <a:gd name="T6" fmla="*/ 106 w 123"/>
                  <a:gd name="T7" fmla="*/ 164 h 187"/>
                  <a:gd name="T8" fmla="*/ 116 w 123"/>
                  <a:gd name="T9" fmla="*/ 178 h 187"/>
                  <a:gd name="T10" fmla="*/ 122 w 123"/>
                  <a:gd name="T11" fmla="*/ 181 h 187"/>
                  <a:gd name="T12" fmla="*/ 120 w 123"/>
                  <a:gd name="T13" fmla="*/ 184 h 187"/>
                  <a:gd name="T14" fmla="*/ 102 w 123"/>
                  <a:gd name="T15" fmla="*/ 183 h 187"/>
                  <a:gd name="T16" fmla="*/ 89 w 123"/>
                  <a:gd name="T17" fmla="*/ 169 h 187"/>
                  <a:gd name="T18" fmla="*/ 32 w 123"/>
                  <a:gd name="T19" fmla="*/ 64 h 187"/>
                  <a:gd name="T20" fmla="*/ 0 w 123"/>
                  <a:gd name="T21" fmla="*/ 7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3" h="187">
                    <a:moveTo>
                      <a:pt x="57" y="0"/>
                    </a:moveTo>
                    <a:cubicBezTo>
                      <a:pt x="77" y="23"/>
                      <a:pt x="81" y="45"/>
                      <a:pt x="88" y="75"/>
                    </a:cubicBezTo>
                    <a:cubicBezTo>
                      <a:pt x="92" y="92"/>
                      <a:pt x="96" y="121"/>
                      <a:pt x="100" y="138"/>
                    </a:cubicBezTo>
                    <a:cubicBezTo>
                      <a:pt x="102" y="147"/>
                      <a:pt x="104" y="155"/>
                      <a:pt x="106" y="164"/>
                    </a:cubicBezTo>
                    <a:cubicBezTo>
                      <a:pt x="108" y="170"/>
                      <a:pt x="108" y="178"/>
                      <a:pt x="116" y="178"/>
                    </a:cubicBezTo>
                    <a:cubicBezTo>
                      <a:pt x="119" y="178"/>
                      <a:pt x="123" y="179"/>
                      <a:pt x="122" y="181"/>
                    </a:cubicBezTo>
                    <a:cubicBezTo>
                      <a:pt x="122" y="183"/>
                      <a:pt x="121" y="183"/>
                      <a:pt x="120" y="184"/>
                    </a:cubicBezTo>
                    <a:cubicBezTo>
                      <a:pt x="114" y="187"/>
                      <a:pt x="107" y="186"/>
                      <a:pt x="102" y="183"/>
                    </a:cubicBezTo>
                    <a:cubicBezTo>
                      <a:pt x="96" y="179"/>
                      <a:pt x="92" y="174"/>
                      <a:pt x="89" y="169"/>
                    </a:cubicBezTo>
                    <a:cubicBezTo>
                      <a:pt x="67" y="135"/>
                      <a:pt x="57" y="95"/>
                      <a:pt x="32" y="64"/>
                    </a:cubicBezTo>
                    <a:cubicBezTo>
                      <a:pt x="23" y="54"/>
                      <a:pt x="2" y="21"/>
                      <a:pt x="0" y="7"/>
                    </a:cubicBezTo>
                  </a:path>
                </a:pathLst>
              </a:custGeom>
              <a:solidFill>
                <a:srgbClr val="F4B5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5" name="任意多边形: 形状 104"/>
              <p:cNvSpPr/>
              <p:nvPr/>
            </p:nvSpPr>
            <p:spPr bwMode="auto">
              <a:xfrm>
                <a:off x="5299075" y="5341938"/>
                <a:ext cx="114300" cy="52388"/>
              </a:xfrm>
              <a:custGeom>
                <a:avLst/>
                <a:gdLst>
                  <a:gd name="T0" fmla="*/ 0 w 20"/>
                  <a:gd name="T1" fmla="*/ 7 h 9"/>
                  <a:gd name="T2" fmla="*/ 3 w 20"/>
                  <a:gd name="T3" fmla="*/ 6 h 9"/>
                  <a:gd name="T4" fmla="*/ 5 w 20"/>
                  <a:gd name="T5" fmla="*/ 5 h 9"/>
                  <a:gd name="T6" fmla="*/ 8 w 20"/>
                  <a:gd name="T7" fmla="*/ 3 h 9"/>
                  <a:gd name="T8" fmla="*/ 4 w 20"/>
                  <a:gd name="T9" fmla="*/ 1 h 9"/>
                  <a:gd name="T10" fmla="*/ 15 w 20"/>
                  <a:gd name="T11" fmla="*/ 0 h 9"/>
                  <a:gd name="T12" fmla="*/ 18 w 20"/>
                  <a:gd name="T13" fmla="*/ 1 h 9"/>
                  <a:gd name="T14" fmla="*/ 20 w 20"/>
                  <a:gd name="T15" fmla="*/ 3 h 9"/>
                  <a:gd name="T16" fmla="*/ 16 w 20"/>
                  <a:gd name="T17" fmla="*/ 6 h 9"/>
                  <a:gd name="T18" fmla="*/ 3 w 20"/>
                  <a:gd name="T1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9">
                    <a:moveTo>
                      <a:pt x="0" y="7"/>
                    </a:moveTo>
                    <a:cubicBezTo>
                      <a:pt x="1" y="7"/>
                      <a:pt x="2" y="6"/>
                      <a:pt x="3" y="6"/>
                    </a:cubicBezTo>
                    <a:cubicBezTo>
                      <a:pt x="4" y="6"/>
                      <a:pt x="5" y="5"/>
                      <a:pt x="5" y="5"/>
                    </a:cubicBezTo>
                    <a:cubicBezTo>
                      <a:pt x="6" y="4"/>
                      <a:pt x="8" y="4"/>
                      <a:pt x="8" y="3"/>
                    </a:cubicBezTo>
                    <a:cubicBezTo>
                      <a:pt x="8" y="2"/>
                      <a:pt x="4" y="1"/>
                      <a:pt x="4" y="1"/>
                    </a:cubicBezTo>
                    <a:cubicBezTo>
                      <a:pt x="4" y="1"/>
                      <a:pt x="12" y="0"/>
                      <a:pt x="15" y="0"/>
                    </a:cubicBezTo>
                    <a:cubicBezTo>
                      <a:pt x="16" y="0"/>
                      <a:pt x="17" y="0"/>
                      <a:pt x="18" y="1"/>
                    </a:cubicBezTo>
                    <a:cubicBezTo>
                      <a:pt x="19" y="1"/>
                      <a:pt x="20" y="2"/>
                      <a:pt x="20" y="3"/>
                    </a:cubicBezTo>
                    <a:cubicBezTo>
                      <a:pt x="20" y="5"/>
                      <a:pt x="17" y="5"/>
                      <a:pt x="16" y="6"/>
                    </a:cubicBezTo>
                    <a:cubicBezTo>
                      <a:pt x="12" y="7"/>
                      <a:pt x="7" y="8"/>
                      <a:pt x="3" y="9"/>
                    </a:cubicBezTo>
                  </a:path>
                </a:pathLst>
              </a:custGeom>
              <a:solidFill>
                <a:srgbClr val="2661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6" name="任意多边形: 形状 105"/>
              <p:cNvSpPr/>
              <p:nvPr/>
            </p:nvSpPr>
            <p:spPr bwMode="auto">
              <a:xfrm>
                <a:off x="4440238" y="4364038"/>
                <a:ext cx="938213" cy="1057275"/>
              </a:xfrm>
              <a:custGeom>
                <a:avLst/>
                <a:gdLst>
                  <a:gd name="T0" fmla="*/ 59 w 165"/>
                  <a:gd name="T1" fmla="*/ 0 h 186"/>
                  <a:gd name="T2" fmla="*/ 85 w 165"/>
                  <a:gd name="T3" fmla="*/ 27 h 186"/>
                  <a:gd name="T4" fmla="*/ 107 w 165"/>
                  <a:gd name="T5" fmla="*/ 80 h 186"/>
                  <a:gd name="T6" fmla="*/ 137 w 165"/>
                  <a:gd name="T7" fmla="*/ 156 h 186"/>
                  <a:gd name="T8" fmla="*/ 147 w 165"/>
                  <a:gd name="T9" fmla="*/ 175 h 186"/>
                  <a:gd name="T10" fmla="*/ 165 w 165"/>
                  <a:gd name="T11" fmla="*/ 180 h 186"/>
                  <a:gd name="T12" fmla="*/ 145 w 165"/>
                  <a:gd name="T13" fmla="*/ 186 h 186"/>
                  <a:gd name="T14" fmla="*/ 138 w 165"/>
                  <a:gd name="T15" fmla="*/ 179 h 186"/>
                  <a:gd name="T16" fmla="*/ 75 w 165"/>
                  <a:gd name="T17" fmla="*/ 112 h 186"/>
                  <a:gd name="T18" fmla="*/ 55 w 165"/>
                  <a:gd name="T19" fmla="*/ 51 h 186"/>
                  <a:gd name="T20" fmla="*/ 17 w 165"/>
                  <a:gd name="T21" fmla="*/ 46 h 186"/>
                  <a:gd name="T22" fmla="*/ 0 w 165"/>
                  <a:gd name="T23" fmla="*/ 34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5" h="186">
                    <a:moveTo>
                      <a:pt x="59" y="0"/>
                    </a:moveTo>
                    <a:cubicBezTo>
                      <a:pt x="72" y="9"/>
                      <a:pt x="76" y="15"/>
                      <a:pt x="85" y="27"/>
                    </a:cubicBezTo>
                    <a:cubicBezTo>
                      <a:pt x="94" y="39"/>
                      <a:pt x="101" y="66"/>
                      <a:pt x="107" y="80"/>
                    </a:cubicBezTo>
                    <a:cubicBezTo>
                      <a:pt x="118" y="103"/>
                      <a:pt x="126" y="132"/>
                      <a:pt x="137" y="156"/>
                    </a:cubicBezTo>
                    <a:cubicBezTo>
                      <a:pt x="139" y="160"/>
                      <a:pt x="144" y="171"/>
                      <a:pt x="147" y="175"/>
                    </a:cubicBezTo>
                    <a:cubicBezTo>
                      <a:pt x="149" y="178"/>
                      <a:pt x="165" y="176"/>
                      <a:pt x="165" y="180"/>
                    </a:cubicBezTo>
                    <a:cubicBezTo>
                      <a:pt x="163" y="181"/>
                      <a:pt x="153" y="186"/>
                      <a:pt x="145" y="186"/>
                    </a:cubicBezTo>
                    <a:cubicBezTo>
                      <a:pt x="142" y="185"/>
                      <a:pt x="139" y="179"/>
                      <a:pt x="138" y="179"/>
                    </a:cubicBezTo>
                    <a:cubicBezTo>
                      <a:pt x="114" y="160"/>
                      <a:pt x="93" y="137"/>
                      <a:pt x="75" y="112"/>
                    </a:cubicBezTo>
                    <a:cubicBezTo>
                      <a:pt x="64" y="95"/>
                      <a:pt x="55" y="71"/>
                      <a:pt x="55" y="51"/>
                    </a:cubicBezTo>
                    <a:cubicBezTo>
                      <a:pt x="42" y="48"/>
                      <a:pt x="31" y="50"/>
                      <a:pt x="17" y="46"/>
                    </a:cubicBezTo>
                    <a:cubicBezTo>
                      <a:pt x="10" y="44"/>
                      <a:pt x="3" y="41"/>
                      <a:pt x="0" y="34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7" name="任意多边形: 形状 106"/>
              <p:cNvSpPr/>
              <p:nvPr/>
            </p:nvSpPr>
            <p:spPr bwMode="auto">
              <a:xfrm>
                <a:off x="5237163" y="5359400"/>
                <a:ext cx="176213" cy="90488"/>
              </a:xfrm>
              <a:custGeom>
                <a:avLst/>
                <a:gdLst>
                  <a:gd name="T0" fmla="*/ 0 w 31"/>
                  <a:gd name="T1" fmla="*/ 6 h 16"/>
                  <a:gd name="T2" fmla="*/ 6 w 31"/>
                  <a:gd name="T3" fmla="*/ 15 h 16"/>
                  <a:gd name="T4" fmla="*/ 16 w 31"/>
                  <a:gd name="T5" fmla="*/ 11 h 16"/>
                  <a:gd name="T6" fmla="*/ 30 w 31"/>
                  <a:gd name="T7" fmla="*/ 4 h 16"/>
                  <a:gd name="T8" fmla="*/ 31 w 31"/>
                  <a:gd name="T9" fmla="*/ 2 h 16"/>
                  <a:gd name="T10" fmla="*/ 28 w 31"/>
                  <a:gd name="T11" fmla="*/ 0 h 16"/>
                  <a:gd name="T12" fmla="*/ 11 w 31"/>
                  <a:gd name="T13" fmla="*/ 2 h 16"/>
                  <a:gd name="T14" fmla="*/ 16 w 31"/>
                  <a:gd name="T15" fmla="*/ 3 h 16"/>
                  <a:gd name="T16" fmla="*/ 0 w 31"/>
                  <a:gd name="T17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16">
                    <a:moveTo>
                      <a:pt x="0" y="6"/>
                    </a:moveTo>
                    <a:cubicBezTo>
                      <a:pt x="1" y="9"/>
                      <a:pt x="3" y="15"/>
                      <a:pt x="6" y="15"/>
                    </a:cubicBezTo>
                    <a:cubicBezTo>
                      <a:pt x="10" y="16"/>
                      <a:pt x="13" y="13"/>
                      <a:pt x="16" y="11"/>
                    </a:cubicBezTo>
                    <a:cubicBezTo>
                      <a:pt x="21" y="9"/>
                      <a:pt x="26" y="7"/>
                      <a:pt x="30" y="4"/>
                    </a:cubicBezTo>
                    <a:cubicBezTo>
                      <a:pt x="31" y="4"/>
                      <a:pt x="31" y="3"/>
                      <a:pt x="31" y="2"/>
                    </a:cubicBezTo>
                    <a:cubicBezTo>
                      <a:pt x="31" y="1"/>
                      <a:pt x="29" y="0"/>
                      <a:pt x="28" y="0"/>
                    </a:cubicBezTo>
                    <a:cubicBezTo>
                      <a:pt x="21" y="0"/>
                      <a:pt x="11" y="2"/>
                      <a:pt x="11" y="2"/>
                    </a:cubicBezTo>
                    <a:cubicBezTo>
                      <a:pt x="11" y="2"/>
                      <a:pt x="16" y="2"/>
                      <a:pt x="16" y="3"/>
                    </a:cubicBezTo>
                    <a:cubicBezTo>
                      <a:pt x="17" y="4"/>
                      <a:pt x="4" y="10"/>
                      <a:pt x="0" y="6"/>
                    </a:cubicBezTo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8" name="任意多边形: 形状 107"/>
              <p:cNvSpPr/>
              <p:nvPr/>
            </p:nvSpPr>
            <p:spPr bwMode="auto">
              <a:xfrm>
                <a:off x="4319588" y="4114800"/>
                <a:ext cx="985838" cy="1255713"/>
              </a:xfrm>
              <a:custGeom>
                <a:avLst/>
                <a:gdLst>
                  <a:gd name="T0" fmla="*/ 0 w 173"/>
                  <a:gd name="T1" fmla="*/ 0 h 221"/>
                  <a:gd name="T2" fmla="*/ 12 w 173"/>
                  <a:gd name="T3" fmla="*/ 5 h 221"/>
                  <a:gd name="T4" fmla="*/ 42 w 173"/>
                  <a:gd name="T5" fmla="*/ 19 h 221"/>
                  <a:gd name="T6" fmla="*/ 82 w 173"/>
                  <a:gd name="T7" fmla="*/ 45 h 221"/>
                  <a:gd name="T8" fmla="*/ 102 w 173"/>
                  <a:gd name="T9" fmla="*/ 63 h 221"/>
                  <a:gd name="T10" fmla="*/ 110 w 173"/>
                  <a:gd name="T11" fmla="*/ 74 h 221"/>
                  <a:gd name="T12" fmla="*/ 115 w 173"/>
                  <a:gd name="T13" fmla="*/ 87 h 221"/>
                  <a:gd name="T14" fmla="*/ 126 w 173"/>
                  <a:gd name="T15" fmla="*/ 112 h 221"/>
                  <a:gd name="T16" fmla="*/ 135 w 173"/>
                  <a:gd name="T17" fmla="*/ 137 h 221"/>
                  <a:gd name="T18" fmla="*/ 152 w 173"/>
                  <a:gd name="T19" fmla="*/ 181 h 221"/>
                  <a:gd name="T20" fmla="*/ 159 w 173"/>
                  <a:gd name="T21" fmla="*/ 199 h 221"/>
                  <a:gd name="T22" fmla="*/ 165 w 173"/>
                  <a:gd name="T23" fmla="*/ 212 h 221"/>
                  <a:gd name="T24" fmla="*/ 170 w 173"/>
                  <a:gd name="T25" fmla="*/ 219 h 221"/>
                  <a:gd name="T26" fmla="*/ 172 w 173"/>
                  <a:gd name="T27" fmla="*/ 220 h 221"/>
                  <a:gd name="T28" fmla="*/ 173 w 173"/>
                  <a:gd name="T29" fmla="*/ 220 h 221"/>
                  <a:gd name="T30" fmla="*/ 170 w 173"/>
                  <a:gd name="T31" fmla="*/ 219 h 221"/>
                  <a:gd name="T32" fmla="*/ 164 w 173"/>
                  <a:gd name="T33" fmla="*/ 212 h 221"/>
                  <a:gd name="T34" fmla="*/ 149 w 173"/>
                  <a:gd name="T35" fmla="*/ 182 h 221"/>
                  <a:gd name="T36" fmla="*/ 141 w 173"/>
                  <a:gd name="T37" fmla="*/ 162 h 221"/>
                  <a:gd name="T38" fmla="*/ 132 w 173"/>
                  <a:gd name="T39" fmla="*/ 138 h 221"/>
                  <a:gd name="T40" fmla="*/ 112 w 173"/>
                  <a:gd name="T41" fmla="*/ 88 h 221"/>
                  <a:gd name="T42" fmla="*/ 107 w 173"/>
                  <a:gd name="T43" fmla="*/ 76 h 221"/>
                  <a:gd name="T44" fmla="*/ 99 w 173"/>
                  <a:gd name="T45" fmla="*/ 65 h 221"/>
                  <a:gd name="T46" fmla="*/ 80 w 173"/>
                  <a:gd name="T47" fmla="*/ 47 h 221"/>
                  <a:gd name="T48" fmla="*/ 42 w 173"/>
                  <a:gd name="T49" fmla="*/ 20 h 221"/>
                  <a:gd name="T50" fmla="*/ 12 w 173"/>
                  <a:gd name="T51" fmla="*/ 5 h 221"/>
                  <a:gd name="T52" fmla="*/ 0 w 173"/>
                  <a:gd name="T5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3" h="221">
                    <a:moveTo>
                      <a:pt x="0" y="0"/>
                    </a:moveTo>
                    <a:cubicBezTo>
                      <a:pt x="0" y="0"/>
                      <a:pt x="5" y="2"/>
                      <a:pt x="12" y="5"/>
                    </a:cubicBezTo>
                    <a:cubicBezTo>
                      <a:pt x="20" y="8"/>
                      <a:pt x="30" y="12"/>
                      <a:pt x="42" y="19"/>
                    </a:cubicBezTo>
                    <a:cubicBezTo>
                      <a:pt x="55" y="25"/>
                      <a:pt x="68" y="34"/>
                      <a:pt x="82" y="45"/>
                    </a:cubicBezTo>
                    <a:cubicBezTo>
                      <a:pt x="89" y="50"/>
                      <a:pt x="96" y="56"/>
                      <a:pt x="102" y="63"/>
                    </a:cubicBezTo>
                    <a:cubicBezTo>
                      <a:pt x="105" y="66"/>
                      <a:pt x="108" y="70"/>
                      <a:pt x="110" y="74"/>
                    </a:cubicBezTo>
                    <a:cubicBezTo>
                      <a:pt x="112" y="78"/>
                      <a:pt x="114" y="83"/>
                      <a:pt x="115" y="87"/>
                    </a:cubicBezTo>
                    <a:cubicBezTo>
                      <a:pt x="119" y="95"/>
                      <a:pt x="122" y="104"/>
                      <a:pt x="126" y="112"/>
                    </a:cubicBezTo>
                    <a:cubicBezTo>
                      <a:pt x="129" y="121"/>
                      <a:pt x="132" y="129"/>
                      <a:pt x="135" y="137"/>
                    </a:cubicBezTo>
                    <a:cubicBezTo>
                      <a:pt x="141" y="153"/>
                      <a:pt x="147" y="168"/>
                      <a:pt x="152" y="181"/>
                    </a:cubicBezTo>
                    <a:cubicBezTo>
                      <a:pt x="154" y="188"/>
                      <a:pt x="157" y="193"/>
                      <a:pt x="159" y="199"/>
                    </a:cubicBezTo>
                    <a:cubicBezTo>
                      <a:pt x="161" y="204"/>
                      <a:pt x="163" y="208"/>
                      <a:pt x="165" y="212"/>
                    </a:cubicBezTo>
                    <a:cubicBezTo>
                      <a:pt x="166" y="215"/>
                      <a:pt x="168" y="218"/>
                      <a:pt x="170" y="219"/>
                    </a:cubicBezTo>
                    <a:cubicBezTo>
                      <a:pt x="171" y="220"/>
                      <a:pt x="172" y="220"/>
                      <a:pt x="172" y="220"/>
                    </a:cubicBezTo>
                    <a:cubicBezTo>
                      <a:pt x="173" y="220"/>
                      <a:pt x="173" y="220"/>
                      <a:pt x="173" y="220"/>
                    </a:cubicBezTo>
                    <a:cubicBezTo>
                      <a:pt x="173" y="220"/>
                      <a:pt x="172" y="221"/>
                      <a:pt x="170" y="219"/>
                    </a:cubicBezTo>
                    <a:cubicBezTo>
                      <a:pt x="168" y="218"/>
                      <a:pt x="166" y="216"/>
                      <a:pt x="164" y="212"/>
                    </a:cubicBezTo>
                    <a:cubicBezTo>
                      <a:pt x="159" y="205"/>
                      <a:pt x="155" y="195"/>
                      <a:pt x="149" y="182"/>
                    </a:cubicBezTo>
                    <a:cubicBezTo>
                      <a:pt x="146" y="176"/>
                      <a:pt x="144" y="169"/>
                      <a:pt x="141" y="162"/>
                    </a:cubicBezTo>
                    <a:cubicBezTo>
                      <a:pt x="138" y="154"/>
                      <a:pt x="135" y="147"/>
                      <a:pt x="132" y="138"/>
                    </a:cubicBezTo>
                    <a:cubicBezTo>
                      <a:pt x="125" y="122"/>
                      <a:pt x="119" y="105"/>
                      <a:pt x="112" y="88"/>
                    </a:cubicBezTo>
                    <a:cubicBezTo>
                      <a:pt x="110" y="84"/>
                      <a:pt x="109" y="80"/>
                      <a:pt x="107" y="76"/>
                    </a:cubicBezTo>
                    <a:cubicBezTo>
                      <a:pt x="105" y="72"/>
                      <a:pt x="102" y="68"/>
                      <a:pt x="99" y="65"/>
                    </a:cubicBezTo>
                    <a:cubicBezTo>
                      <a:pt x="94" y="58"/>
                      <a:pt x="87" y="52"/>
                      <a:pt x="80" y="47"/>
                    </a:cubicBezTo>
                    <a:cubicBezTo>
                      <a:pt x="67" y="36"/>
                      <a:pt x="53" y="27"/>
                      <a:pt x="42" y="20"/>
                    </a:cubicBezTo>
                    <a:cubicBezTo>
                      <a:pt x="30" y="14"/>
                      <a:pt x="19" y="9"/>
                      <a:pt x="12" y="5"/>
                    </a:cubicBezTo>
                    <a:cubicBezTo>
                      <a:pt x="5" y="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DA6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9" name="任意多边形: 形状 108"/>
              <p:cNvSpPr/>
              <p:nvPr/>
            </p:nvSpPr>
            <p:spPr bwMode="auto">
              <a:xfrm>
                <a:off x="4064000" y="3925888"/>
                <a:ext cx="990600" cy="717550"/>
              </a:xfrm>
              <a:custGeom>
                <a:avLst/>
                <a:gdLst>
                  <a:gd name="T0" fmla="*/ 3 w 174"/>
                  <a:gd name="T1" fmla="*/ 43 h 126"/>
                  <a:gd name="T2" fmla="*/ 9 w 174"/>
                  <a:gd name="T3" fmla="*/ 81 h 126"/>
                  <a:gd name="T4" fmla="*/ 102 w 174"/>
                  <a:gd name="T5" fmla="*/ 126 h 126"/>
                  <a:gd name="T6" fmla="*/ 174 w 174"/>
                  <a:gd name="T7" fmla="*/ 89 h 126"/>
                  <a:gd name="T8" fmla="*/ 148 w 174"/>
                  <a:gd name="T9" fmla="*/ 46 h 126"/>
                  <a:gd name="T10" fmla="*/ 112 w 174"/>
                  <a:gd name="T11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4" h="126">
                    <a:moveTo>
                      <a:pt x="3" y="43"/>
                    </a:moveTo>
                    <a:cubicBezTo>
                      <a:pt x="0" y="51"/>
                      <a:pt x="5" y="73"/>
                      <a:pt x="9" y="81"/>
                    </a:cubicBezTo>
                    <a:cubicBezTo>
                      <a:pt x="32" y="122"/>
                      <a:pt x="101" y="126"/>
                      <a:pt x="102" y="126"/>
                    </a:cubicBezTo>
                    <a:cubicBezTo>
                      <a:pt x="128" y="74"/>
                      <a:pt x="166" y="81"/>
                      <a:pt x="174" y="89"/>
                    </a:cubicBezTo>
                    <a:cubicBezTo>
                      <a:pt x="174" y="89"/>
                      <a:pt x="161" y="63"/>
                      <a:pt x="148" y="46"/>
                    </a:cubicBezTo>
                    <a:cubicBezTo>
                      <a:pt x="135" y="29"/>
                      <a:pt x="131" y="12"/>
                      <a:pt x="112" y="0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0" name="任意多边形: 形状 109"/>
              <p:cNvSpPr/>
              <p:nvPr/>
            </p:nvSpPr>
            <p:spPr bwMode="auto">
              <a:xfrm>
                <a:off x="4057650" y="3324225"/>
                <a:ext cx="825500" cy="903288"/>
              </a:xfrm>
              <a:custGeom>
                <a:avLst/>
                <a:gdLst>
                  <a:gd name="T0" fmla="*/ 17 w 145"/>
                  <a:gd name="T1" fmla="*/ 17 h 159"/>
                  <a:gd name="T2" fmla="*/ 0 w 145"/>
                  <a:gd name="T3" fmla="*/ 146 h 159"/>
                  <a:gd name="T4" fmla="*/ 3 w 145"/>
                  <a:gd name="T5" fmla="*/ 153 h 159"/>
                  <a:gd name="T6" fmla="*/ 7 w 145"/>
                  <a:gd name="T7" fmla="*/ 154 h 159"/>
                  <a:gd name="T8" fmla="*/ 143 w 145"/>
                  <a:gd name="T9" fmla="*/ 152 h 159"/>
                  <a:gd name="T10" fmla="*/ 145 w 145"/>
                  <a:gd name="T11" fmla="*/ 151 h 159"/>
                  <a:gd name="T12" fmla="*/ 145 w 145"/>
                  <a:gd name="T13" fmla="*/ 149 h 159"/>
                  <a:gd name="T14" fmla="*/ 138 w 145"/>
                  <a:gd name="T15" fmla="*/ 88 h 159"/>
                  <a:gd name="T16" fmla="*/ 131 w 145"/>
                  <a:gd name="T17" fmla="*/ 45 h 159"/>
                  <a:gd name="T18" fmla="*/ 112 w 145"/>
                  <a:gd name="T1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5" h="159">
                    <a:moveTo>
                      <a:pt x="17" y="17"/>
                    </a:moveTo>
                    <a:cubicBezTo>
                      <a:pt x="6" y="59"/>
                      <a:pt x="1" y="102"/>
                      <a:pt x="0" y="146"/>
                    </a:cubicBezTo>
                    <a:cubicBezTo>
                      <a:pt x="0" y="148"/>
                      <a:pt x="0" y="152"/>
                      <a:pt x="3" y="153"/>
                    </a:cubicBezTo>
                    <a:cubicBezTo>
                      <a:pt x="4" y="154"/>
                      <a:pt x="5" y="154"/>
                      <a:pt x="7" y="154"/>
                    </a:cubicBezTo>
                    <a:cubicBezTo>
                      <a:pt x="52" y="159"/>
                      <a:pt x="98" y="158"/>
                      <a:pt x="143" y="152"/>
                    </a:cubicBezTo>
                    <a:cubicBezTo>
                      <a:pt x="144" y="152"/>
                      <a:pt x="145" y="152"/>
                      <a:pt x="145" y="151"/>
                    </a:cubicBezTo>
                    <a:cubicBezTo>
                      <a:pt x="145" y="150"/>
                      <a:pt x="145" y="149"/>
                      <a:pt x="145" y="149"/>
                    </a:cubicBezTo>
                    <a:cubicBezTo>
                      <a:pt x="143" y="129"/>
                      <a:pt x="141" y="109"/>
                      <a:pt x="138" y="88"/>
                    </a:cubicBezTo>
                    <a:cubicBezTo>
                      <a:pt x="137" y="74"/>
                      <a:pt x="135" y="59"/>
                      <a:pt x="131" y="45"/>
                    </a:cubicBezTo>
                    <a:cubicBezTo>
                      <a:pt x="127" y="29"/>
                      <a:pt x="120" y="14"/>
                      <a:pt x="112" y="0"/>
                    </a:cubicBezTo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1" name="任意多边形: 形状 110"/>
              <p:cNvSpPr/>
              <p:nvPr/>
            </p:nvSpPr>
            <p:spPr bwMode="auto">
              <a:xfrm>
                <a:off x="3989388" y="3141663"/>
                <a:ext cx="990600" cy="887413"/>
              </a:xfrm>
              <a:custGeom>
                <a:avLst/>
                <a:gdLst>
                  <a:gd name="T0" fmla="*/ 96 w 174"/>
                  <a:gd name="T1" fmla="*/ 2 h 156"/>
                  <a:gd name="T2" fmla="*/ 130 w 174"/>
                  <a:gd name="T3" fmla="*/ 13 h 156"/>
                  <a:gd name="T4" fmla="*/ 152 w 174"/>
                  <a:gd name="T5" fmla="*/ 42 h 156"/>
                  <a:gd name="T6" fmla="*/ 173 w 174"/>
                  <a:gd name="T7" fmla="*/ 107 h 156"/>
                  <a:gd name="T8" fmla="*/ 173 w 174"/>
                  <a:gd name="T9" fmla="*/ 115 h 156"/>
                  <a:gd name="T10" fmla="*/ 168 w 174"/>
                  <a:gd name="T11" fmla="*/ 123 h 156"/>
                  <a:gd name="T12" fmla="*/ 112 w 174"/>
                  <a:gd name="T13" fmla="*/ 156 h 156"/>
                  <a:gd name="T14" fmla="*/ 65 w 174"/>
                  <a:gd name="T15" fmla="*/ 155 h 156"/>
                  <a:gd name="T16" fmla="*/ 16 w 174"/>
                  <a:gd name="T17" fmla="*/ 136 h 156"/>
                  <a:gd name="T18" fmla="*/ 1 w 174"/>
                  <a:gd name="T19" fmla="*/ 120 h 156"/>
                  <a:gd name="T20" fmla="*/ 0 w 174"/>
                  <a:gd name="T21" fmla="*/ 109 h 156"/>
                  <a:gd name="T22" fmla="*/ 11 w 174"/>
                  <a:gd name="T23" fmla="*/ 45 h 156"/>
                  <a:gd name="T24" fmla="*/ 57 w 174"/>
                  <a:gd name="T25" fmla="*/ 3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4" h="156">
                    <a:moveTo>
                      <a:pt x="96" y="2"/>
                    </a:moveTo>
                    <a:cubicBezTo>
                      <a:pt x="108" y="0"/>
                      <a:pt x="121" y="5"/>
                      <a:pt x="130" y="13"/>
                    </a:cubicBezTo>
                    <a:cubicBezTo>
                      <a:pt x="139" y="21"/>
                      <a:pt x="146" y="31"/>
                      <a:pt x="152" y="42"/>
                    </a:cubicBezTo>
                    <a:cubicBezTo>
                      <a:pt x="162" y="63"/>
                      <a:pt x="169" y="85"/>
                      <a:pt x="173" y="107"/>
                    </a:cubicBezTo>
                    <a:cubicBezTo>
                      <a:pt x="174" y="110"/>
                      <a:pt x="174" y="113"/>
                      <a:pt x="173" y="115"/>
                    </a:cubicBezTo>
                    <a:cubicBezTo>
                      <a:pt x="173" y="118"/>
                      <a:pt x="170" y="121"/>
                      <a:pt x="168" y="123"/>
                    </a:cubicBezTo>
                    <a:cubicBezTo>
                      <a:pt x="153" y="139"/>
                      <a:pt x="133" y="150"/>
                      <a:pt x="112" y="156"/>
                    </a:cubicBezTo>
                    <a:cubicBezTo>
                      <a:pt x="65" y="155"/>
                      <a:pt x="65" y="155"/>
                      <a:pt x="65" y="155"/>
                    </a:cubicBezTo>
                    <a:cubicBezTo>
                      <a:pt x="48" y="151"/>
                      <a:pt x="31" y="145"/>
                      <a:pt x="16" y="136"/>
                    </a:cubicBezTo>
                    <a:cubicBezTo>
                      <a:pt x="10" y="132"/>
                      <a:pt x="3" y="127"/>
                      <a:pt x="1" y="120"/>
                    </a:cubicBezTo>
                    <a:cubicBezTo>
                      <a:pt x="0" y="116"/>
                      <a:pt x="0" y="112"/>
                      <a:pt x="0" y="109"/>
                    </a:cubicBezTo>
                    <a:cubicBezTo>
                      <a:pt x="1" y="87"/>
                      <a:pt x="2" y="65"/>
                      <a:pt x="11" y="45"/>
                    </a:cubicBezTo>
                    <a:cubicBezTo>
                      <a:pt x="19" y="25"/>
                      <a:pt x="35" y="6"/>
                      <a:pt x="57" y="3"/>
                    </a:cubicBezTo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2" name="任意多边形: 形状 111"/>
              <p:cNvSpPr/>
              <p:nvPr/>
            </p:nvSpPr>
            <p:spPr bwMode="auto">
              <a:xfrm>
                <a:off x="4233863" y="2976563"/>
                <a:ext cx="336550" cy="307975"/>
              </a:xfrm>
              <a:custGeom>
                <a:avLst/>
                <a:gdLst>
                  <a:gd name="T0" fmla="*/ 40 w 59"/>
                  <a:gd name="T1" fmla="*/ 9 h 54"/>
                  <a:gd name="T2" fmla="*/ 41 w 59"/>
                  <a:gd name="T3" fmla="*/ 24 h 54"/>
                  <a:gd name="T4" fmla="*/ 59 w 59"/>
                  <a:gd name="T5" fmla="*/ 30 h 54"/>
                  <a:gd name="T6" fmla="*/ 48 w 59"/>
                  <a:gd name="T7" fmla="*/ 47 h 54"/>
                  <a:gd name="T8" fmla="*/ 43 w 59"/>
                  <a:gd name="T9" fmla="*/ 51 h 54"/>
                  <a:gd name="T10" fmla="*/ 28 w 59"/>
                  <a:gd name="T11" fmla="*/ 50 h 54"/>
                  <a:gd name="T12" fmla="*/ 0 w 59"/>
                  <a:gd name="T13" fmla="*/ 36 h 54"/>
                  <a:gd name="T14" fmla="*/ 19 w 59"/>
                  <a:gd name="T15" fmla="*/ 28 h 54"/>
                  <a:gd name="T16" fmla="*/ 21 w 59"/>
                  <a:gd name="T17" fmla="*/ 24 h 54"/>
                  <a:gd name="T18" fmla="*/ 23 w 59"/>
                  <a:gd name="T19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54">
                    <a:moveTo>
                      <a:pt x="40" y="9"/>
                    </a:moveTo>
                    <a:cubicBezTo>
                      <a:pt x="39" y="14"/>
                      <a:pt x="39" y="20"/>
                      <a:pt x="41" y="24"/>
                    </a:cubicBezTo>
                    <a:cubicBezTo>
                      <a:pt x="45" y="29"/>
                      <a:pt x="53" y="30"/>
                      <a:pt x="59" y="30"/>
                    </a:cubicBezTo>
                    <a:cubicBezTo>
                      <a:pt x="57" y="37"/>
                      <a:pt x="52" y="42"/>
                      <a:pt x="48" y="47"/>
                    </a:cubicBezTo>
                    <a:cubicBezTo>
                      <a:pt x="46" y="49"/>
                      <a:pt x="45" y="50"/>
                      <a:pt x="43" y="51"/>
                    </a:cubicBezTo>
                    <a:cubicBezTo>
                      <a:pt x="38" y="54"/>
                      <a:pt x="33" y="52"/>
                      <a:pt x="28" y="50"/>
                    </a:cubicBezTo>
                    <a:cubicBezTo>
                      <a:pt x="20" y="48"/>
                      <a:pt x="5" y="42"/>
                      <a:pt x="0" y="36"/>
                    </a:cubicBezTo>
                    <a:cubicBezTo>
                      <a:pt x="5" y="34"/>
                      <a:pt x="18" y="31"/>
                      <a:pt x="19" y="28"/>
                    </a:cubicBezTo>
                    <a:cubicBezTo>
                      <a:pt x="20" y="27"/>
                      <a:pt x="20" y="25"/>
                      <a:pt x="21" y="24"/>
                    </a:cubicBezTo>
                    <a:cubicBezTo>
                      <a:pt x="21" y="16"/>
                      <a:pt x="22" y="8"/>
                      <a:pt x="23" y="0"/>
                    </a:cubicBezTo>
                  </a:path>
                </a:pathLst>
              </a:custGeom>
              <a:solidFill>
                <a:srgbClr val="F4B5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70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3" name="任意多边形: 形状 112"/>
              <p:cNvSpPr/>
              <p:nvPr/>
            </p:nvSpPr>
            <p:spPr bwMode="auto">
              <a:xfrm>
                <a:off x="4456113" y="2663825"/>
                <a:ext cx="193675" cy="363538"/>
              </a:xfrm>
              <a:custGeom>
                <a:avLst/>
                <a:gdLst>
                  <a:gd name="T0" fmla="*/ 0 w 34"/>
                  <a:gd name="T1" fmla="*/ 3 h 64"/>
                  <a:gd name="T2" fmla="*/ 14 w 34"/>
                  <a:gd name="T3" fmla="*/ 2 h 64"/>
                  <a:gd name="T4" fmla="*/ 25 w 34"/>
                  <a:gd name="T5" fmla="*/ 11 h 64"/>
                  <a:gd name="T6" fmla="*/ 30 w 34"/>
                  <a:gd name="T7" fmla="*/ 25 h 64"/>
                  <a:gd name="T8" fmla="*/ 33 w 34"/>
                  <a:gd name="T9" fmla="*/ 64 h 64"/>
                  <a:gd name="T10" fmla="*/ 9 w 34"/>
                  <a:gd name="T11" fmla="*/ 6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64">
                    <a:moveTo>
                      <a:pt x="0" y="3"/>
                    </a:moveTo>
                    <a:cubicBezTo>
                      <a:pt x="4" y="0"/>
                      <a:pt x="10" y="0"/>
                      <a:pt x="14" y="2"/>
                    </a:cubicBezTo>
                    <a:cubicBezTo>
                      <a:pt x="19" y="4"/>
                      <a:pt x="23" y="7"/>
                      <a:pt x="25" y="11"/>
                    </a:cubicBezTo>
                    <a:cubicBezTo>
                      <a:pt x="28" y="16"/>
                      <a:pt x="29" y="20"/>
                      <a:pt x="30" y="25"/>
                    </a:cubicBezTo>
                    <a:cubicBezTo>
                      <a:pt x="33" y="38"/>
                      <a:pt x="34" y="51"/>
                      <a:pt x="33" y="64"/>
                    </a:cubicBezTo>
                    <a:cubicBezTo>
                      <a:pt x="25" y="64"/>
                      <a:pt x="17" y="63"/>
                      <a:pt x="9" y="62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4" name="任意多边形: 形状 113"/>
              <p:cNvSpPr/>
              <p:nvPr/>
            </p:nvSpPr>
            <p:spPr bwMode="auto">
              <a:xfrm>
                <a:off x="4308475" y="2687638"/>
                <a:ext cx="296863" cy="407988"/>
              </a:xfrm>
              <a:custGeom>
                <a:avLst/>
                <a:gdLst>
                  <a:gd name="T0" fmla="*/ 51 w 52"/>
                  <a:gd name="T1" fmla="*/ 44 h 72"/>
                  <a:gd name="T2" fmla="*/ 42 w 52"/>
                  <a:gd name="T3" fmla="*/ 64 h 72"/>
                  <a:gd name="T4" fmla="*/ 12 w 52"/>
                  <a:gd name="T5" fmla="*/ 59 h 72"/>
                  <a:gd name="T6" fmla="*/ 1 w 52"/>
                  <a:gd name="T7" fmla="*/ 35 h 72"/>
                  <a:gd name="T8" fmla="*/ 2 w 52"/>
                  <a:gd name="T9" fmla="*/ 20 h 72"/>
                  <a:gd name="T10" fmla="*/ 21 w 52"/>
                  <a:gd name="T11" fmla="*/ 2 h 72"/>
                  <a:gd name="T12" fmla="*/ 33 w 52"/>
                  <a:gd name="T13" fmla="*/ 1 h 72"/>
                  <a:gd name="T14" fmla="*/ 42 w 52"/>
                  <a:gd name="T15" fmla="*/ 9 h 72"/>
                  <a:gd name="T16" fmla="*/ 51 w 52"/>
                  <a:gd name="T17" fmla="*/ 4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72">
                    <a:moveTo>
                      <a:pt x="51" y="44"/>
                    </a:moveTo>
                    <a:cubicBezTo>
                      <a:pt x="50" y="52"/>
                      <a:pt x="49" y="59"/>
                      <a:pt x="42" y="64"/>
                    </a:cubicBezTo>
                    <a:cubicBezTo>
                      <a:pt x="34" y="72"/>
                      <a:pt x="18" y="66"/>
                      <a:pt x="12" y="59"/>
                    </a:cubicBezTo>
                    <a:cubicBezTo>
                      <a:pt x="6" y="52"/>
                      <a:pt x="3" y="44"/>
                      <a:pt x="1" y="35"/>
                    </a:cubicBezTo>
                    <a:cubicBezTo>
                      <a:pt x="1" y="30"/>
                      <a:pt x="0" y="25"/>
                      <a:pt x="2" y="20"/>
                    </a:cubicBezTo>
                    <a:cubicBezTo>
                      <a:pt x="5" y="11"/>
                      <a:pt x="12" y="4"/>
                      <a:pt x="21" y="2"/>
                    </a:cubicBezTo>
                    <a:cubicBezTo>
                      <a:pt x="25" y="1"/>
                      <a:pt x="29" y="0"/>
                      <a:pt x="33" y="1"/>
                    </a:cubicBezTo>
                    <a:cubicBezTo>
                      <a:pt x="37" y="3"/>
                      <a:pt x="40" y="6"/>
                      <a:pt x="42" y="9"/>
                    </a:cubicBezTo>
                    <a:cubicBezTo>
                      <a:pt x="49" y="20"/>
                      <a:pt x="52" y="32"/>
                      <a:pt x="51" y="44"/>
                    </a:cubicBezTo>
                    <a:close/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5" name="任意多边形: 形状 114"/>
              <p:cNvSpPr/>
              <p:nvPr/>
            </p:nvSpPr>
            <p:spPr bwMode="auto">
              <a:xfrm>
                <a:off x="4222750" y="2659063"/>
                <a:ext cx="261938" cy="396875"/>
              </a:xfrm>
              <a:custGeom>
                <a:avLst/>
                <a:gdLst>
                  <a:gd name="T0" fmla="*/ 46 w 46"/>
                  <a:gd name="T1" fmla="*/ 19 h 70"/>
                  <a:gd name="T2" fmla="*/ 32 w 46"/>
                  <a:gd name="T3" fmla="*/ 27 h 70"/>
                  <a:gd name="T4" fmla="*/ 29 w 46"/>
                  <a:gd name="T5" fmla="*/ 69 h 70"/>
                  <a:gd name="T6" fmla="*/ 2 w 46"/>
                  <a:gd name="T7" fmla="*/ 65 h 70"/>
                  <a:gd name="T8" fmla="*/ 4 w 46"/>
                  <a:gd name="T9" fmla="*/ 24 h 70"/>
                  <a:gd name="T10" fmla="*/ 23 w 46"/>
                  <a:gd name="T11" fmla="*/ 2 h 70"/>
                  <a:gd name="T12" fmla="*/ 44 w 46"/>
                  <a:gd name="T13" fmla="*/ 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70">
                    <a:moveTo>
                      <a:pt x="46" y="19"/>
                    </a:moveTo>
                    <a:cubicBezTo>
                      <a:pt x="40" y="16"/>
                      <a:pt x="35" y="21"/>
                      <a:pt x="32" y="27"/>
                    </a:cubicBezTo>
                    <a:cubicBezTo>
                      <a:pt x="25" y="41"/>
                      <a:pt x="28" y="60"/>
                      <a:pt x="29" y="69"/>
                    </a:cubicBezTo>
                    <a:cubicBezTo>
                      <a:pt x="19" y="70"/>
                      <a:pt x="7" y="69"/>
                      <a:pt x="2" y="65"/>
                    </a:cubicBezTo>
                    <a:cubicBezTo>
                      <a:pt x="0" y="49"/>
                      <a:pt x="1" y="38"/>
                      <a:pt x="4" y="24"/>
                    </a:cubicBezTo>
                    <a:cubicBezTo>
                      <a:pt x="7" y="15"/>
                      <a:pt x="13" y="5"/>
                      <a:pt x="23" y="2"/>
                    </a:cubicBezTo>
                    <a:cubicBezTo>
                      <a:pt x="31" y="0"/>
                      <a:pt x="39" y="0"/>
                      <a:pt x="44" y="6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6" name="任意多边形: 形状 115"/>
              <p:cNvSpPr/>
              <p:nvPr/>
            </p:nvSpPr>
            <p:spPr bwMode="auto">
              <a:xfrm>
                <a:off x="4456113" y="2670175"/>
                <a:ext cx="160338" cy="341313"/>
              </a:xfrm>
              <a:custGeom>
                <a:avLst/>
                <a:gdLst>
                  <a:gd name="T0" fmla="*/ 5 w 28"/>
                  <a:gd name="T1" fmla="*/ 17 h 60"/>
                  <a:gd name="T2" fmla="*/ 16 w 28"/>
                  <a:gd name="T3" fmla="*/ 18 h 60"/>
                  <a:gd name="T4" fmla="*/ 23 w 28"/>
                  <a:gd name="T5" fmla="*/ 29 h 60"/>
                  <a:gd name="T6" fmla="*/ 25 w 28"/>
                  <a:gd name="T7" fmla="*/ 60 h 60"/>
                  <a:gd name="T8" fmla="*/ 25 w 28"/>
                  <a:gd name="T9" fmla="*/ 24 h 60"/>
                  <a:gd name="T10" fmla="*/ 19 w 28"/>
                  <a:gd name="T11" fmla="*/ 8 h 60"/>
                  <a:gd name="T12" fmla="*/ 12 w 28"/>
                  <a:gd name="T13" fmla="*/ 2 h 60"/>
                  <a:gd name="T14" fmla="*/ 2 w 28"/>
                  <a:gd name="T15" fmla="*/ 1 h 60"/>
                  <a:gd name="T16" fmla="*/ 0 w 28"/>
                  <a:gd name="T17" fmla="*/ 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60">
                    <a:moveTo>
                      <a:pt x="5" y="17"/>
                    </a:moveTo>
                    <a:cubicBezTo>
                      <a:pt x="8" y="15"/>
                      <a:pt x="13" y="16"/>
                      <a:pt x="16" y="18"/>
                    </a:cubicBezTo>
                    <a:cubicBezTo>
                      <a:pt x="19" y="21"/>
                      <a:pt x="21" y="25"/>
                      <a:pt x="23" y="29"/>
                    </a:cubicBezTo>
                    <a:cubicBezTo>
                      <a:pt x="26" y="39"/>
                      <a:pt x="26" y="50"/>
                      <a:pt x="25" y="60"/>
                    </a:cubicBezTo>
                    <a:cubicBezTo>
                      <a:pt x="28" y="48"/>
                      <a:pt x="27" y="36"/>
                      <a:pt x="25" y="24"/>
                    </a:cubicBezTo>
                    <a:cubicBezTo>
                      <a:pt x="24" y="18"/>
                      <a:pt x="22" y="13"/>
                      <a:pt x="19" y="8"/>
                    </a:cubicBezTo>
                    <a:cubicBezTo>
                      <a:pt x="18" y="5"/>
                      <a:pt x="15" y="2"/>
                      <a:pt x="12" y="2"/>
                    </a:cubicBezTo>
                    <a:cubicBezTo>
                      <a:pt x="9" y="1"/>
                      <a:pt x="5" y="0"/>
                      <a:pt x="2" y="1"/>
                    </a:cubicBezTo>
                    <a:cubicBezTo>
                      <a:pt x="1" y="2"/>
                      <a:pt x="0" y="4"/>
                      <a:pt x="0" y="5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7" name="任意多边形: 形状 116"/>
              <p:cNvSpPr/>
              <p:nvPr/>
            </p:nvSpPr>
            <p:spPr bwMode="auto">
              <a:xfrm>
                <a:off x="4297363" y="34496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97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8" name="任意多边形: 形状 117"/>
              <p:cNvSpPr/>
              <p:nvPr/>
            </p:nvSpPr>
            <p:spPr bwMode="auto">
              <a:xfrm>
                <a:off x="4189413" y="3368675"/>
                <a:ext cx="255588" cy="603250"/>
              </a:xfrm>
              <a:custGeom>
                <a:avLst/>
                <a:gdLst>
                  <a:gd name="T0" fmla="*/ 18 w 45"/>
                  <a:gd name="T1" fmla="*/ 1 h 106"/>
                  <a:gd name="T2" fmla="*/ 4 w 45"/>
                  <a:gd name="T3" fmla="*/ 57 h 106"/>
                  <a:gd name="T4" fmla="*/ 7 w 45"/>
                  <a:gd name="T5" fmla="*/ 75 h 106"/>
                  <a:gd name="T6" fmla="*/ 43 w 45"/>
                  <a:gd name="T7" fmla="*/ 105 h 106"/>
                  <a:gd name="T8" fmla="*/ 44 w 45"/>
                  <a:gd name="T9" fmla="*/ 104 h 106"/>
                  <a:gd name="T10" fmla="*/ 12 w 45"/>
                  <a:gd name="T11" fmla="*/ 76 h 106"/>
                  <a:gd name="T12" fmla="*/ 5 w 45"/>
                  <a:gd name="T13" fmla="*/ 69 h 106"/>
                  <a:gd name="T14" fmla="*/ 11 w 45"/>
                  <a:gd name="T15" fmla="*/ 45 h 106"/>
                  <a:gd name="T16" fmla="*/ 20 w 45"/>
                  <a:gd name="T17" fmla="*/ 1 h 106"/>
                  <a:gd name="T18" fmla="*/ 18 w 45"/>
                  <a:gd name="T19" fmla="*/ 1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106">
                    <a:moveTo>
                      <a:pt x="18" y="1"/>
                    </a:moveTo>
                    <a:cubicBezTo>
                      <a:pt x="17" y="20"/>
                      <a:pt x="10" y="39"/>
                      <a:pt x="4" y="57"/>
                    </a:cubicBezTo>
                    <a:cubicBezTo>
                      <a:pt x="0" y="66"/>
                      <a:pt x="0" y="68"/>
                      <a:pt x="7" y="75"/>
                    </a:cubicBezTo>
                    <a:cubicBezTo>
                      <a:pt x="19" y="85"/>
                      <a:pt x="31" y="95"/>
                      <a:pt x="43" y="105"/>
                    </a:cubicBezTo>
                    <a:cubicBezTo>
                      <a:pt x="44" y="106"/>
                      <a:pt x="45" y="104"/>
                      <a:pt x="44" y="104"/>
                    </a:cubicBezTo>
                    <a:cubicBezTo>
                      <a:pt x="33" y="95"/>
                      <a:pt x="23" y="85"/>
                      <a:pt x="12" y="76"/>
                    </a:cubicBezTo>
                    <a:cubicBezTo>
                      <a:pt x="10" y="74"/>
                      <a:pt x="7" y="72"/>
                      <a:pt x="5" y="69"/>
                    </a:cubicBezTo>
                    <a:cubicBezTo>
                      <a:pt x="1" y="63"/>
                      <a:pt x="8" y="52"/>
                      <a:pt x="11" y="45"/>
                    </a:cubicBezTo>
                    <a:cubicBezTo>
                      <a:pt x="15" y="31"/>
                      <a:pt x="19" y="16"/>
                      <a:pt x="20" y="1"/>
                    </a:cubicBezTo>
                    <a:cubicBezTo>
                      <a:pt x="20" y="0"/>
                      <a:pt x="18" y="0"/>
                      <a:pt x="18" y="1"/>
                    </a:cubicBezTo>
                    <a:close/>
                  </a:path>
                </a:pathLst>
              </a:custGeom>
              <a:solidFill>
                <a:srgbClr val="197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9" name="任意多边形: 形状 118"/>
              <p:cNvSpPr/>
              <p:nvPr/>
            </p:nvSpPr>
            <p:spPr bwMode="auto">
              <a:xfrm>
                <a:off x="4656138" y="3335338"/>
                <a:ext cx="90488" cy="330200"/>
              </a:xfrm>
              <a:custGeom>
                <a:avLst/>
                <a:gdLst>
                  <a:gd name="T0" fmla="*/ 0 w 16"/>
                  <a:gd name="T1" fmla="*/ 1 h 58"/>
                  <a:gd name="T2" fmla="*/ 9 w 16"/>
                  <a:gd name="T3" fmla="*/ 21 h 58"/>
                  <a:gd name="T4" fmla="*/ 7 w 16"/>
                  <a:gd name="T5" fmla="*/ 56 h 58"/>
                  <a:gd name="T6" fmla="*/ 9 w 16"/>
                  <a:gd name="T7" fmla="*/ 57 h 58"/>
                  <a:gd name="T8" fmla="*/ 14 w 16"/>
                  <a:gd name="T9" fmla="*/ 30 h 58"/>
                  <a:gd name="T10" fmla="*/ 2 w 16"/>
                  <a:gd name="T11" fmla="*/ 0 h 58"/>
                  <a:gd name="T12" fmla="*/ 0 w 16"/>
                  <a:gd name="T13" fmla="*/ 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58">
                    <a:moveTo>
                      <a:pt x="0" y="1"/>
                    </a:moveTo>
                    <a:cubicBezTo>
                      <a:pt x="2" y="8"/>
                      <a:pt x="6" y="14"/>
                      <a:pt x="9" y="21"/>
                    </a:cubicBezTo>
                    <a:cubicBezTo>
                      <a:pt x="14" y="33"/>
                      <a:pt x="11" y="44"/>
                      <a:pt x="7" y="56"/>
                    </a:cubicBezTo>
                    <a:cubicBezTo>
                      <a:pt x="7" y="57"/>
                      <a:pt x="9" y="58"/>
                      <a:pt x="9" y="57"/>
                    </a:cubicBezTo>
                    <a:cubicBezTo>
                      <a:pt x="14" y="49"/>
                      <a:pt x="16" y="39"/>
                      <a:pt x="14" y="30"/>
                    </a:cubicBezTo>
                    <a:cubicBezTo>
                      <a:pt x="13" y="19"/>
                      <a:pt x="5" y="1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197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0" name="任意多边形: 形状 119"/>
              <p:cNvSpPr/>
              <p:nvPr/>
            </p:nvSpPr>
            <p:spPr bwMode="auto">
              <a:xfrm>
                <a:off x="4064000" y="3903663"/>
                <a:ext cx="142875" cy="79375"/>
              </a:xfrm>
              <a:custGeom>
                <a:avLst/>
                <a:gdLst>
                  <a:gd name="T0" fmla="*/ 1 w 25"/>
                  <a:gd name="T1" fmla="*/ 2 h 14"/>
                  <a:gd name="T2" fmla="*/ 13 w 25"/>
                  <a:gd name="T3" fmla="*/ 9 h 14"/>
                  <a:gd name="T4" fmla="*/ 24 w 25"/>
                  <a:gd name="T5" fmla="*/ 14 h 14"/>
                  <a:gd name="T6" fmla="*/ 24 w 25"/>
                  <a:gd name="T7" fmla="*/ 13 h 14"/>
                  <a:gd name="T8" fmla="*/ 14 w 25"/>
                  <a:gd name="T9" fmla="*/ 7 h 14"/>
                  <a:gd name="T10" fmla="*/ 2 w 25"/>
                  <a:gd name="T11" fmla="*/ 1 h 14"/>
                  <a:gd name="T12" fmla="*/ 1 w 25"/>
                  <a:gd name="T13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14">
                    <a:moveTo>
                      <a:pt x="1" y="2"/>
                    </a:moveTo>
                    <a:cubicBezTo>
                      <a:pt x="5" y="4"/>
                      <a:pt x="9" y="7"/>
                      <a:pt x="13" y="9"/>
                    </a:cubicBezTo>
                    <a:cubicBezTo>
                      <a:pt x="16" y="11"/>
                      <a:pt x="20" y="13"/>
                      <a:pt x="24" y="14"/>
                    </a:cubicBezTo>
                    <a:cubicBezTo>
                      <a:pt x="24" y="14"/>
                      <a:pt x="25" y="14"/>
                      <a:pt x="24" y="13"/>
                    </a:cubicBezTo>
                    <a:cubicBezTo>
                      <a:pt x="21" y="11"/>
                      <a:pt x="17" y="9"/>
                      <a:pt x="14" y="7"/>
                    </a:cubicBezTo>
                    <a:cubicBezTo>
                      <a:pt x="10" y="5"/>
                      <a:pt x="6" y="3"/>
                      <a:pt x="2" y="1"/>
                    </a:cubicBezTo>
                    <a:cubicBezTo>
                      <a:pt x="1" y="0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197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1" name="任意多边形: 形状 120"/>
              <p:cNvSpPr/>
              <p:nvPr/>
            </p:nvSpPr>
            <p:spPr bwMode="auto">
              <a:xfrm>
                <a:off x="4405313" y="3590925"/>
                <a:ext cx="739775" cy="455613"/>
              </a:xfrm>
              <a:custGeom>
                <a:avLst/>
                <a:gdLst>
                  <a:gd name="T0" fmla="*/ 119 w 130"/>
                  <a:gd name="T1" fmla="*/ 80 h 80"/>
                  <a:gd name="T2" fmla="*/ 0 w 130"/>
                  <a:gd name="T3" fmla="*/ 80 h 80"/>
                  <a:gd name="T4" fmla="*/ 10 w 130"/>
                  <a:gd name="T5" fmla="*/ 5 h 80"/>
                  <a:gd name="T6" fmla="*/ 15 w 130"/>
                  <a:gd name="T7" fmla="*/ 0 h 80"/>
                  <a:gd name="T8" fmla="*/ 125 w 130"/>
                  <a:gd name="T9" fmla="*/ 0 h 80"/>
                  <a:gd name="T10" fmla="*/ 129 w 130"/>
                  <a:gd name="T11" fmla="*/ 5 h 80"/>
                  <a:gd name="T12" fmla="*/ 119 w 130"/>
                  <a:gd name="T13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80">
                    <a:moveTo>
                      <a:pt x="119" y="80"/>
                    </a:moveTo>
                    <a:cubicBezTo>
                      <a:pt x="0" y="80"/>
                      <a:pt x="0" y="80"/>
                      <a:pt x="0" y="80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2"/>
                      <a:pt x="13" y="0"/>
                      <a:pt x="15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8" y="0"/>
                      <a:pt x="130" y="2"/>
                      <a:pt x="129" y="5"/>
                    </a:cubicBezTo>
                    <a:lnTo>
                      <a:pt x="119" y="80"/>
                    </a:lnTo>
                    <a:close/>
                  </a:path>
                </a:pathLst>
              </a:cu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2" name="矩形 121"/>
              <p:cNvSpPr/>
              <p:nvPr/>
            </p:nvSpPr>
            <p:spPr bwMode="auto">
              <a:xfrm>
                <a:off x="4149725" y="4006850"/>
                <a:ext cx="346075" cy="39688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3" name="任意多边形: 形状 122"/>
              <p:cNvSpPr/>
              <p:nvPr/>
            </p:nvSpPr>
            <p:spPr bwMode="auto">
              <a:xfrm>
                <a:off x="4467225" y="2982913"/>
                <a:ext cx="74613" cy="39688"/>
              </a:xfrm>
              <a:custGeom>
                <a:avLst/>
                <a:gdLst>
                  <a:gd name="T0" fmla="*/ 12 w 13"/>
                  <a:gd name="T1" fmla="*/ 0 h 7"/>
                  <a:gd name="T2" fmla="*/ 9 w 13"/>
                  <a:gd name="T3" fmla="*/ 6 h 7"/>
                  <a:gd name="T4" fmla="*/ 1 w 13"/>
                  <a:gd name="T5" fmla="*/ 2 h 7"/>
                  <a:gd name="T6" fmla="*/ 12 w 13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7">
                    <a:moveTo>
                      <a:pt x="12" y="0"/>
                    </a:moveTo>
                    <a:cubicBezTo>
                      <a:pt x="13" y="1"/>
                      <a:pt x="12" y="5"/>
                      <a:pt x="9" y="6"/>
                    </a:cubicBezTo>
                    <a:cubicBezTo>
                      <a:pt x="6" y="7"/>
                      <a:pt x="0" y="5"/>
                      <a:pt x="1" y="2"/>
                    </a:cubicBezTo>
                    <a:cubicBezTo>
                      <a:pt x="1" y="1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4" name="任意多边形: 形状 123"/>
              <p:cNvSpPr/>
              <p:nvPr/>
            </p:nvSpPr>
            <p:spPr bwMode="auto">
              <a:xfrm>
                <a:off x="4508500" y="2919413"/>
                <a:ext cx="22225" cy="39688"/>
              </a:xfrm>
              <a:custGeom>
                <a:avLst/>
                <a:gdLst>
                  <a:gd name="T0" fmla="*/ 0 w 4"/>
                  <a:gd name="T1" fmla="*/ 1 h 7"/>
                  <a:gd name="T2" fmla="*/ 2 w 4"/>
                  <a:gd name="T3" fmla="*/ 2 h 7"/>
                  <a:gd name="T4" fmla="*/ 2 w 4"/>
                  <a:gd name="T5" fmla="*/ 4 h 7"/>
                  <a:gd name="T6" fmla="*/ 1 w 4"/>
                  <a:gd name="T7" fmla="*/ 6 h 7"/>
                  <a:gd name="T8" fmla="*/ 2 w 4"/>
                  <a:gd name="T9" fmla="*/ 7 h 7"/>
                  <a:gd name="T10" fmla="*/ 4 w 4"/>
                  <a:gd name="T11" fmla="*/ 4 h 7"/>
                  <a:gd name="T12" fmla="*/ 1 w 4"/>
                  <a:gd name="T13" fmla="*/ 0 h 7"/>
                  <a:gd name="T14" fmla="*/ 0 w 4"/>
                  <a:gd name="T1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7">
                    <a:moveTo>
                      <a:pt x="0" y="1"/>
                    </a:moveTo>
                    <a:cubicBezTo>
                      <a:pt x="1" y="1"/>
                      <a:pt x="1" y="2"/>
                      <a:pt x="2" y="2"/>
                    </a:cubicBezTo>
                    <a:cubicBezTo>
                      <a:pt x="2" y="3"/>
                      <a:pt x="2" y="3"/>
                      <a:pt x="2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7"/>
                      <a:pt x="1" y="7"/>
                      <a:pt x="2" y="7"/>
                    </a:cubicBezTo>
                    <a:cubicBezTo>
                      <a:pt x="3" y="6"/>
                      <a:pt x="4" y="5"/>
                      <a:pt x="4" y="4"/>
                    </a:cubicBezTo>
                    <a:cubicBezTo>
                      <a:pt x="4" y="2"/>
                      <a:pt x="1" y="2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5" name="任意多边形: 形状 124"/>
              <p:cNvSpPr/>
              <p:nvPr/>
            </p:nvSpPr>
            <p:spPr bwMode="auto">
              <a:xfrm>
                <a:off x="4548188" y="2857500"/>
                <a:ext cx="39688" cy="50800"/>
              </a:xfrm>
              <a:custGeom>
                <a:avLst/>
                <a:gdLst>
                  <a:gd name="T0" fmla="*/ 5 w 7"/>
                  <a:gd name="T1" fmla="*/ 2 h 9"/>
                  <a:gd name="T2" fmla="*/ 1 w 7"/>
                  <a:gd name="T3" fmla="*/ 3 h 9"/>
                  <a:gd name="T4" fmla="*/ 3 w 7"/>
                  <a:gd name="T5" fmla="*/ 8 h 9"/>
                  <a:gd name="T6" fmla="*/ 5 w 7"/>
                  <a:gd name="T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9">
                    <a:moveTo>
                      <a:pt x="5" y="2"/>
                    </a:moveTo>
                    <a:cubicBezTo>
                      <a:pt x="4" y="0"/>
                      <a:pt x="2" y="0"/>
                      <a:pt x="1" y="3"/>
                    </a:cubicBezTo>
                    <a:cubicBezTo>
                      <a:pt x="1" y="5"/>
                      <a:pt x="0" y="8"/>
                      <a:pt x="3" y="8"/>
                    </a:cubicBezTo>
                    <a:cubicBezTo>
                      <a:pt x="7" y="9"/>
                      <a:pt x="6" y="4"/>
                      <a:pt x="5" y="2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6" name="任意多边形: 形状 125"/>
              <p:cNvSpPr/>
              <p:nvPr/>
            </p:nvSpPr>
            <p:spPr bwMode="auto">
              <a:xfrm>
                <a:off x="4564063" y="2874963"/>
                <a:ext cx="17463" cy="15875"/>
              </a:xfrm>
              <a:custGeom>
                <a:avLst/>
                <a:gdLst>
                  <a:gd name="T0" fmla="*/ 2 w 3"/>
                  <a:gd name="T1" fmla="*/ 0 h 3"/>
                  <a:gd name="T2" fmla="*/ 0 w 3"/>
                  <a:gd name="T3" fmla="*/ 1 h 3"/>
                  <a:gd name="T4" fmla="*/ 1 w 3"/>
                  <a:gd name="T5" fmla="*/ 3 h 3"/>
                  <a:gd name="T6" fmla="*/ 2 w 3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3" y="3"/>
                      <a:pt x="3" y="1"/>
                      <a:pt x="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7" name="任意多边形: 形状 126"/>
              <p:cNvSpPr/>
              <p:nvPr/>
            </p:nvSpPr>
            <p:spPr bwMode="auto">
              <a:xfrm>
                <a:off x="4530725" y="2811463"/>
                <a:ext cx="50800" cy="28575"/>
              </a:xfrm>
              <a:custGeom>
                <a:avLst/>
                <a:gdLst>
                  <a:gd name="T0" fmla="*/ 0 w 9"/>
                  <a:gd name="T1" fmla="*/ 5 h 5"/>
                  <a:gd name="T2" fmla="*/ 4 w 9"/>
                  <a:gd name="T3" fmla="*/ 3 h 5"/>
                  <a:gd name="T4" fmla="*/ 8 w 9"/>
                  <a:gd name="T5" fmla="*/ 4 h 5"/>
                  <a:gd name="T6" fmla="*/ 9 w 9"/>
                  <a:gd name="T7" fmla="*/ 4 h 5"/>
                  <a:gd name="T8" fmla="*/ 0 w 9"/>
                  <a:gd name="T9" fmla="*/ 5 h 5"/>
                  <a:gd name="T10" fmla="*/ 0 w 9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5">
                    <a:moveTo>
                      <a:pt x="0" y="5"/>
                    </a:moveTo>
                    <a:cubicBezTo>
                      <a:pt x="2" y="4"/>
                      <a:pt x="3" y="3"/>
                      <a:pt x="4" y="3"/>
                    </a:cubicBezTo>
                    <a:cubicBezTo>
                      <a:pt x="6" y="3"/>
                      <a:pt x="7" y="3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0"/>
                      <a:pt x="1" y="2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8" name="任意多边形: 形状 127"/>
              <p:cNvSpPr/>
              <p:nvPr/>
            </p:nvSpPr>
            <p:spPr bwMode="auto">
              <a:xfrm>
                <a:off x="4422775" y="2863850"/>
                <a:ext cx="33338" cy="50800"/>
              </a:xfrm>
              <a:custGeom>
                <a:avLst/>
                <a:gdLst>
                  <a:gd name="T0" fmla="*/ 4 w 6"/>
                  <a:gd name="T1" fmla="*/ 1 h 9"/>
                  <a:gd name="T2" fmla="*/ 0 w 6"/>
                  <a:gd name="T3" fmla="*/ 3 h 9"/>
                  <a:gd name="T4" fmla="*/ 2 w 6"/>
                  <a:gd name="T5" fmla="*/ 8 h 9"/>
                  <a:gd name="T6" fmla="*/ 4 w 6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9">
                    <a:moveTo>
                      <a:pt x="4" y="1"/>
                    </a:moveTo>
                    <a:cubicBezTo>
                      <a:pt x="3" y="0"/>
                      <a:pt x="2" y="0"/>
                      <a:pt x="0" y="3"/>
                    </a:cubicBezTo>
                    <a:cubicBezTo>
                      <a:pt x="0" y="4"/>
                      <a:pt x="0" y="8"/>
                      <a:pt x="2" y="8"/>
                    </a:cubicBezTo>
                    <a:cubicBezTo>
                      <a:pt x="6" y="9"/>
                      <a:pt x="6" y="4"/>
                      <a:pt x="4" y="1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9" name="任意多边形: 形状 128"/>
              <p:cNvSpPr/>
              <p:nvPr/>
            </p:nvSpPr>
            <p:spPr bwMode="auto">
              <a:xfrm>
                <a:off x="4440238" y="2874963"/>
                <a:ext cx="15875" cy="22225"/>
              </a:xfrm>
              <a:custGeom>
                <a:avLst/>
                <a:gdLst>
                  <a:gd name="T0" fmla="*/ 2 w 3"/>
                  <a:gd name="T1" fmla="*/ 1 h 4"/>
                  <a:gd name="T2" fmla="*/ 0 w 3"/>
                  <a:gd name="T3" fmla="*/ 2 h 4"/>
                  <a:gd name="T4" fmla="*/ 1 w 3"/>
                  <a:gd name="T5" fmla="*/ 4 h 4"/>
                  <a:gd name="T6" fmla="*/ 2 w 3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2" y="1"/>
                    </a:moveTo>
                    <a:cubicBezTo>
                      <a:pt x="1" y="0"/>
                      <a:pt x="0" y="0"/>
                      <a:pt x="0" y="2"/>
                    </a:cubicBezTo>
                    <a:cubicBezTo>
                      <a:pt x="0" y="2"/>
                      <a:pt x="0" y="4"/>
                      <a:pt x="1" y="4"/>
                    </a:cubicBezTo>
                    <a:cubicBezTo>
                      <a:pt x="3" y="4"/>
                      <a:pt x="2" y="2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0" name="任意多边形: 形状 129"/>
              <p:cNvSpPr/>
              <p:nvPr/>
            </p:nvSpPr>
            <p:spPr bwMode="auto">
              <a:xfrm>
                <a:off x="4398963" y="2835275"/>
                <a:ext cx="68263" cy="33338"/>
              </a:xfrm>
              <a:custGeom>
                <a:avLst/>
                <a:gdLst>
                  <a:gd name="T0" fmla="*/ 12 w 12"/>
                  <a:gd name="T1" fmla="*/ 1 h 6"/>
                  <a:gd name="T2" fmla="*/ 0 w 12"/>
                  <a:gd name="T3" fmla="*/ 5 h 6"/>
                  <a:gd name="T4" fmla="*/ 1 w 12"/>
                  <a:gd name="T5" fmla="*/ 5 h 6"/>
                  <a:gd name="T6" fmla="*/ 5 w 12"/>
                  <a:gd name="T7" fmla="*/ 2 h 6"/>
                  <a:gd name="T8" fmla="*/ 11 w 12"/>
                  <a:gd name="T9" fmla="*/ 2 h 6"/>
                  <a:gd name="T10" fmla="*/ 12 w 12"/>
                  <a:gd name="T11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6">
                    <a:moveTo>
                      <a:pt x="12" y="1"/>
                    </a:moveTo>
                    <a:cubicBezTo>
                      <a:pt x="8" y="0"/>
                      <a:pt x="2" y="1"/>
                      <a:pt x="0" y="5"/>
                    </a:cubicBezTo>
                    <a:cubicBezTo>
                      <a:pt x="0" y="5"/>
                      <a:pt x="1" y="6"/>
                      <a:pt x="1" y="5"/>
                    </a:cubicBezTo>
                    <a:cubicBezTo>
                      <a:pt x="2" y="4"/>
                      <a:pt x="3" y="3"/>
                      <a:pt x="5" y="2"/>
                    </a:cubicBezTo>
                    <a:cubicBezTo>
                      <a:pt x="7" y="2"/>
                      <a:pt x="9" y="1"/>
                      <a:pt x="11" y="2"/>
                    </a:cubicBezTo>
                    <a:cubicBezTo>
                      <a:pt x="12" y="2"/>
                      <a:pt x="12" y="1"/>
                      <a:pt x="12" y="1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1" name="任意多边形: 形状 130"/>
              <p:cNvSpPr/>
              <p:nvPr/>
            </p:nvSpPr>
            <p:spPr bwMode="auto">
              <a:xfrm>
                <a:off x="4398963" y="2919413"/>
                <a:ext cx="68263" cy="57150"/>
              </a:xfrm>
              <a:custGeom>
                <a:avLst/>
                <a:gdLst>
                  <a:gd name="T0" fmla="*/ 12 w 12"/>
                  <a:gd name="T1" fmla="*/ 5 h 10"/>
                  <a:gd name="T2" fmla="*/ 10 w 12"/>
                  <a:gd name="T3" fmla="*/ 2 h 10"/>
                  <a:gd name="T4" fmla="*/ 2 w 12"/>
                  <a:gd name="T5" fmla="*/ 1 h 10"/>
                  <a:gd name="T6" fmla="*/ 0 w 12"/>
                  <a:gd name="T7" fmla="*/ 3 h 10"/>
                  <a:gd name="T8" fmla="*/ 0 w 12"/>
                  <a:gd name="T9" fmla="*/ 5 h 10"/>
                  <a:gd name="T10" fmla="*/ 6 w 12"/>
                  <a:gd name="T11" fmla="*/ 9 h 10"/>
                  <a:gd name="T12" fmla="*/ 12 w 12"/>
                  <a:gd name="T1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0">
                    <a:moveTo>
                      <a:pt x="12" y="5"/>
                    </a:moveTo>
                    <a:cubicBezTo>
                      <a:pt x="12" y="4"/>
                      <a:pt x="11" y="3"/>
                      <a:pt x="10" y="2"/>
                    </a:cubicBezTo>
                    <a:cubicBezTo>
                      <a:pt x="8" y="0"/>
                      <a:pt x="5" y="0"/>
                      <a:pt x="2" y="1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4"/>
                      <a:pt x="0" y="5"/>
                      <a:pt x="0" y="5"/>
                    </a:cubicBezTo>
                    <a:cubicBezTo>
                      <a:pt x="1" y="8"/>
                      <a:pt x="3" y="10"/>
                      <a:pt x="6" y="9"/>
                    </a:cubicBezTo>
                    <a:cubicBezTo>
                      <a:pt x="8" y="9"/>
                      <a:pt x="11" y="7"/>
                      <a:pt x="12" y="5"/>
                    </a:cubicBezTo>
                    <a:close/>
                  </a:path>
                </a:pathLst>
              </a:custGeom>
              <a:solidFill>
                <a:srgbClr val="F9AF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2" name="任意多边形: 形状 131"/>
              <p:cNvSpPr/>
              <p:nvPr/>
            </p:nvSpPr>
            <p:spPr bwMode="auto">
              <a:xfrm>
                <a:off x="4541838" y="2914650"/>
                <a:ext cx="39688" cy="44450"/>
              </a:xfrm>
              <a:custGeom>
                <a:avLst/>
                <a:gdLst>
                  <a:gd name="T0" fmla="*/ 7 w 7"/>
                  <a:gd name="T1" fmla="*/ 4 h 8"/>
                  <a:gd name="T2" fmla="*/ 6 w 7"/>
                  <a:gd name="T3" fmla="*/ 2 h 8"/>
                  <a:gd name="T4" fmla="*/ 1 w 7"/>
                  <a:gd name="T5" fmla="*/ 1 h 8"/>
                  <a:gd name="T6" fmla="*/ 0 w 7"/>
                  <a:gd name="T7" fmla="*/ 3 h 8"/>
                  <a:gd name="T8" fmla="*/ 0 w 7"/>
                  <a:gd name="T9" fmla="*/ 4 h 8"/>
                  <a:gd name="T10" fmla="*/ 4 w 7"/>
                  <a:gd name="T11" fmla="*/ 8 h 8"/>
                  <a:gd name="T12" fmla="*/ 7 w 7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8">
                    <a:moveTo>
                      <a:pt x="7" y="4"/>
                    </a:moveTo>
                    <a:cubicBezTo>
                      <a:pt x="7" y="3"/>
                      <a:pt x="7" y="2"/>
                      <a:pt x="6" y="2"/>
                    </a:cubicBezTo>
                    <a:cubicBezTo>
                      <a:pt x="5" y="0"/>
                      <a:pt x="3" y="0"/>
                      <a:pt x="1" y="1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1" y="6"/>
                      <a:pt x="2" y="8"/>
                      <a:pt x="4" y="8"/>
                    </a:cubicBezTo>
                    <a:cubicBezTo>
                      <a:pt x="5" y="8"/>
                      <a:pt x="7" y="6"/>
                      <a:pt x="7" y="4"/>
                    </a:cubicBezTo>
                    <a:close/>
                  </a:path>
                </a:pathLst>
              </a:custGeom>
              <a:solidFill>
                <a:srgbClr val="F9AF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3" name="任意多边形: 形状 132"/>
              <p:cNvSpPr/>
              <p:nvPr/>
            </p:nvSpPr>
            <p:spPr bwMode="auto">
              <a:xfrm>
                <a:off x="6516688" y="3328988"/>
                <a:ext cx="752475" cy="534988"/>
              </a:xfrm>
              <a:custGeom>
                <a:avLst/>
                <a:gdLst>
                  <a:gd name="T0" fmla="*/ 94 w 132"/>
                  <a:gd name="T1" fmla="*/ 14 h 94"/>
                  <a:gd name="T2" fmla="*/ 66 w 132"/>
                  <a:gd name="T3" fmla="*/ 56 h 94"/>
                  <a:gd name="T4" fmla="*/ 4 w 132"/>
                  <a:gd name="T5" fmla="*/ 0 h 94"/>
                  <a:gd name="T6" fmla="*/ 0 w 132"/>
                  <a:gd name="T7" fmla="*/ 10 h 94"/>
                  <a:gd name="T8" fmla="*/ 66 w 132"/>
                  <a:gd name="T9" fmla="*/ 91 h 94"/>
                  <a:gd name="T10" fmla="*/ 124 w 132"/>
                  <a:gd name="T11" fmla="*/ 46 h 94"/>
                  <a:gd name="T12" fmla="*/ 132 w 132"/>
                  <a:gd name="T13" fmla="*/ 3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2" h="94">
                    <a:moveTo>
                      <a:pt x="94" y="14"/>
                    </a:moveTo>
                    <a:cubicBezTo>
                      <a:pt x="86" y="24"/>
                      <a:pt x="66" y="56"/>
                      <a:pt x="66" y="56"/>
                    </a:cubicBezTo>
                    <a:cubicBezTo>
                      <a:pt x="56" y="48"/>
                      <a:pt x="29" y="19"/>
                      <a:pt x="4" y="0"/>
                    </a:cubicBezTo>
                    <a:cubicBezTo>
                      <a:pt x="3" y="3"/>
                      <a:pt x="2" y="8"/>
                      <a:pt x="0" y="10"/>
                    </a:cubicBezTo>
                    <a:cubicBezTo>
                      <a:pt x="16" y="46"/>
                      <a:pt x="50" y="94"/>
                      <a:pt x="66" y="91"/>
                    </a:cubicBezTo>
                    <a:cubicBezTo>
                      <a:pt x="82" y="87"/>
                      <a:pt x="107" y="59"/>
                      <a:pt x="124" y="46"/>
                    </a:cubicBezTo>
                    <a:cubicBezTo>
                      <a:pt x="127" y="43"/>
                      <a:pt x="131" y="41"/>
                      <a:pt x="132" y="37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4" name="任意多边形: 形状 133"/>
              <p:cNvSpPr/>
              <p:nvPr/>
            </p:nvSpPr>
            <p:spPr bwMode="auto">
              <a:xfrm>
                <a:off x="6983413" y="3124200"/>
                <a:ext cx="455613" cy="466725"/>
              </a:xfrm>
              <a:custGeom>
                <a:avLst/>
                <a:gdLst>
                  <a:gd name="T0" fmla="*/ 80 w 80"/>
                  <a:gd name="T1" fmla="*/ 2 h 82"/>
                  <a:gd name="T2" fmla="*/ 46 w 80"/>
                  <a:gd name="T3" fmla="*/ 7 h 82"/>
                  <a:gd name="T4" fmla="*/ 0 w 80"/>
                  <a:gd name="T5" fmla="*/ 63 h 82"/>
                  <a:gd name="T6" fmla="*/ 39 w 80"/>
                  <a:gd name="T7" fmla="*/ 82 h 82"/>
                  <a:gd name="T8" fmla="*/ 50 w 80"/>
                  <a:gd name="T9" fmla="*/ 58 h 82"/>
                  <a:gd name="T10" fmla="*/ 60 w 80"/>
                  <a:gd name="T11" fmla="*/ 3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82">
                    <a:moveTo>
                      <a:pt x="80" y="2"/>
                    </a:moveTo>
                    <a:cubicBezTo>
                      <a:pt x="72" y="0"/>
                      <a:pt x="54" y="5"/>
                      <a:pt x="46" y="7"/>
                    </a:cubicBezTo>
                    <a:cubicBezTo>
                      <a:pt x="41" y="8"/>
                      <a:pt x="20" y="29"/>
                      <a:pt x="0" y="63"/>
                    </a:cubicBezTo>
                    <a:cubicBezTo>
                      <a:pt x="11" y="74"/>
                      <a:pt x="27" y="82"/>
                      <a:pt x="39" y="82"/>
                    </a:cubicBezTo>
                    <a:cubicBezTo>
                      <a:pt x="42" y="74"/>
                      <a:pt x="47" y="66"/>
                      <a:pt x="50" y="58"/>
                    </a:cubicBezTo>
                    <a:cubicBezTo>
                      <a:pt x="52" y="51"/>
                      <a:pt x="56" y="43"/>
                      <a:pt x="60" y="36"/>
                    </a:cubicBezTo>
                  </a:path>
                </a:pathLst>
              </a:custGeom>
              <a:solidFill>
                <a:srgbClr val="9ECC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5" name="任意多边形: 形状 134"/>
              <p:cNvSpPr/>
              <p:nvPr/>
            </p:nvSpPr>
            <p:spPr bwMode="auto">
              <a:xfrm>
                <a:off x="7639050" y="4535488"/>
                <a:ext cx="61913" cy="1006475"/>
              </a:xfrm>
              <a:custGeom>
                <a:avLst/>
                <a:gdLst>
                  <a:gd name="T0" fmla="*/ 3 w 11"/>
                  <a:gd name="T1" fmla="*/ 174 h 177"/>
                  <a:gd name="T2" fmla="*/ 0 w 11"/>
                  <a:gd name="T3" fmla="*/ 0 h 177"/>
                  <a:gd name="T4" fmla="*/ 11 w 11"/>
                  <a:gd name="T5" fmla="*/ 0 h 177"/>
                  <a:gd name="T6" fmla="*/ 8 w 11"/>
                  <a:gd name="T7" fmla="*/ 174 h 177"/>
                  <a:gd name="T8" fmla="*/ 5 w 11"/>
                  <a:gd name="T9" fmla="*/ 177 h 177"/>
                  <a:gd name="T10" fmla="*/ 3 w 11"/>
                  <a:gd name="T11" fmla="*/ 174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77">
                    <a:moveTo>
                      <a:pt x="3" y="174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8" y="174"/>
                      <a:pt x="8" y="174"/>
                      <a:pt x="8" y="174"/>
                    </a:cubicBezTo>
                    <a:cubicBezTo>
                      <a:pt x="8" y="176"/>
                      <a:pt x="7" y="177"/>
                      <a:pt x="5" y="177"/>
                    </a:cubicBezTo>
                    <a:cubicBezTo>
                      <a:pt x="4" y="177"/>
                      <a:pt x="3" y="176"/>
                      <a:pt x="3" y="174"/>
                    </a:cubicBez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6" name="任意多边形: 形状 135"/>
              <p:cNvSpPr/>
              <p:nvPr/>
            </p:nvSpPr>
            <p:spPr bwMode="auto">
              <a:xfrm>
                <a:off x="7808913" y="4546600"/>
                <a:ext cx="415925" cy="955675"/>
              </a:xfrm>
              <a:custGeom>
                <a:avLst/>
                <a:gdLst>
                  <a:gd name="T0" fmla="*/ 68 w 73"/>
                  <a:gd name="T1" fmla="*/ 165 h 168"/>
                  <a:gd name="T2" fmla="*/ 0 w 73"/>
                  <a:gd name="T3" fmla="*/ 5 h 168"/>
                  <a:gd name="T4" fmla="*/ 11 w 73"/>
                  <a:gd name="T5" fmla="*/ 0 h 168"/>
                  <a:gd name="T6" fmla="*/ 72 w 73"/>
                  <a:gd name="T7" fmla="*/ 163 h 168"/>
                  <a:gd name="T8" fmla="*/ 71 w 73"/>
                  <a:gd name="T9" fmla="*/ 167 h 168"/>
                  <a:gd name="T10" fmla="*/ 68 w 73"/>
                  <a:gd name="T11" fmla="*/ 16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168">
                    <a:moveTo>
                      <a:pt x="68" y="16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72" y="163"/>
                      <a:pt x="72" y="163"/>
                      <a:pt x="72" y="163"/>
                    </a:cubicBezTo>
                    <a:cubicBezTo>
                      <a:pt x="73" y="165"/>
                      <a:pt x="72" y="167"/>
                      <a:pt x="71" y="167"/>
                    </a:cubicBezTo>
                    <a:cubicBezTo>
                      <a:pt x="70" y="168"/>
                      <a:pt x="68" y="167"/>
                      <a:pt x="68" y="165"/>
                    </a:cubicBez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7" name="任意多边形: 形状 136"/>
              <p:cNvSpPr/>
              <p:nvPr/>
            </p:nvSpPr>
            <p:spPr bwMode="auto">
              <a:xfrm>
                <a:off x="7115175" y="4546600"/>
                <a:ext cx="409575" cy="955675"/>
              </a:xfrm>
              <a:custGeom>
                <a:avLst/>
                <a:gdLst>
                  <a:gd name="T0" fmla="*/ 5 w 72"/>
                  <a:gd name="T1" fmla="*/ 165 h 168"/>
                  <a:gd name="T2" fmla="*/ 72 w 72"/>
                  <a:gd name="T3" fmla="*/ 5 h 168"/>
                  <a:gd name="T4" fmla="*/ 61 w 72"/>
                  <a:gd name="T5" fmla="*/ 0 h 168"/>
                  <a:gd name="T6" fmla="*/ 0 w 72"/>
                  <a:gd name="T7" fmla="*/ 163 h 168"/>
                  <a:gd name="T8" fmla="*/ 1 w 72"/>
                  <a:gd name="T9" fmla="*/ 167 h 168"/>
                  <a:gd name="T10" fmla="*/ 5 w 72"/>
                  <a:gd name="T11" fmla="*/ 16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168">
                    <a:moveTo>
                      <a:pt x="5" y="165"/>
                    </a:moveTo>
                    <a:cubicBezTo>
                      <a:pt x="72" y="5"/>
                      <a:pt x="72" y="5"/>
                      <a:pt x="72" y="5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165"/>
                      <a:pt x="0" y="167"/>
                      <a:pt x="1" y="167"/>
                    </a:cubicBezTo>
                    <a:cubicBezTo>
                      <a:pt x="3" y="168"/>
                      <a:pt x="4" y="167"/>
                      <a:pt x="5" y="165"/>
                    </a:cubicBez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8" name="任意多边形: 形状 137"/>
              <p:cNvSpPr/>
              <p:nvPr/>
            </p:nvSpPr>
            <p:spPr bwMode="auto">
              <a:xfrm>
                <a:off x="6954838" y="3159125"/>
                <a:ext cx="1470025" cy="1563688"/>
              </a:xfrm>
              <a:custGeom>
                <a:avLst/>
                <a:gdLst>
                  <a:gd name="T0" fmla="*/ 80 w 258"/>
                  <a:gd name="T1" fmla="*/ 193 h 275"/>
                  <a:gd name="T2" fmla="*/ 94 w 258"/>
                  <a:gd name="T3" fmla="*/ 48 h 275"/>
                  <a:gd name="T4" fmla="*/ 180 w 258"/>
                  <a:gd name="T5" fmla="*/ 20 h 275"/>
                  <a:gd name="T6" fmla="*/ 241 w 258"/>
                  <a:gd name="T7" fmla="*/ 111 h 275"/>
                  <a:gd name="T8" fmla="*/ 248 w 258"/>
                  <a:gd name="T9" fmla="*/ 217 h 275"/>
                  <a:gd name="T10" fmla="*/ 167 w 258"/>
                  <a:gd name="T11" fmla="*/ 270 h 275"/>
                  <a:gd name="T12" fmla="*/ 29 w 258"/>
                  <a:gd name="T13" fmla="*/ 262 h 275"/>
                  <a:gd name="T14" fmla="*/ 17 w 258"/>
                  <a:gd name="T15" fmla="*/ 234 h 275"/>
                  <a:gd name="T16" fmla="*/ 69 w 258"/>
                  <a:gd name="T17" fmla="*/ 22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8" h="275">
                    <a:moveTo>
                      <a:pt x="80" y="193"/>
                    </a:moveTo>
                    <a:cubicBezTo>
                      <a:pt x="77" y="145"/>
                      <a:pt x="80" y="95"/>
                      <a:pt x="94" y="48"/>
                    </a:cubicBezTo>
                    <a:cubicBezTo>
                      <a:pt x="106" y="9"/>
                      <a:pt x="147" y="0"/>
                      <a:pt x="180" y="20"/>
                    </a:cubicBezTo>
                    <a:cubicBezTo>
                      <a:pt x="213" y="39"/>
                      <a:pt x="231" y="77"/>
                      <a:pt x="241" y="111"/>
                    </a:cubicBezTo>
                    <a:cubicBezTo>
                      <a:pt x="251" y="145"/>
                      <a:pt x="258" y="183"/>
                      <a:pt x="248" y="217"/>
                    </a:cubicBezTo>
                    <a:cubicBezTo>
                      <a:pt x="238" y="254"/>
                      <a:pt x="202" y="267"/>
                      <a:pt x="167" y="270"/>
                    </a:cubicBezTo>
                    <a:cubicBezTo>
                      <a:pt x="121" y="275"/>
                      <a:pt x="74" y="274"/>
                      <a:pt x="29" y="262"/>
                    </a:cubicBezTo>
                    <a:cubicBezTo>
                      <a:pt x="15" y="259"/>
                      <a:pt x="0" y="247"/>
                      <a:pt x="17" y="234"/>
                    </a:cubicBezTo>
                    <a:cubicBezTo>
                      <a:pt x="30" y="224"/>
                      <a:pt x="52" y="220"/>
                      <a:pt x="69" y="220"/>
                    </a:cubicBezTo>
                  </a:path>
                </a:pathLst>
              </a:cu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9" name="任意多边形: 形状 138"/>
              <p:cNvSpPr/>
              <p:nvPr/>
            </p:nvSpPr>
            <p:spPr bwMode="auto">
              <a:xfrm>
                <a:off x="6624638" y="5376863"/>
                <a:ext cx="217488" cy="136525"/>
              </a:xfrm>
              <a:custGeom>
                <a:avLst/>
                <a:gdLst>
                  <a:gd name="T0" fmla="*/ 34 w 38"/>
                  <a:gd name="T1" fmla="*/ 0 h 24"/>
                  <a:gd name="T2" fmla="*/ 37 w 38"/>
                  <a:gd name="T3" fmla="*/ 13 h 24"/>
                  <a:gd name="T4" fmla="*/ 30 w 38"/>
                  <a:gd name="T5" fmla="*/ 19 h 24"/>
                  <a:gd name="T6" fmla="*/ 7 w 38"/>
                  <a:gd name="T7" fmla="*/ 24 h 24"/>
                  <a:gd name="T8" fmla="*/ 1 w 38"/>
                  <a:gd name="T9" fmla="*/ 22 h 24"/>
                  <a:gd name="T10" fmla="*/ 0 w 38"/>
                  <a:gd name="T11" fmla="*/ 21 h 24"/>
                  <a:gd name="T12" fmla="*/ 1 w 38"/>
                  <a:gd name="T13" fmla="*/ 20 h 24"/>
                  <a:gd name="T14" fmla="*/ 24 w 38"/>
                  <a:gd name="T1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24">
                    <a:moveTo>
                      <a:pt x="34" y="0"/>
                    </a:moveTo>
                    <a:cubicBezTo>
                      <a:pt x="34" y="5"/>
                      <a:pt x="38" y="9"/>
                      <a:pt x="37" y="13"/>
                    </a:cubicBezTo>
                    <a:cubicBezTo>
                      <a:pt x="36" y="16"/>
                      <a:pt x="33" y="18"/>
                      <a:pt x="30" y="19"/>
                    </a:cubicBezTo>
                    <a:cubicBezTo>
                      <a:pt x="23" y="22"/>
                      <a:pt x="15" y="24"/>
                      <a:pt x="7" y="24"/>
                    </a:cubicBezTo>
                    <a:cubicBezTo>
                      <a:pt x="5" y="24"/>
                      <a:pt x="2" y="24"/>
                      <a:pt x="1" y="22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0"/>
                      <a:pt x="1" y="20"/>
                      <a:pt x="1" y="20"/>
                    </a:cubicBezTo>
                    <a:cubicBezTo>
                      <a:pt x="9" y="13"/>
                      <a:pt x="16" y="7"/>
                      <a:pt x="24" y="0"/>
                    </a:cubicBezTo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0" name="任意多边形: 形状 139"/>
              <p:cNvSpPr/>
              <p:nvPr/>
            </p:nvSpPr>
            <p:spPr bwMode="auto">
              <a:xfrm>
                <a:off x="6677025" y="4267200"/>
                <a:ext cx="812800" cy="1149350"/>
              </a:xfrm>
              <a:custGeom>
                <a:avLst/>
                <a:gdLst>
                  <a:gd name="T0" fmla="*/ 54 w 143"/>
                  <a:gd name="T1" fmla="*/ 0 h 202"/>
                  <a:gd name="T2" fmla="*/ 29 w 143"/>
                  <a:gd name="T3" fmla="*/ 25 h 202"/>
                  <a:gd name="T4" fmla="*/ 15 w 143"/>
                  <a:gd name="T5" fmla="*/ 45 h 202"/>
                  <a:gd name="T6" fmla="*/ 9 w 143"/>
                  <a:gd name="T7" fmla="*/ 115 h 202"/>
                  <a:gd name="T8" fmla="*/ 11 w 143"/>
                  <a:gd name="T9" fmla="*/ 199 h 202"/>
                  <a:gd name="T10" fmla="*/ 26 w 143"/>
                  <a:gd name="T11" fmla="*/ 196 h 202"/>
                  <a:gd name="T12" fmla="*/ 45 w 143"/>
                  <a:gd name="T13" fmla="*/ 72 h 202"/>
                  <a:gd name="T14" fmla="*/ 47 w 143"/>
                  <a:gd name="T15" fmla="*/ 69 h 202"/>
                  <a:gd name="T16" fmla="*/ 143 w 143"/>
                  <a:gd name="T17" fmla="*/ 23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3" h="202">
                    <a:moveTo>
                      <a:pt x="54" y="0"/>
                    </a:moveTo>
                    <a:cubicBezTo>
                      <a:pt x="45" y="8"/>
                      <a:pt x="36" y="16"/>
                      <a:pt x="29" y="25"/>
                    </a:cubicBezTo>
                    <a:cubicBezTo>
                      <a:pt x="24" y="32"/>
                      <a:pt x="20" y="38"/>
                      <a:pt x="15" y="45"/>
                    </a:cubicBezTo>
                    <a:cubicBezTo>
                      <a:pt x="0" y="64"/>
                      <a:pt x="7" y="93"/>
                      <a:pt x="9" y="115"/>
                    </a:cubicBezTo>
                    <a:cubicBezTo>
                      <a:pt x="11" y="138"/>
                      <a:pt x="12" y="176"/>
                      <a:pt x="11" y="199"/>
                    </a:cubicBezTo>
                    <a:cubicBezTo>
                      <a:pt x="15" y="201"/>
                      <a:pt x="17" y="202"/>
                      <a:pt x="26" y="196"/>
                    </a:cubicBezTo>
                    <a:cubicBezTo>
                      <a:pt x="36" y="141"/>
                      <a:pt x="52" y="109"/>
                      <a:pt x="45" y="72"/>
                    </a:cubicBezTo>
                    <a:cubicBezTo>
                      <a:pt x="44" y="67"/>
                      <a:pt x="47" y="69"/>
                      <a:pt x="47" y="69"/>
                    </a:cubicBezTo>
                    <a:cubicBezTo>
                      <a:pt x="143" y="23"/>
                      <a:pt x="143" y="23"/>
                      <a:pt x="143" y="23"/>
                    </a:cubicBezTo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1" name="任意多边形: 形状 140"/>
              <p:cNvSpPr/>
              <p:nvPr/>
            </p:nvSpPr>
            <p:spPr bwMode="auto">
              <a:xfrm>
                <a:off x="6989763" y="5438775"/>
                <a:ext cx="227013" cy="119063"/>
              </a:xfrm>
              <a:custGeom>
                <a:avLst/>
                <a:gdLst>
                  <a:gd name="T0" fmla="*/ 38 w 40"/>
                  <a:gd name="T1" fmla="*/ 3 h 21"/>
                  <a:gd name="T2" fmla="*/ 38 w 40"/>
                  <a:gd name="T3" fmla="*/ 15 h 21"/>
                  <a:gd name="T4" fmla="*/ 30 w 40"/>
                  <a:gd name="T5" fmla="*/ 20 h 21"/>
                  <a:gd name="T6" fmla="*/ 6 w 40"/>
                  <a:gd name="T7" fmla="*/ 19 h 21"/>
                  <a:gd name="T8" fmla="*/ 0 w 40"/>
                  <a:gd name="T9" fmla="*/ 16 h 21"/>
                  <a:gd name="T10" fmla="*/ 0 w 40"/>
                  <a:gd name="T11" fmla="*/ 15 h 21"/>
                  <a:gd name="T12" fmla="*/ 1 w 40"/>
                  <a:gd name="T13" fmla="*/ 14 h 21"/>
                  <a:gd name="T14" fmla="*/ 28 w 40"/>
                  <a:gd name="T1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" h="21">
                    <a:moveTo>
                      <a:pt x="38" y="3"/>
                    </a:moveTo>
                    <a:cubicBezTo>
                      <a:pt x="37" y="7"/>
                      <a:pt x="40" y="12"/>
                      <a:pt x="38" y="15"/>
                    </a:cubicBezTo>
                    <a:cubicBezTo>
                      <a:pt x="37" y="18"/>
                      <a:pt x="33" y="19"/>
                      <a:pt x="30" y="20"/>
                    </a:cubicBezTo>
                    <a:cubicBezTo>
                      <a:pt x="22" y="21"/>
                      <a:pt x="14" y="21"/>
                      <a:pt x="6" y="19"/>
                    </a:cubicBezTo>
                    <a:cubicBezTo>
                      <a:pt x="4" y="19"/>
                      <a:pt x="1" y="18"/>
                      <a:pt x="0" y="1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0" y="9"/>
                      <a:pt x="19" y="5"/>
                      <a:pt x="28" y="0"/>
                    </a:cubicBezTo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2" name="任意多边形: 形状 141"/>
              <p:cNvSpPr/>
              <p:nvPr/>
            </p:nvSpPr>
            <p:spPr bwMode="auto">
              <a:xfrm>
                <a:off x="6961188" y="4187825"/>
                <a:ext cx="1076325" cy="1301750"/>
              </a:xfrm>
              <a:custGeom>
                <a:avLst/>
                <a:gdLst>
                  <a:gd name="T0" fmla="*/ 186 w 189"/>
                  <a:gd name="T1" fmla="*/ 5 h 229"/>
                  <a:gd name="T2" fmla="*/ 162 w 189"/>
                  <a:gd name="T3" fmla="*/ 61 h 229"/>
                  <a:gd name="T4" fmla="*/ 72 w 189"/>
                  <a:gd name="T5" fmla="*/ 84 h 229"/>
                  <a:gd name="T6" fmla="*/ 46 w 189"/>
                  <a:gd name="T7" fmla="*/ 92 h 229"/>
                  <a:gd name="T8" fmla="*/ 43 w 189"/>
                  <a:gd name="T9" fmla="*/ 225 h 229"/>
                  <a:gd name="T10" fmla="*/ 27 w 189"/>
                  <a:gd name="T11" fmla="*/ 224 h 229"/>
                  <a:gd name="T12" fmla="*/ 13 w 189"/>
                  <a:gd name="T13" fmla="*/ 62 h 229"/>
                  <a:gd name="T14" fmla="*/ 102 w 189"/>
                  <a:gd name="T15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9" h="229">
                    <a:moveTo>
                      <a:pt x="186" y="5"/>
                    </a:moveTo>
                    <a:cubicBezTo>
                      <a:pt x="189" y="42"/>
                      <a:pt x="179" y="51"/>
                      <a:pt x="162" y="61"/>
                    </a:cubicBezTo>
                    <a:cubicBezTo>
                      <a:pt x="139" y="74"/>
                      <a:pt x="97" y="76"/>
                      <a:pt x="72" y="84"/>
                    </a:cubicBezTo>
                    <a:cubicBezTo>
                      <a:pt x="69" y="85"/>
                      <a:pt x="48" y="90"/>
                      <a:pt x="46" y="92"/>
                    </a:cubicBezTo>
                    <a:cubicBezTo>
                      <a:pt x="43" y="94"/>
                      <a:pt x="64" y="131"/>
                      <a:pt x="43" y="225"/>
                    </a:cubicBezTo>
                    <a:cubicBezTo>
                      <a:pt x="38" y="227"/>
                      <a:pt x="31" y="229"/>
                      <a:pt x="27" y="224"/>
                    </a:cubicBezTo>
                    <a:cubicBezTo>
                      <a:pt x="26" y="187"/>
                      <a:pt x="0" y="81"/>
                      <a:pt x="13" y="62"/>
                    </a:cubicBezTo>
                    <a:cubicBezTo>
                      <a:pt x="30" y="36"/>
                      <a:pt x="78" y="3"/>
                      <a:pt x="102" y="0"/>
                    </a:cubicBezTo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3" name="任意多边形: 形状 142"/>
              <p:cNvSpPr/>
              <p:nvPr/>
            </p:nvSpPr>
            <p:spPr bwMode="auto">
              <a:xfrm>
                <a:off x="7018338" y="4403725"/>
                <a:ext cx="165100" cy="153988"/>
              </a:xfrm>
              <a:custGeom>
                <a:avLst/>
                <a:gdLst>
                  <a:gd name="T0" fmla="*/ 28 w 29"/>
                  <a:gd name="T1" fmla="*/ 0 h 27"/>
                  <a:gd name="T2" fmla="*/ 0 w 29"/>
                  <a:gd name="T3" fmla="*/ 25 h 27"/>
                  <a:gd name="T4" fmla="*/ 2 w 29"/>
                  <a:gd name="T5" fmla="*/ 26 h 27"/>
                  <a:gd name="T6" fmla="*/ 29 w 29"/>
                  <a:gd name="T7" fmla="*/ 2 h 27"/>
                  <a:gd name="T8" fmla="*/ 28 w 29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7">
                    <a:moveTo>
                      <a:pt x="28" y="0"/>
                    </a:moveTo>
                    <a:cubicBezTo>
                      <a:pt x="18" y="7"/>
                      <a:pt x="7" y="15"/>
                      <a:pt x="0" y="25"/>
                    </a:cubicBezTo>
                    <a:cubicBezTo>
                      <a:pt x="0" y="26"/>
                      <a:pt x="1" y="27"/>
                      <a:pt x="2" y="26"/>
                    </a:cubicBezTo>
                    <a:cubicBezTo>
                      <a:pt x="11" y="18"/>
                      <a:pt x="19" y="9"/>
                      <a:pt x="29" y="2"/>
                    </a:cubicBezTo>
                    <a:cubicBezTo>
                      <a:pt x="29" y="1"/>
                      <a:pt x="29" y="0"/>
                      <a:pt x="28" y="0"/>
                    </a:cubicBezTo>
                    <a:close/>
                  </a:path>
                </a:pathLst>
              </a:custGeom>
              <a:solidFill>
                <a:srgbClr val="197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4" name="任意多边形: 形状 143"/>
              <p:cNvSpPr/>
              <p:nvPr/>
            </p:nvSpPr>
            <p:spPr bwMode="auto">
              <a:xfrm>
                <a:off x="7080250" y="3152775"/>
                <a:ext cx="990600" cy="1154113"/>
              </a:xfrm>
              <a:custGeom>
                <a:avLst/>
                <a:gdLst>
                  <a:gd name="T0" fmla="*/ 63 w 174"/>
                  <a:gd name="T1" fmla="*/ 9 h 203"/>
                  <a:gd name="T2" fmla="*/ 94 w 174"/>
                  <a:gd name="T3" fmla="*/ 0 h 203"/>
                  <a:gd name="T4" fmla="*/ 116 w 174"/>
                  <a:gd name="T5" fmla="*/ 24 h 203"/>
                  <a:gd name="T6" fmla="*/ 165 w 174"/>
                  <a:gd name="T7" fmla="*/ 194 h 203"/>
                  <a:gd name="T8" fmla="*/ 94 w 174"/>
                  <a:gd name="T9" fmla="*/ 202 h 203"/>
                  <a:gd name="T10" fmla="*/ 33 w 174"/>
                  <a:gd name="T11" fmla="*/ 192 h 203"/>
                  <a:gd name="T12" fmla="*/ 10 w 174"/>
                  <a:gd name="T13" fmla="*/ 184 h 203"/>
                  <a:gd name="T14" fmla="*/ 6 w 174"/>
                  <a:gd name="T15" fmla="*/ 173 h 203"/>
                  <a:gd name="T16" fmla="*/ 19 w 174"/>
                  <a:gd name="T17" fmla="*/ 75 h 203"/>
                  <a:gd name="T18" fmla="*/ 27 w 174"/>
                  <a:gd name="T19" fmla="*/ 52 h 203"/>
                  <a:gd name="T20" fmla="*/ 33 w 174"/>
                  <a:gd name="T21" fmla="*/ 40 h 203"/>
                  <a:gd name="T22" fmla="*/ 47 w 174"/>
                  <a:gd name="T23" fmla="*/ 4 h 203"/>
                  <a:gd name="T24" fmla="*/ 49 w 174"/>
                  <a:gd name="T25" fmla="*/ 4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4" h="203">
                    <a:moveTo>
                      <a:pt x="63" y="9"/>
                    </a:moveTo>
                    <a:cubicBezTo>
                      <a:pt x="71" y="8"/>
                      <a:pt x="89" y="7"/>
                      <a:pt x="94" y="0"/>
                    </a:cubicBezTo>
                    <a:cubicBezTo>
                      <a:pt x="101" y="4"/>
                      <a:pt x="111" y="18"/>
                      <a:pt x="116" y="24"/>
                    </a:cubicBezTo>
                    <a:cubicBezTo>
                      <a:pt x="147" y="61"/>
                      <a:pt x="174" y="174"/>
                      <a:pt x="165" y="194"/>
                    </a:cubicBezTo>
                    <a:cubicBezTo>
                      <a:pt x="147" y="200"/>
                      <a:pt x="114" y="201"/>
                      <a:pt x="94" y="202"/>
                    </a:cubicBezTo>
                    <a:cubicBezTo>
                      <a:pt x="74" y="203"/>
                      <a:pt x="54" y="194"/>
                      <a:pt x="33" y="192"/>
                    </a:cubicBezTo>
                    <a:cubicBezTo>
                      <a:pt x="25" y="192"/>
                      <a:pt x="15" y="191"/>
                      <a:pt x="10" y="184"/>
                    </a:cubicBezTo>
                    <a:cubicBezTo>
                      <a:pt x="8" y="181"/>
                      <a:pt x="7" y="177"/>
                      <a:pt x="6" y="173"/>
                    </a:cubicBezTo>
                    <a:cubicBezTo>
                      <a:pt x="0" y="140"/>
                      <a:pt x="10" y="107"/>
                      <a:pt x="19" y="75"/>
                    </a:cubicBezTo>
                    <a:cubicBezTo>
                      <a:pt x="21" y="67"/>
                      <a:pt x="24" y="60"/>
                      <a:pt x="27" y="52"/>
                    </a:cubicBezTo>
                    <a:cubicBezTo>
                      <a:pt x="29" y="48"/>
                      <a:pt x="32" y="44"/>
                      <a:pt x="33" y="40"/>
                    </a:cubicBezTo>
                    <a:cubicBezTo>
                      <a:pt x="38" y="28"/>
                      <a:pt x="38" y="14"/>
                      <a:pt x="47" y="4"/>
                    </a:cubicBezTo>
                    <a:cubicBezTo>
                      <a:pt x="48" y="3"/>
                      <a:pt x="50" y="4"/>
                      <a:pt x="49" y="4"/>
                    </a:cubicBezTo>
                  </a:path>
                </a:pathLst>
              </a:custGeom>
              <a:solidFill>
                <a:srgbClr val="9ECC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5" name="任意多边形: 形状 144"/>
              <p:cNvSpPr/>
              <p:nvPr/>
            </p:nvSpPr>
            <p:spPr bwMode="auto">
              <a:xfrm>
                <a:off x="7183438" y="3375025"/>
                <a:ext cx="85725" cy="284163"/>
              </a:xfrm>
              <a:custGeom>
                <a:avLst/>
                <a:gdLst>
                  <a:gd name="T0" fmla="*/ 14 w 15"/>
                  <a:gd name="T1" fmla="*/ 1 h 50"/>
                  <a:gd name="T2" fmla="*/ 0 w 15"/>
                  <a:gd name="T3" fmla="*/ 49 h 50"/>
                  <a:gd name="T4" fmla="*/ 2 w 15"/>
                  <a:gd name="T5" fmla="*/ 49 h 50"/>
                  <a:gd name="T6" fmla="*/ 15 w 15"/>
                  <a:gd name="T7" fmla="*/ 2 h 50"/>
                  <a:gd name="T8" fmla="*/ 14 w 15"/>
                  <a:gd name="T9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50">
                    <a:moveTo>
                      <a:pt x="14" y="1"/>
                    </a:moveTo>
                    <a:cubicBezTo>
                      <a:pt x="7" y="16"/>
                      <a:pt x="2" y="33"/>
                      <a:pt x="0" y="49"/>
                    </a:cubicBezTo>
                    <a:cubicBezTo>
                      <a:pt x="0" y="50"/>
                      <a:pt x="2" y="50"/>
                      <a:pt x="2" y="49"/>
                    </a:cubicBezTo>
                    <a:cubicBezTo>
                      <a:pt x="6" y="33"/>
                      <a:pt x="10" y="17"/>
                      <a:pt x="15" y="2"/>
                    </a:cubicBezTo>
                    <a:cubicBezTo>
                      <a:pt x="15" y="1"/>
                      <a:pt x="14" y="0"/>
                      <a:pt x="14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6" name="任意多边形: 形状 145"/>
              <p:cNvSpPr/>
              <p:nvPr/>
            </p:nvSpPr>
            <p:spPr bwMode="auto">
              <a:xfrm>
                <a:off x="7388225" y="2947988"/>
                <a:ext cx="227013" cy="261938"/>
              </a:xfrm>
              <a:custGeom>
                <a:avLst/>
                <a:gdLst>
                  <a:gd name="T0" fmla="*/ 35 w 40"/>
                  <a:gd name="T1" fmla="*/ 0 h 46"/>
                  <a:gd name="T2" fmla="*/ 40 w 40"/>
                  <a:gd name="T3" fmla="*/ 36 h 46"/>
                  <a:gd name="T4" fmla="*/ 23 w 40"/>
                  <a:gd name="T5" fmla="*/ 45 h 46"/>
                  <a:gd name="T6" fmla="*/ 9 w 40"/>
                  <a:gd name="T7" fmla="*/ 45 h 46"/>
                  <a:gd name="T8" fmla="*/ 0 w 40"/>
                  <a:gd name="T9" fmla="*/ 35 h 46"/>
                  <a:gd name="T10" fmla="*/ 7 w 40"/>
                  <a:gd name="T11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46">
                    <a:moveTo>
                      <a:pt x="35" y="0"/>
                    </a:moveTo>
                    <a:cubicBezTo>
                      <a:pt x="37" y="12"/>
                      <a:pt x="39" y="24"/>
                      <a:pt x="40" y="36"/>
                    </a:cubicBezTo>
                    <a:cubicBezTo>
                      <a:pt x="35" y="40"/>
                      <a:pt x="30" y="45"/>
                      <a:pt x="23" y="45"/>
                    </a:cubicBezTo>
                    <a:cubicBezTo>
                      <a:pt x="21" y="44"/>
                      <a:pt x="13" y="46"/>
                      <a:pt x="9" y="45"/>
                    </a:cubicBezTo>
                    <a:cubicBezTo>
                      <a:pt x="4" y="44"/>
                      <a:pt x="2" y="37"/>
                      <a:pt x="0" y="35"/>
                    </a:cubicBezTo>
                    <a:cubicBezTo>
                      <a:pt x="2" y="31"/>
                      <a:pt x="5" y="17"/>
                      <a:pt x="7" y="8"/>
                    </a:cubicBezTo>
                  </a:path>
                </a:pathLst>
              </a:custGeom>
              <a:solidFill>
                <a:srgbClr val="F4B5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5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7" name="任意多边形: 形状 146"/>
              <p:cNvSpPr/>
              <p:nvPr/>
            </p:nvSpPr>
            <p:spPr bwMode="auto">
              <a:xfrm>
                <a:off x="7297738" y="2749550"/>
                <a:ext cx="101600" cy="215900"/>
              </a:xfrm>
              <a:custGeom>
                <a:avLst/>
                <a:gdLst>
                  <a:gd name="T0" fmla="*/ 15 w 18"/>
                  <a:gd name="T1" fmla="*/ 0 h 38"/>
                  <a:gd name="T2" fmla="*/ 4 w 18"/>
                  <a:gd name="T3" fmla="*/ 10 h 38"/>
                  <a:gd name="T4" fmla="*/ 1 w 18"/>
                  <a:gd name="T5" fmla="*/ 25 h 38"/>
                  <a:gd name="T6" fmla="*/ 1 w 18"/>
                  <a:gd name="T7" fmla="*/ 29 h 38"/>
                  <a:gd name="T8" fmla="*/ 6 w 18"/>
                  <a:gd name="T9" fmla="*/ 37 h 38"/>
                  <a:gd name="T10" fmla="*/ 10 w 18"/>
                  <a:gd name="T11" fmla="*/ 32 h 38"/>
                  <a:gd name="T12" fmla="*/ 12 w 18"/>
                  <a:gd name="T13" fmla="*/ 29 h 38"/>
                  <a:gd name="T14" fmla="*/ 18 w 18"/>
                  <a:gd name="T15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38">
                    <a:moveTo>
                      <a:pt x="15" y="0"/>
                    </a:moveTo>
                    <a:cubicBezTo>
                      <a:pt x="10" y="1"/>
                      <a:pt x="6" y="5"/>
                      <a:pt x="4" y="10"/>
                    </a:cubicBezTo>
                    <a:cubicBezTo>
                      <a:pt x="2" y="14"/>
                      <a:pt x="1" y="19"/>
                      <a:pt x="1" y="25"/>
                    </a:cubicBezTo>
                    <a:cubicBezTo>
                      <a:pt x="0" y="26"/>
                      <a:pt x="0" y="27"/>
                      <a:pt x="1" y="29"/>
                    </a:cubicBezTo>
                    <a:cubicBezTo>
                      <a:pt x="1" y="31"/>
                      <a:pt x="4" y="36"/>
                      <a:pt x="6" y="37"/>
                    </a:cubicBezTo>
                    <a:cubicBezTo>
                      <a:pt x="8" y="38"/>
                      <a:pt x="9" y="33"/>
                      <a:pt x="10" y="32"/>
                    </a:cubicBezTo>
                    <a:cubicBezTo>
                      <a:pt x="11" y="31"/>
                      <a:pt x="12" y="30"/>
                      <a:pt x="12" y="29"/>
                    </a:cubicBezTo>
                    <a:cubicBezTo>
                      <a:pt x="14" y="25"/>
                      <a:pt x="16" y="22"/>
                      <a:pt x="18" y="18"/>
                    </a:cubicBezTo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8" name="任意多边形: 形状 147"/>
              <p:cNvSpPr/>
              <p:nvPr/>
            </p:nvSpPr>
            <p:spPr bwMode="auto">
              <a:xfrm>
                <a:off x="7308850" y="2714625"/>
                <a:ext cx="346075" cy="393700"/>
              </a:xfrm>
              <a:custGeom>
                <a:avLst/>
                <a:gdLst>
                  <a:gd name="T0" fmla="*/ 3 w 61"/>
                  <a:gd name="T1" fmla="*/ 38 h 69"/>
                  <a:gd name="T2" fmla="*/ 6 w 61"/>
                  <a:gd name="T3" fmla="*/ 18 h 69"/>
                  <a:gd name="T4" fmla="*/ 23 w 61"/>
                  <a:gd name="T5" fmla="*/ 2 h 69"/>
                  <a:gd name="T6" fmla="*/ 50 w 61"/>
                  <a:gd name="T7" fmla="*/ 9 h 69"/>
                  <a:gd name="T8" fmla="*/ 51 w 61"/>
                  <a:gd name="T9" fmla="*/ 50 h 69"/>
                  <a:gd name="T10" fmla="*/ 31 w 61"/>
                  <a:gd name="T11" fmla="*/ 67 h 69"/>
                  <a:gd name="T12" fmla="*/ 2 w 61"/>
                  <a:gd name="T13" fmla="*/ 59 h 69"/>
                  <a:gd name="T14" fmla="*/ 3 w 61"/>
                  <a:gd name="T15" fmla="*/ 3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9">
                    <a:moveTo>
                      <a:pt x="3" y="38"/>
                    </a:moveTo>
                    <a:cubicBezTo>
                      <a:pt x="4" y="32"/>
                      <a:pt x="4" y="24"/>
                      <a:pt x="6" y="18"/>
                    </a:cubicBezTo>
                    <a:cubicBezTo>
                      <a:pt x="9" y="9"/>
                      <a:pt x="15" y="3"/>
                      <a:pt x="23" y="2"/>
                    </a:cubicBezTo>
                    <a:cubicBezTo>
                      <a:pt x="32" y="0"/>
                      <a:pt x="43" y="3"/>
                      <a:pt x="50" y="9"/>
                    </a:cubicBezTo>
                    <a:cubicBezTo>
                      <a:pt x="61" y="19"/>
                      <a:pt x="60" y="38"/>
                      <a:pt x="51" y="50"/>
                    </a:cubicBezTo>
                    <a:cubicBezTo>
                      <a:pt x="41" y="62"/>
                      <a:pt x="35" y="66"/>
                      <a:pt x="31" y="67"/>
                    </a:cubicBezTo>
                    <a:cubicBezTo>
                      <a:pt x="23" y="69"/>
                      <a:pt x="5" y="64"/>
                      <a:pt x="2" y="59"/>
                    </a:cubicBezTo>
                    <a:cubicBezTo>
                      <a:pt x="0" y="55"/>
                      <a:pt x="2" y="42"/>
                      <a:pt x="3" y="38"/>
                    </a:cubicBezTo>
                    <a:close/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9" name="任意多边形: 形状 148"/>
              <p:cNvSpPr/>
              <p:nvPr/>
            </p:nvSpPr>
            <p:spPr bwMode="auto">
              <a:xfrm>
                <a:off x="7337425" y="2670175"/>
                <a:ext cx="352425" cy="357188"/>
              </a:xfrm>
              <a:custGeom>
                <a:avLst/>
                <a:gdLst>
                  <a:gd name="T0" fmla="*/ 2 w 62"/>
                  <a:gd name="T1" fmla="*/ 0 h 63"/>
                  <a:gd name="T2" fmla="*/ 9 w 62"/>
                  <a:gd name="T3" fmla="*/ 2 h 63"/>
                  <a:gd name="T4" fmla="*/ 34 w 62"/>
                  <a:gd name="T5" fmla="*/ 3 h 63"/>
                  <a:gd name="T6" fmla="*/ 55 w 62"/>
                  <a:gd name="T7" fmla="*/ 15 h 63"/>
                  <a:gd name="T8" fmla="*/ 60 w 62"/>
                  <a:gd name="T9" fmla="*/ 33 h 63"/>
                  <a:gd name="T10" fmla="*/ 57 w 62"/>
                  <a:gd name="T11" fmla="*/ 55 h 63"/>
                  <a:gd name="T12" fmla="*/ 48 w 62"/>
                  <a:gd name="T13" fmla="*/ 62 h 63"/>
                  <a:gd name="T14" fmla="*/ 41 w 62"/>
                  <a:gd name="T15" fmla="*/ 63 h 63"/>
                  <a:gd name="T16" fmla="*/ 41 w 62"/>
                  <a:gd name="T17" fmla="*/ 55 h 63"/>
                  <a:gd name="T18" fmla="*/ 43 w 62"/>
                  <a:gd name="T19" fmla="*/ 46 h 63"/>
                  <a:gd name="T20" fmla="*/ 40 w 62"/>
                  <a:gd name="T21" fmla="*/ 47 h 63"/>
                  <a:gd name="T22" fmla="*/ 35 w 62"/>
                  <a:gd name="T23" fmla="*/ 52 h 63"/>
                  <a:gd name="T24" fmla="*/ 35 w 62"/>
                  <a:gd name="T25" fmla="*/ 48 h 63"/>
                  <a:gd name="T26" fmla="*/ 40 w 62"/>
                  <a:gd name="T27" fmla="*/ 33 h 63"/>
                  <a:gd name="T28" fmla="*/ 39 w 62"/>
                  <a:gd name="T29" fmla="*/ 31 h 63"/>
                  <a:gd name="T30" fmla="*/ 36 w 62"/>
                  <a:gd name="T31" fmla="*/ 29 h 63"/>
                  <a:gd name="T32" fmla="*/ 22 w 62"/>
                  <a:gd name="T33" fmla="*/ 26 h 63"/>
                  <a:gd name="T34" fmla="*/ 17 w 62"/>
                  <a:gd name="T35" fmla="*/ 24 h 63"/>
                  <a:gd name="T36" fmla="*/ 11 w 62"/>
                  <a:gd name="T37" fmla="*/ 21 h 63"/>
                  <a:gd name="T38" fmla="*/ 3 w 62"/>
                  <a:gd name="T39" fmla="*/ 13 h 63"/>
                  <a:gd name="T40" fmla="*/ 2 w 62"/>
                  <a:gd name="T4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2" h="63">
                    <a:moveTo>
                      <a:pt x="2" y="0"/>
                    </a:moveTo>
                    <a:cubicBezTo>
                      <a:pt x="4" y="2"/>
                      <a:pt x="7" y="2"/>
                      <a:pt x="9" y="2"/>
                    </a:cubicBezTo>
                    <a:cubicBezTo>
                      <a:pt x="17" y="1"/>
                      <a:pt x="26" y="1"/>
                      <a:pt x="34" y="3"/>
                    </a:cubicBezTo>
                    <a:cubicBezTo>
                      <a:pt x="42" y="4"/>
                      <a:pt x="50" y="9"/>
                      <a:pt x="55" y="15"/>
                    </a:cubicBezTo>
                    <a:cubicBezTo>
                      <a:pt x="59" y="20"/>
                      <a:pt x="61" y="27"/>
                      <a:pt x="60" y="33"/>
                    </a:cubicBezTo>
                    <a:cubicBezTo>
                      <a:pt x="62" y="45"/>
                      <a:pt x="58" y="51"/>
                      <a:pt x="57" y="55"/>
                    </a:cubicBezTo>
                    <a:cubicBezTo>
                      <a:pt x="56" y="58"/>
                      <a:pt x="51" y="61"/>
                      <a:pt x="48" y="62"/>
                    </a:cubicBezTo>
                    <a:cubicBezTo>
                      <a:pt x="45" y="63"/>
                      <a:pt x="45" y="63"/>
                      <a:pt x="41" y="63"/>
                    </a:cubicBezTo>
                    <a:cubicBezTo>
                      <a:pt x="41" y="61"/>
                      <a:pt x="41" y="58"/>
                      <a:pt x="41" y="55"/>
                    </a:cubicBezTo>
                    <a:cubicBezTo>
                      <a:pt x="41" y="52"/>
                      <a:pt x="43" y="49"/>
                      <a:pt x="43" y="46"/>
                    </a:cubicBezTo>
                    <a:cubicBezTo>
                      <a:pt x="42" y="46"/>
                      <a:pt x="41" y="47"/>
                      <a:pt x="40" y="47"/>
                    </a:cubicBezTo>
                    <a:cubicBezTo>
                      <a:pt x="39" y="49"/>
                      <a:pt x="36" y="52"/>
                      <a:pt x="35" y="52"/>
                    </a:cubicBezTo>
                    <a:cubicBezTo>
                      <a:pt x="33" y="51"/>
                      <a:pt x="35" y="49"/>
                      <a:pt x="35" y="48"/>
                    </a:cubicBezTo>
                    <a:cubicBezTo>
                      <a:pt x="38" y="43"/>
                      <a:pt x="41" y="38"/>
                      <a:pt x="40" y="33"/>
                    </a:cubicBezTo>
                    <a:cubicBezTo>
                      <a:pt x="40" y="32"/>
                      <a:pt x="40" y="31"/>
                      <a:pt x="39" y="31"/>
                    </a:cubicBezTo>
                    <a:cubicBezTo>
                      <a:pt x="39" y="30"/>
                      <a:pt x="37" y="30"/>
                      <a:pt x="36" y="29"/>
                    </a:cubicBezTo>
                    <a:cubicBezTo>
                      <a:pt x="31" y="29"/>
                      <a:pt x="26" y="27"/>
                      <a:pt x="22" y="26"/>
                    </a:cubicBezTo>
                    <a:cubicBezTo>
                      <a:pt x="20" y="25"/>
                      <a:pt x="19" y="25"/>
                      <a:pt x="17" y="24"/>
                    </a:cubicBezTo>
                    <a:cubicBezTo>
                      <a:pt x="15" y="24"/>
                      <a:pt x="13" y="22"/>
                      <a:pt x="11" y="21"/>
                    </a:cubicBezTo>
                    <a:cubicBezTo>
                      <a:pt x="8" y="19"/>
                      <a:pt x="5" y="16"/>
                      <a:pt x="3" y="13"/>
                    </a:cubicBezTo>
                    <a:cubicBezTo>
                      <a:pt x="2" y="10"/>
                      <a:pt x="0" y="2"/>
                      <a:pt x="2" y="0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0" name="任意多边形: 形状 149"/>
              <p:cNvSpPr/>
              <p:nvPr/>
            </p:nvSpPr>
            <p:spPr bwMode="auto">
              <a:xfrm>
                <a:off x="7348538" y="2857500"/>
                <a:ext cx="39688" cy="46038"/>
              </a:xfrm>
              <a:custGeom>
                <a:avLst/>
                <a:gdLst>
                  <a:gd name="T0" fmla="*/ 4 w 7"/>
                  <a:gd name="T1" fmla="*/ 1 h 8"/>
                  <a:gd name="T2" fmla="*/ 6 w 7"/>
                  <a:gd name="T3" fmla="*/ 3 h 8"/>
                  <a:gd name="T4" fmla="*/ 3 w 7"/>
                  <a:gd name="T5" fmla="*/ 8 h 8"/>
                  <a:gd name="T6" fmla="*/ 4 w 7"/>
                  <a:gd name="T7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4" y="1"/>
                    </a:moveTo>
                    <a:cubicBezTo>
                      <a:pt x="5" y="0"/>
                      <a:pt x="6" y="0"/>
                      <a:pt x="6" y="3"/>
                    </a:cubicBezTo>
                    <a:cubicBezTo>
                      <a:pt x="7" y="5"/>
                      <a:pt x="6" y="8"/>
                      <a:pt x="3" y="8"/>
                    </a:cubicBezTo>
                    <a:cubicBezTo>
                      <a:pt x="0" y="7"/>
                      <a:pt x="2" y="3"/>
                      <a:pt x="4" y="1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1" name="任意多边形: 形状 150"/>
              <p:cNvSpPr/>
              <p:nvPr/>
            </p:nvSpPr>
            <p:spPr bwMode="auto">
              <a:xfrm>
                <a:off x="7353300" y="2868613"/>
                <a:ext cx="17463" cy="22225"/>
              </a:xfrm>
              <a:custGeom>
                <a:avLst/>
                <a:gdLst>
                  <a:gd name="T0" fmla="*/ 2 w 3"/>
                  <a:gd name="T1" fmla="*/ 0 h 4"/>
                  <a:gd name="T2" fmla="*/ 3 w 3"/>
                  <a:gd name="T3" fmla="*/ 1 h 4"/>
                  <a:gd name="T4" fmla="*/ 2 w 3"/>
                  <a:gd name="T5" fmla="*/ 3 h 4"/>
                  <a:gd name="T6" fmla="*/ 2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3" y="4"/>
                      <a:pt x="2" y="3"/>
                    </a:cubicBezTo>
                    <a:cubicBezTo>
                      <a:pt x="0" y="3"/>
                      <a:pt x="1" y="1"/>
                      <a:pt x="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2" name="任意多边形: 形状 151"/>
              <p:cNvSpPr/>
              <p:nvPr/>
            </p:nvSpPr>
            <p:spPr bwMode="auto">
              <a:xfrm>
                <a:off x="7467600" y="2890838"/>
                <a:ext cx="39688" cy="52388"/>
              </a:xfrm>
              <a:custGeom>
                <a:avLst/>
                <a:gdLst>
                  <a:gd name="T0" fmla="*/ 4 w 7"/>
                  <a:gd name="T1" fmla="*/ 1 h 9"/>
                  <a:gd name="T2" fmla="*/ 7 w 7"/>
                  <a:gd name="T3" fmla="*/ 4 h 9"/>
                  <a:gd name="T4" fmla="*/ 4 w 7"/>
                  <a:gd name="T5" fmla="*/ 9 h 9"/>
                  <a:gd name="T6" fmla="*/ 4 w 7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9">
                    <a:moveTo>
                      <a:pt x="4" y="1"/>
                    </a:moveTo>
                    <a:cubicBezTo>
                      <a:pt x="5" y="0"/>
                      <a:pt x="7" y="1"/>
                      <a:pt x="7" y="4"/>
                    </a:cubicBezTo>
                    <a:cubicBezTo>
                      <a:pt x="7" y="6"/>
                      <a:pt x="7" y="9"/>
                      <a:pt x="4" y="9"/>
                    </a:cubicBezTo>
                    <a:cubicBezTo>
                      <a:pt x="0" y="8"/>
                      <a:pt x="2" y="3"/>
                      <a:pt x="4" y="1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3" name="任意多边形: 形状 152"/>
              <p:cNvSpPr/>
              <p:nvPr/>
            </p:nvSpPr>
            <p:spPr bwMode="auto">
              <a:xfrm>
                <a:off x="7473950" y="2903538"/>
                <a:ext cx="22225" cy="22225"/>
              </a:xfrm>
              <a:custGeom>
                <a:avLst/>
                <a:gdLst>
                  <a:gd name="T0" fmla="*/ 2 w 4"/>
                  <a:gd name="T1" fmla="*/ 1 h 4"/>
                  <a:gd name="T2" fmla="*/ 4 w 4"/>
                  <a:gd name="T3" fmla="*/ 2 h 4"/>
                  <a:gd name="T4" fmla="*/ 2 w 4"/>
                  <a:gd name="T5" fmla="*/ 4 h 4"/>
                  <a:gd name="T6" fmla="*/ 2 w 4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2" y="1"/>
                    </a:moveTo>
                    <a:cubicBezTo>
                      <a:pt x="3" y="0"/>
                      <a:pt x="3" y="1"/>
                      <a:pt x="4" y="2"/>
                    </a:cubicBezTo>
                    <a:cubicBezTo>
                      <a:pt x="4" y="3"/>
                      <a:pt x="3" y="4"/>
                      <a:pt x="2" y="4"/>
                    </a:cubicBezTo>
                    <a:cubicBezTo>
                      <a:pt x="0" y="4"/>
                      <a:pt x="1" y="2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4" name="任意多边形: 形状 153"/>
              <p:cNvSpPr/>
              <p:nvPr/>
            </p:nvSpPr>
            <p:spPr bwMode="auto">
              <a:xfrm>
                <a:off x="7496175" y="2851150"/>
                <a:ext cx="50800" cy="17463"/>
              </a:xfrm>
              <a:custGeom>
                <a:avLst/>
                <a:gdLst>
                  <a:gd name="T0" fmla="*/ 8 w 9"/>
                  <a:gd name="T1" fmla="*/ 2 h 3"/>
                  <a:gd name="T2" fmla="*/ 1 w 9"/>
                  <a:gd name="T3" fmla="*/ 1 h 3"/>
                  <a:gd name="T4" fmla="*/ 1 w 9"/>
                  <a:gd name="T5" fmla="*/ 3 h 3"/>
                  <a:gd name="T6" fmla="*/ 4 w 9"/>
                  <a:gd name="T7" fmla="*/ 3 h 3"/>
                  <a:gd name="T8" fmla="*/ 8 w 9"/>
                  <a:gd name="T9" fmla="*/ 3 h 3"/>
                  <a:gd name="T10" fmla="*/ 8 w 9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3">
                    <a:moveTo>
                      <a:pt x="8" y="2"/>
                    </a:moveTo>
                    <a:cubicBezTo>
                      <a:pt x="6" y="1"/>
                      <a:pt x="3" y="0"/>
                      <a:pt x="1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2" y="3"/>
                      <a:pt x="3" y="3"/>
                      <a:pt x="4" y="3"/>
                    </a:cubicBezTo>
                    <a:cubicBezTo>
                      <a:pt x="5" y="3"/>
                      <a:pt x="7" y="3"/>
                      <a:pt x="8" y="3"/>
                    </a:cubicBezTo>
                    <a:cubicBezTo>
                      <a:pt x="9" y="3"/>
                      <a:pt x="9" y="2"/>
                      <a:pt x="8" y="2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5" name="任意多边形: 形状 154"/>
              <p:cNvSpPr/>
              <p:nvPr/>
            </p:nvSpPr>
            <p:spPr bwMode="auto">
              <a:xfrm>
                <a:off x="7366000" y="2795588"/>
                <a:ext cx="39688" cy="39688"/>
              </a:xfrm>
              <a:custGeom>
                <a:avLst/>
                <a:gdLst>
                  <a:gd name="T0" fmla="*/ 1 w 7"/>
                  <a:gd name="T1" fmla="*/ 3 h 7"/>
                  <a:gd name="T2" fmla="*/ 5 w 7"/>
                  <a:gd name="T3" fmla="*/ 7 h 7"/>
                  <a:gd name="T4" fmla="*/ 6 w 7"/>
                  <a:gd name="T5" fmla="*/ 6 h 7"/>
                  <a:gd name="T6" fmla="*/ 1 w 7"/>
                  <a:gd name="T7" fmla="*/ 1 h 7"/>
                  <a:gd name="T8" fmla="*/ 1 w 7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1" y="3"/>
                    </a:moveTo>
                    <a:cubicBezTo>
                      <a:pt x="3" y="3"/>
                      <a:pt x="4" y="5"/>
                      <a:pt x="5" y="7"/>
                    </a:cubicBezTo>
                    <a:cubicBezTo>
                      <a:pt x="6" y="7"/>
                      <a:pt x="6" y="6"/>
                      <a:pt x="6" y="6"/>
                    </a:cubicBezTo>
                    <a:cubicBezTo>
                      <a:pt x="7" y="3"/>
                      <a:pt x="4" y="0"/>
                      <a:pt x="1" y="1"/>
                    </a:cubicBezTo>
                    <a:cubicBezTo>
                      <a:pt x="0" y="1"/>
                      <a:pt x="0" y="2"/>
                      <a:pt x="1" y="3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6" name="任意多边形: 形状 155"/>
              <p:cNvSpPr/>
              <p:nvPr/>
            </p:nvSpPr>
            <p:spPr bwMode="auto">
              <a:xfrm>
                <a:off x="7359650" y="2976563"/>
                <a:ext cx="68263" cy="57150"/>
              </a:xfrm>
              <a:custGeom>
                <a:avLst/>
                <a:gdLst>
                  <a:gd name="T0" fmla="*/ 12 w 12"/>
                  <a:gd name="T1" fmla="*/ 5 h 10"/>
                  <a:gd name="T2" fmla="*/ 12 w 12"/>
                  <a:gd name="T3" fmla="*/ 4 h 10"/>
                  <a:gd name="T4" fmla="*/ 1 w 12"/>
                  <a:gd name="T5" fmla="*/ 0 h 10"/>
                  <a:gd name="T6" fmla="*/ 1 w 12"/>
                  <a:gd name="T7" fmla="*/ 0 h 10"/>
                  <a:gd name="T8" fmla="*/ 0 w 12"/>
                  <a:gd name="T9" fmla="*/ 1 h 10"/>
                  <a:gd name="T10" fmla="*/ 0 w 12"/>
                  <a:gd name="T11" fmla="*/ 3 h 10"/>
                  <a:gd name="T12" fmla="*/ 1 w 12"/>
                  <a:gd name="T13" fmla="*/ 6 h 10"/>
                  <a:gd name="T14" fmla="*/ 2 w 12"/>
                  <a:gd name="T15" fmla="*/ 7 h 10"/>
                  <a:gd name="T16" fmla="*/ 8 w 12"/>
                  <a:gd name="T17" fmla="*/ 9 h 10"/>
                  <a:gd name="T18" fmla="*/ 10 w 12"/>
                  <a:gd name="T19" fmla="*/ 8 h 10"/>
                  <a:gd name="T20" fmla="*/ 12 w 12"/>
                  <a:gd name="T21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0">
                    <a:moveTo>
                      <a:pt x="12" y="5"/>
                    </a:moveTo>
                    <a:cubicBezTo>
                      <a:pt x="12" y="5"/>
                      <a:pt x="12" y="4"/>
                      <a:pt x="12" y="4"/>
                    </a:cubicBezTo>
                    <a:cubicBezTo>
                      <a:pt x="8" y="3"/>
                      <a:pt x="5" y="2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1" y="6"/>
                      <a:pt x="1" y="7"/>
                      <a:pt x="2" y="7"/>
                    </a:cubicBezTo>
                    <a:cubicBezTo>
                      <a:pt x="3" y="9"/>
                      <a:pt x="6" y="10"/>
                      <a:pt x="8" y="9"/>
                    </a:cubicBezTo>
                    <a:cubicBezTo>
                      <a:pt x="9" y="9"/>
                      <a:pt x="10" y="9"/>
                      <a:pt x="10" y="8"/>
                    </a:cubicBezTo>
                    <a:cubicBezTo>
                      <a:pt x="11" y="7"/>
                      <a:pt x="12" y="5"/>
                      <a:pt x="12" y="4"/>
                    </a:cubicBezTo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7" name="任意多边形: 形状 156"/>
              <p:cNvSpPr/>
              <p:nvPr/>
            </p:nvSpPr>
            <p:spPr bwMode="auto">
              <a:xfrm>
                <a:off x="7377113" y="2914650"/>
                <a:ext cx="39688" cy="57150"/>
              </a:xfrm>
              <a:custGeom>
                <a:avLst/>
                <a:gdLst>
                  <a:gd name="T0" fmla="*/ 4 w 7"/>
                  <a:gd name="T1" fmla="*/ 0 h 10"/>
                  <a:gd name="T2" fmla="*/ 3 w 7"/>
                  <a:gd name="T3" fmla="*/ 3 h 10"/>
                  <a:gd name="T4" fmla="*/ 2 w 7"/>
                  <a:gd name="T5" fmla="*/ 5 h 10"/>
                  <a:gd name="T6" fmla="*/ 2 w 7"/>
                  <a:gd name="T7" fmla="*/ 7 h 10"/>
                  <a:gd name="T8" fmla="*/ 2 w 7"/>
                  <a:gd name="T9" fmla="*/ 7 h 10"/>
                  <a:gd name="T10" fmla="*/ 3 w 7"/>
                  <a:gd name="T11" fmla="*/ 8 h 10"/>
                  <a:gd name="T12" fmla="*/ 5 w 7"/>
                  <a:gd name="T13" fmla="*/ 9 h 10"/>
                  <a:gd name="T14" fmla="*/ 7 w 7"/>
                  <a:gd name="T15" fmla="*/ 9 h 10"/>
                  <a:gd name="T16" fmla="*/ 5 w 7"/>
                  <a:gd name="T17" fmla="*/ 10 h 10"/>
                  <a:gd name="T18" fmla="*/ 3 w 7"/>
                  <a:gd name="T19" fmla="*/ 9 h 10"/>
                  <a:gd name="T20" fmla="*/ 1 w 7"/>
                  <a:gd name="T21" fmla="*/ 9 h 10"/>
                  <a:gd name="T22" fmla="*/ 0 w 7"/>
                  <a:gd name="T23" fmla="*/ 7 h 10"/>
                  <a:gd name="T24" fmla="*/ 1 w 7"/>
                  <a:gd name="T25" fmla="*/ 4 h 10"/>
                  <a:gd name="T26" fmla="*/ 2 w 7"/>
                  <a:gd name="T27" fmla="*/ 2 h 10"/>
                  <a:gd name="T28" fmla="*/ 4 w 7"/>
                  <a:gd name="T2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10">
                    <a:moveTo>
                      <a:pt x="4" y="0"/>
                    </a:moveTo>
                    <a:cubicBezTo>
                      <a:pt x="4" y="0"/>
                      <a:pt x="4" y="1"/>
                      <a:pt x="3" y="3"/>
                    </a:cubicBezTo>
                    <a:cubicBezTo>
                      <a:pt x="3" y="3"/>
                      <a:pt x="3" y="4"/>
                      <a:pt x="2" y="5"/>
                    </a:cubicBezTo>
                    <a:cubicBezTo>
                      <a:pt x="2" y="5"/>
                      <a:pt x="2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3" y="7"/>
                      <a:pt x="3" y="8"/>
                    </a:cubicBezTo>
                    <a:cubicBezTo>
                      <a:pt x="4" y="8"/>
                      <a:pt x="5" y="8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9"/>
                      <a:pt x="6" y="10"/>
                      <a:pt x="5" y="10"/>
                    </a:cubicBezTo>
                    <a:cubicBezTo>
                      <a:pt x="4" y="10"/>
                      <a:pt x="3" y="10"/>
                      <a:pt x="3" y="9"/>
                    </a:cubicBezTo>
                    <a:cubicBezTo>
                      <a:pt x="2" y="9"/>
                      <a:pt x="2" y="9"/>
                      <a:pt x="1" y="9"/>
                    </a:cubicBezTo>
                    <a:cubicBezTo>
                      <a:pt x="1" y="9"/>
                      <a:pt x="0" y="8"/>
                      <a:pt x="0" y="7"/>
                    </a:cubicBezTo>
                    <a:cubicBezTo>
                      <a:pt x="0" y="6"/>
                      <a:pt x="0" y="5"/>
                      <a:pt x="1" y="4"/>
                    </a:cubicBezTo>
                    <a:cubicBezTo>
                      <a:pt x="1" y="3"/>
                      <a:pt x="2" y="3"/>
                      <a:pt x="2" y="2"/>
                    </a:cubicBezTo>
                    <a:cubicBezTo>
                      <a:pt x="3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8" name="任意多边形: 形状 157"/>
              <p:cNvSpPr/>
              <p:nvPr/>
            </p:nvSpPr>
            <p:spPr bwMode="auto">
              <a:xfrm>
                <a:off x="7531100" y="2932113"/>
                <a:ext cx="79375" cy="84138"/>
              </a:xfrm>
              <a:custGeom>
                <a:avLst/>
                <a:gdLst>
                  <a:gd name="T0" fmla="*/ 6 w 14"/>
                  <a:gd name="T1" fmla="*/ 1 h 15"/>
                  <a:gd name="T2" fmla="*/ 9 w 14"/>
                  <a:gd name="T3" fmla="*/ 0 h 15"/>
                  <a:gd name="T4" fmla="*/ 12 w 14"/>
                  <a:gd name="T5" fmla="*/ 0 h 15"/>
                  <a:gd name="T6" fmla="*/ 13 w 14"/>
                  <a:gd name="T7" fmla="*/ 3 h 15"/>
                  <a:gd name="T8" fmla="*/ 13 w 14"/>
                  <a:gd name="T9" fmla="*/ 10 h 15"/>
                  <a:gd name="T10" fmla="*/ 7 w 14"/>
                  <a:gd name="T11" fmla="*/ 15 h 15"/>
                  <a:gd name="T12" fmla="*/ 0 w 14"/>
                  <a:gd name="T13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5">
                    <a:moveTo>
                      <a:pt x="6" y="1"/>
                    </a:moveTo>
                    <a:cubicBezTo>
                      <a:pt x="7" y="1"/>
                      <a:pt x="8" y="0"/>
                      <a:pt x="9" y="0"/>
                    </a:cubicBezTo>
                    <a:cubicBezTo>
                      <a:pt x="10" y="0"/>
                      <a:pt x="11" y="0"/>
                      <a:pt x="12" y="0"/>
                    </a:cubicBezTo>
                    <a:cubicBezTo>
                      <a:pt x="13" y="1"/>
                      <a:pt x="13" y="2"/>
                      <a:pt x="13" y="3"/>
                    </a:cubicBezTo>
                    <a:cubicBezTo>
                      <a:pt x="14" y="5"/>
                      <a:pt x="14" y="8"/>
                      <a:pt x="13" y="10"/>
                    </a:cubicBezTo>
                    <a:cubicBezTo>
                      <a:pt x="12" y="13"/>
                      <a:pt x="9" y="14"/>
                      <a:pt x="7" y="15"/>
                    </a:cubicBezTo>
                    <a:cubicBezTo>
                      <a:pt x="4" y="15"/>
                      <a:pt x="1" y="13"/>
                      <a:pt x="0" y="11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9" name="任意多边形: 形状 158"/>
              <p:cNvSpPr/>
              <p:nvPr/>
            </p:nvSpPr>
            <p:spPr bwMode="auto">
              <a:xfrm>
                <a:off x="6294438" y="3249613"/>
                <a:ext cx="246063" cy="142875"/>
              </a:xfrm>
              <a:custGeom>
                <a:avLst/>
                <a:gdLst>
                  <a:gd name="T0" fmla="*/ 41 w 43"/>
                  <a:gd name="T1" fmla="*/ 25 h 25"/>
                  <a:gd name="T2" fmla="*/ 33 w 43"/>
                  <a:gd name="T3" fmla="*/ 22 h 25"/>
                  <a:gd name="T4" fmla="*/ 16 w 43"/>
                  <a:gd name="T5" fmla="*/ 22 h 25"/>
                  <a:gd name="T6" fmla="*/ 2 w 43"/>
                  <a:gd name="T7" fmla="*/ 12 h 25"/>
                  <a:gd name="T8" fmla="*/ 0 w 43"/>
                  <a:gd name="T9" fmla="*/ 9 h 25"/>
                  <a:gd name="T10" fmla="*/ 2 w 43"/>
                  <a:gd name="T11" fmla="*/ 6 h 25"/>
                  <a:gd name="T12" fmla="*/ 17 w 43"/>
                  <a:gd name="T13" fmla="*/ 8 h 25"/>
                  <a:gd name="T14" fmla="*/ 28 w 43"/>
                  <a:gd name="T15" fmla="*/ 6 h 25"/>
                  <a:gd name="T16" fmla="*/ 21 w 43"/>
                  <a:gd name="T17" fmla="*/ 1 h 25"/>
                  <a:gd name="T18" fmla="*/ 28 w 43"/>
                  <a:gd name="T19" fmla="*/ 1 h 25"/>
                  <a:gd name="T20" fmla="*/ 35 w 43"/>
                  <a:gd name="T21" fmla="*/ 4 h 25"/>
                  <a:gd name="T22" fmla="*/ 38 w 43"/>
                  <a:gd name="T23" fmla="*/ 5 h 25"/>
                  <a:gd name="T24" fmla="*/ 43 w 43"/>
                  <a:gd name="T25" fmla="*/ 1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" h="25">
                    <a:moveTo>
                      <a:pt x="41" y="25"/>
                    </a:moveTo>
                    <a:cubicBezTo>
                      <a:pt x="38" y="24"/>
                      <a:pt x="36" y="22"/>
                      <a:pt x="33" y="22"/>
                    </a:cubicBezTo>
                    <a:cubicBezTo>
                      <a:pt x="29" y="22"/>
                      <a:pt x="19" y="23"/>
                      <a:pt x="16" y="22"/>
                    </a:cubicBezTo>
                    <a:cubicBezTo>
                      <a:pt x="11" y="21"/>
                      <a:pt x="5" y="15"/>
                      <a:pt x="2" y="12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8"/>
                      <a:pt x="0" y="6"/>
                      <a:pt x="2" y="6"/>
                    </a:cubicBezTo>
                    <a:cubicBezTo>
                      <a:pt x="3" y="6"/>
                      <a:pt x="14" y="8"/>
                      <a:pt x="17" y="8"/>
                    </a:cubicBezTo>
                    <a:cubicBezTo>
                      <a:pt x="20" y="9"/>
                      <a:pt x="29" y="8"/>
                      <a:pt x="28" y="6"/>
                    </a:cubicBezTo>
                    <a:cubicBezTo>
                      <a:pt x="26" y="5"/>
                      <a:pt x="21" y="2"/>
                      <a:pt x="21" y="1"/>
                    </a:cubicBezTo>
                    <a:cubicBezTo>
                      <a:pt x="22" y="0"/>
                      <a:pt x="26" y="0"/>
                      <a:pt x="28" y="1"/>
                    </a:cubicBezTo>
                    <a:cubicBezTo>
                      <a:pt x="30" y="2"/>
                      <a:pt x="32" y="3"/>
                      <a:pt x="35" y="4"/>
                    </a:cubicBezTo>
                    <a:cubicBezTo>
                      <a:pt x="36" y="4"/>
                      <a:pt x="37" y="5"/>
                      <a:pt x="38" y="5"/>
                    </a:cubicBezTo>
                    <a:cubicBezTo>
                      <a:pt x="42" y="7"/>
                      <a:pt x="43" y="12"/>
                      <a:pt x="43" y="16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0" name="任意多边形: 形状 159"/>
              <p:cNvSpPr/>
              <p:nvPr/>
            </p:nvSpPr>
            <p:spPr bwMode="auto">
              <a:xfrm>
                <a:off x="7377113" y="3295650"/>
                <a:ext cx="57150" cy="903288"/>
              </a:xfrm>
              <a:custGeom>
                <a:avLst/>
                <a:gdLst>
                  <a:gd name="T0" fmla="*/ 9 w 10"/>
                  <a:gd name="T1" fmla="*/ 1 h 159"/>
                  <a:gd name="T2" fmla="*/ 2 w 10"/>
                  <a:gd name="T3" fmla="*/ 80 h 159"/>
                  <a:gd name="T4" fmla="*/ 2 w 10"/>
                  <a:gd name="T5" fmla="*/ 158 h 159"/>
                  <a:gd name="T6" fmla="*/ 4 w 10"/>
                  <a:gd name="T7" fmla="*/ 158 h 159"/>
                  <a:gd name="T8" fmla="*/ 5 w 10"/>
                  <a:gd name="T9" fmla="*/ 80 h 159"/>
                  <a:gd name="T10" fmla="*/ 10 w 10"/>
                  <a:gd name="T11" fmla="*/ 1 h 159"/>
                  <a:gd name="T12" fmla="*/ 9 w 10"/>
                  <a:gd name="T13" fmla="*/ 1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59">
                    <a:moveTo>
                      <a:pt x="9" y="1"/>
                    </a:moveTo>
                    <a:cubicBezTo>
                      <a:pt x="5" y="27"/>
                      <a:pt x="3" y="53"/>
                      <a:pt x="2" y="80"/>
                    </a:cubicBezTo>
                    <a:cubicBezTo>
                      <a:pt x="1" y="106"/>
                      <a:pt x="0" y="132"/>
                      <a:pt x="2" y="158"/>
                    </a:cubicBezTo>
                    <a:cubicBezTo>
                      <a:pt x="2" y="159"/>
                      <a:pt x="4" y="159"/>
                      <a:pt x="4" y="158"/>
                    </a:cubicBezTo>
                    <a:cubicBezTo>
                      <a:pt x="5" y="132"/>
                      <a:pt x="4" y="106"/>
                      <a:pt x="5" y="80"/>
                    </a:cubicBezTo>
                    <a:cubicBezTo>
                      <a:pt x="6" y="53"/>
                      <a:pt x="8" y="27"/>
                      <a:pt x="10" y="1"/>
                    </a:cubicBezTo>
                    <a:cubicBezTo>
                      <a:pt x="10" y="0"/>
                      <a:pt x="9" y="0"/>
                      <a:pt x="9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1" name="任意多边形: 形状 160"/>
              <p:cNvSpPr/>
              <p:nvPr/>
            </p:nvSpPr>
            <p:spPr bwMode="auto">
              <a:xfrm>
                <a:off x="7405688" y="3238500"/>
                <a:ext cx="28575" cy="22225"/>
              </a:xfrm>
              <a:custGeom>
                <a:avLst/>
                <a:gdLst>
                  <a:gd name="T0" fmla="*/ 2 w 5"/>
                  <a:gd name="T1" fmla="*/ 4 h 4"/>
                  <a:gd name="T2" fmla="*/ 2 w 5"/>
                  <a:gd name="T3" fmla="*/ 0 h 4"/>
                  <a:gd name="T4" fmla="*/ 2 w 5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2" y="4"/>
                    </a:moveTo>
                    <a:cubicBezTo>
                      <a:pt x="5" y="4"/>
                      <a:pt x="5" y="0"/>
                      <a:pt x="2" y="0"/>
                    </a:cubicBezTo>
                    <a:cubicBezTo>
                      <a:pt x="0" y="0"/>
                      <a:pt x="0" y="4"/>
                      <a:pt x="2" y="4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2" name="任意多边形: 形状 161"/>
              <p:cNvSpPr/>
              <p:nvPr/>
            </p:nvSpPr>
            <p:spPr bwMode="auto">
              <a:xfrm>
                <a:off x="7377113" y="3392488"/>
                <a:ext cx="28575" cy="28575"/>
              </a:xfrm>
              <a:custGeom>
                <a:avLst/>
                <a:gdLst>
                  <a:gd name="T0" fmla="*/ 3 w 5"/>
                  <a:gd name="T1" fmla="*/ 5 h 5"/>
                  <a:gd name="T2" fmla="*/ 3 w 5"/>
                  <a:gd name="T3" fmla="*/ 0 h 5"/>
                  <a:gd name="T4" fmla="*/ 3 w 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5" y="5"/>
                      <a:pt x="5" y="0"/>
                      <a:pt x="3" y="0"/>
                    </a:cubicBezTo>
                    <a:cubicBezTo>
                      <a:pt x="0" y="0"/>
                      <a:pt x="0" y="5"/>
                      <a:pt x="3" y="5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3" name="任意多边形: 形状 162"/>
              <p:cNvSpPr/>
              <p:nvPr/>
            </p:nvSpPr>
            <p:spPr bwMode="auto">
              <a:xfrm>
                <a:off x="7353300" y="3694113"/>
                <a:ext cx="34925" cy="26988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0 h 5"/>
                  <a:gd name="T4" fmla="*/ 3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cubicBezTo>
                      <a:pt x="6" y="5"/>
                      <a:pt x="6" y="0"/>
                      <a:pt x="3" y="0"/>
                    </a:cubicBezTo>
                    <a:cubicBezTo>
                      <a:pt x="0" y="0"/>
                      <a:pt x="0" y="5"/>
                      <a:pt x="3" y="5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4" name="任意多边形: 形状 163"/>
              <p:cNvSpPr/>
              <p:nvPr/>
            </p:nvSpPr>
            <p:spPr bwMode="auto">
              <a:xfrm>
                <a:off x="7359650" y="3540125"/>
                <a:ext cx="28575" cy="28575"/>
              </a:xfrm>
              <a:custGeom>
                <a:avLst/>
                <a:gdLst>
                  <a:gd name="T0" fmla="*/ 2 w 5"/>
                  <a:gd name="T1" fmla="*/ 5 h 5"/>
                  <a:gd name="T2" fmla="*/ 2 w 5"/>
                  <a:gd name="T3" fmla="*/ 0 h 5"/>
                  <a:gd name="T4" fmla="*/ 2 w 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5" y="5"/>
                      <a:pt x="5" y="0"/>
                      <a:pt x="2" y="0"/>
                    </a:cubicBezTo>
                    <a:cubicBezTo>
                      <a:pt x="0" y="0"/>
                      <a:pt x="0" y="5"/>
                      <a:pt x="2" y="5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5" name="任意多边形: 形状 164"/>
              <p:cNvSpPr/>
              <p:nvPr/>
            </p:nvSpPr>
            <p:spPr bwMode="auto">
              <a:xfrm>
                <a:off x="7348538" y="3857625"/>
                <a:ext cx="33338" cy="28575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0 h 5"/>
                  <a:gd name="T4" fmla="*/ 3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cubicBezTo>
                      <a:pt x="6" y="5"/>
                      <a:pt x="6" y="0"/>
                      <a:pt x="3" y="0"/>
                    </a:cubicBezTo>
                    <a:cubicBezTo>
                      <a:pt x="0" y="0"/>
                      <a:pt x="0" y="5"/>
                      <a:pt x="3" y="5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6" name="任意多边形: 形状 165"/>
              <p:cNvSpPr/>
              <p:nvPr/>
            </p:nvSpPr>
            <p:spPr bwMode="auto">
              <a:xfrm>
                <a:off x="7308850" y="3471863"/>
                <a:ext cx="779463" cy="561975"/>
              </a:xfrm>
              <a:custGeom>
                <a:avLst/>
                <a:gdLst>
                  <a:gd name="T0" fmla="*/ 76 w 137"/>
                  <a:gd name="T1" fmla="*/ 23 h 99"/>
                  <a:gd name="T2" fmla="*/ 92 w 137"/>
                  <a:gd name="T3" fmla="*/ 63 h 99"/>
                  <a:gd name="T4" fmla="*/ 73 w 137"/>
                  <a:gd name="T5" fmla="*/ 72 h 99"/>
                  <a:gd name="T6" fmla="*/ 38 w 137"/>
                  <a:gd name="T7" fmla="*/ 86 h 99"/>
                  <a:gd name="T8" fmla="*/ 22 w 137"/>
                  <a:gd name="T9" fmla="*/ 83 h 99"/>
                  <a:gd name="T10" fmla="*/ 2 w 137"/>
                  <a:gd name="T11" fmla="*/ 94 h 99"/>
                  <a:gd name="T12" fmla="*/ 17 w 137"/>
                  <a:gd name="T13" fmla="*/ 94 h 99"/>
                  <a:gd name="T14" fmla="*/ 20 w 137"/>
                  <a:gd name="T15" fmla="*/ 93 h 99"/>
                  <a:gd name="T16" fmla="*/ 21 w 137"/>
                  <a:gd name="T17" fmla="*/ 94 h 99"/>
                  <a:gd name="T18" fmla="*/ 35 w 137"/>
                  <a:gd name="T19" fmla="*/ 97 h 99"/>
                  <a:gd name="T20" fmla="*/ 41 w 137"/>
                  <a:gd name="T21" fmla="*/ 95 h 99"/>
                  <a:gd name="T22" fmla="*/ 122 w 137"/>
                  <a:gd name="T23" fmla="*/ 88 h 99"/>
                  <a:gd name="T24" fmla="*/ 136 w 137"/>
                  <a:gd name="T25" fmla="*/ 76 h 99"/>
                  <a:gd name="T26" fmla="*/ 137 w 137"/>
                  <a:gd name="T27" fmla="*/ 67 h 99"/>
                  <a:gd name="T28" fmla="*/ 124 w 137"/>
                  <a:gd name="T29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7" h="99">
                    <a:moveTo>
                      <a:pt x="76" y="23"/>
                    </a:moveTo>
                    <a:cubicBezTo>
                      <a:pt x="80" y="36"/>
                      <a:pt x="85" y="50"/>
                      <a:pt x="92" y="63"/>
                    </a:cubicBezTo>
                    <a:cubicBezTo>
                      <a:pt x="92" y="64"/>
                      <a:pt x="74" y="72"/>
                      <a:pt x="73" y="72"/>
                    </a:cubicBezTo>
                    <a:cubicBezTo>
                      <a:pt x="61" y="78"/>
                      <a:pt x="49" y="80"/>
                      <a:pt x="38" y="86"/>
                    </a:cubicBezTo>
                    <a:cubicBezTo>
                      <a:pt x="36" y="87"/>
                      <a:pt x="25" y="83"/>
                      <a:pt x="22" y="83"/>
                    </a:cubicBezTo>
                    <a:cubicBezTo>
                      <a:pt x="19" y="82"/>
                      <a:pt x="0" y="90"/>
                      <a:pt x="2" y="94"/>
                    </a:cubicBezTo>
                    <a:cubicBezTo>
                      <a:pt x="5" y="97"/>
                      <a:pt x="13" y="94"/>
                      <a:pt x="17" y="94"/>
                    </a:cubicBezTo>
                    <a:cubicBezTo>
                      <a:pt x="18" y="93"/>
                      <a:pt x="19" y="93"/>
                      <a:pt x="20" y="93"/>
                    </a:cubicBezTo>
                    <a:cubicBezTo>
                      <a:pt x="20" y="94"/>
                      <a:pt x="21" y="94"/>
                      <a:pt x="21" y="94"/>
                    </a:cubicBezTo>
                    <a:cubicBezTo>
                      <a:pt x="27" y="97"/>
                      <a:pt x="28" y="99"/>
                      <a:pt x="35" y="97"/>
                    </a:cubicBezTo>
                    <a:cubicBezTo>
                      <a:pt x="36" y="97"/>
                      <a:pt x="37" y="97"/>
                      <a:pt x="41" y="95"/>
                    </a:cubicBezTo>
                    <a:cubicBezTo>
                      <a:pt x="48" y="95"/>
                      <a:pt x="110" y="93"/>
                      <a:pt x="122" y="88"/>
                    </a:cubicBezTo>
                    <a:cubicBezTo>
                      <a:pt x="128" y="86"/>
                      <a:pt x="134" y="82"/>
                      <a:pt x="136" y="76"/>
                    </a:cubicBezTo>
                    <a:cubicBezTo>
                      <a:pt x="137" y="73"/>
                      <a:pt x="137" y="70"/>
                      <a:pt x="137" y="67"/>
                    </a:cubicBezTo>
                    <a:cubicBezTo>
                      <a:pt x="136" y="44"/>
                      <a:pt x="131" y="22"/>
                      <a:pt x="124" y="0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7" name="任意多边形: 形状 166"/>
              <p:cNvSpPr/>
              <p:nvPr/>
            </p:nvSpPr>
            <p:spPr bwMode="auto">
              <a:xfrm>
                <a:off x="7615238" y="3152775"/>
                <a:ext cx="450850" cy="563563"/>
              </a:xfrm>
              <a:custGeom>
                <a:avLst/>
                <a:gdLst>
                  <a:gd name="T0" fmla="*/ 0 w 79"/>
                  <a:gd name="T1" fmla="*/ 0 h 99"/>
                  <a:gd name="T2" fmla="*/ 33 w 79"/>
                  <a:gd name="T3" fmla="*/ 11 h 99"/>
                  <a:gd name="T4" fmla="*/ 63 w 79"/>
                  <a:gd name="T5" fmla="*/ 33 h 99"/>
                  <a:gd name="T6" fmla="*/ 79 w 79"/>
                  <a:gd name="T7" fmla="*/ 83 h 99"/>
                  <a:gd name="T8" fmla="*/ 24 w 79"/>
                  <a:gd name="T9" fmla="*/ 95 h 99"/>
                  <a:gd name="T10" fmla="*/ 15 w 79"/>
                  <a:gd name="T11" fmla="*/ 45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" h="99">
                    <a:moveTo>
                      <a:pt x="0" y="0"/>
                    </a:moveTo>
                    <a:cubicBezTo>
                      <a:pt x="10" y="2"/>
                      <a:pt x="26" y="9"/>
                      <a:pt x="33" y="11"/>
                    </a:cubicBezTo>
                    <a:cubicBezTo>
                      <a:pt x="41" y="13"/>
                      <a:pt x="54" y="19"/>
                      <a:pt x="63" y="33"/>
                    </a:cubicBezTo>
                    <a:cubicBezTo>
                      <a:pt x="66" y="38"/>
                      <a:pt x="77" y="67"/>
                      <a:pt x="79" y="83"/>
                    </a:cubicBezTo>
                    <a:cubicBezTo>
                      <a:pt x="67" y="95"/>
                      <a:pt x="43" y="99"/>
                      <a:pt x="24" y="95"/>
                    </a:cubicBezTo>
                    <a:cubicBezTo>
                      <a:pt x="20" y="89"/>
                      <a:pt x="18" y="61"/>
                      <a:pt x="15" y="45"/>
                    </a:cubicBezTo>
                  </a:path>
                </a:pathLst>
              </a:custGeom>
              <a:solidFill>
                <a:srgbClr val="9ECC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8" name="任意多边形: 形状 167"/>
              <p:cNvSpPr/>
              <p:nvPr/>
            </p:nvSpPr>
            <p:spPr bwMode="auto">
              <a:xfrm>
                <a:off x="7707313" y="3511550"/>
                <a:ext cx="68263" cy="204788"/>
              </a:xfrm>
              <a:custGeom>
                <a:avLst/>
                <a:gdLst>
                  <a:gd name="T0" fmla="*/ 0 w 12"/>
                  <a:gd name="T1" fmla="*/ 1 h 36"/>
                  <a:gd name="T2" fmla="*/ 10 w 12"/>
                  <a:gd name="T3" fmla="*/ 35 h 36"/>
                  <a:gd name="T4" fmla="*/ 12 w 12"/>
                  <a:gd name="T5" fmla="*/ 34 h 36"/>
                  <a:gd name="T6" fmla="*/ 1 w 12"/>
                  <a:gd name="T7" fmla="*/ 0 h 36"/>
                  <a:gd name="T8" fmla="*/ 0 w 12"/>
                  <a:gd name="T9" fmla="*/ 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6">
                    <a:moveTo>
                      <a:pt x="0" y="1"/>
                    </a:moveTo>
                    <a:cubicBezTo>
                      <a:pt x="2" y="12"/>
                      <a:pt x="4" y="25"/>
                      <a:pt x="10" y="35"/>
                    </a:cubicBezTo>
                    <a:cubicBezTo>
                      <a:pt x="10" y="36"/>
                      <a:pt x="12" y="35"/>
                      <a:pt x="12" y="34"/>
                    </a:cubicBezTo>
                    <a:cubicBezTo>
                      <a:pt x="9" y="23"/>
                      <a:pt x="4" y="12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9" name="任意多边形: 形状 168"/>
              <p:cNvSpPr/>
              <p:nvPr/>
            </p:nvSpPr>
            <p:spPr bwMode="auto">
              <a:xfrm>
                <a:off x="6472238" y="3590925"/>
                <a:ext cx="904875" cy="455613"/>
              </a:xfrm>
              <a:custGeom>
                <a:avLst/>
                <a:gdLst>
                  <a:gd name="T0" fmla="*/ 27 w 159"/>
                  <a:gd name="T1" fmla="*/ 80 h 80"/>
                  <a:gd name="T2" fmla="*/ 159 w 159"/>
                  <a:gd name="T3" fmla="*/ 80 h 80"/>
                  <a:gd name="T4" fmla="*/ 132 w 159"/>
                  <a:gd name="T5" fmla="*/ 3 h 80"/>
                  <a:gd name="T6" fmla="*/ 127 w 159"/>
                  <a:gd name="T7" fmla="*/ 0 h 80"/>
                  <a:gd name="T8" fmla="*/ 5 w 159"/>
                  <a:gd name="T9" fmla="*/ 0 h 80"/>
                  <a:gd name="T10" fmla="*/ 1 w 159"/>
                  <a:gd name="T11" fmla="*/ 5 h 80"/>
                  <a:gd name="T12" fmla="*/ 27 w 159"/>
                  <a:gd name="T13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9" h="80">
                    <a:moveTo>
                      <a:pt x="27" y="80"/>
                    </a:moveTo>
                    <a:cubicBezTo>
                      <a:pt x="159" y="80"/>
                      <a:pt x="159" y="80"/>
                      <a:pt x="159" y="80"/>
                    </a:cubicBezTo>
                    <a:cubicBezTo>
                      <a:pt x="132" y="3"/>
                      <a:pt x="132" y="3"/>
                      <a:pt x="132" y="3"/>
                    </a:cubicBezTo>
                    <a:cubicBezTo>
                      <a:pt x="131" y="1"/>
                      <a:pt x="129" y="0"/>
                      <a:pt x="127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1" y="5"/>
                    </a:cubicBezTo>
                    <a:lnTo>
                      <a:pt x="27" y="80"/>
                    </a:lnTo>
                    <a:close/>
                  </a:path>
                </a:pathLst>
              </a:cu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0" name="矩形 169"/>
              <p:cNvSpPr/>
              <p:nvPr/>
            </p:nvSpPr>
            <p:spPr bwMode="auto">
              <a:xfrm>
                <a:off x="7269163" y="4006850"/>
                <a:ext cx="409575" cy="39688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1" name="任意多边形: 形状 170"/>
              <p:cNvSpPr/>
              <p:nvPr/>
            </p:nvSpPr>
            <p:spPr bwMode="auto">
              <a:xfrm>
                <a:off x="7439025" y="3119438"/>
                <a:ext cx="204788" cy="180975"/>
              </a:xfrm>
              <a:custGeom>
                <a:avLst/>
                <a:gdLst>
                  <a:gd name="T0" fmla="*/ 31 w 36"/>
                  <a:gd name="T1" fmla="*/ 0 h 32"/>
                  <a:gd name="T2" fmla="*/ 0 w 36"/>
                  <a:gd name="T3" fmla="*/ 15 h 32"/>
                  <a:gd name="T4" fmla="*/ 10 w 36"/>
                  <a:gd name="T5" fmla="*/ 32 h 32"/>
                  <a:gd name="T6" fmla="*/ 36 w 36"/>
                  <a:gd name="T7" fmla="*/ 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2">
                    <a:moveTo>
                      <a:pt x="31" y="0"/>
                    </a:moveTo>
                    <a:cubicBezTo>
                      <a:pt x="23" y="6"/>
                      <a:pt x="10" y="13"/>
                      <a:pt x="0" y="15"/>
                    </a:cubicBezTo>
                    <a:cubicBezTo>
                      <a:pt x="6" y="18"/>
                      <a:pt x="10" y="27"/>
                      <a:pt x="10" y="32"/>
                    </a:cubicBezTo>
                    <a:cubicBezTo>
                      <a:pt x="19" y="26"/>
                      <a:pt x="30" y="17"/>
                      <a:pt x="36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2" name="任意多边形: 形状 171"/>
              <p:cNvSpPr/>
              <p:nvPr/>
            </p:nvSpPr>
            <p:spPr bwMode="auto">
              <a:xfrm>
                <a:off x="7366000" y="3113088"/>
                <a:ext cx="73025" cy="153988"/>
              </a:xfrm>
              <a:custGeom>
                <a:avLst/>
                <a:gdLst>
                  <a:gd name="T0" fmla="*/ 6 w 13"/>
                  <a:gd name="T1" fmla="*/ 0 h 27"/>
                  <a:gd name="T2" fmla="*/ 13 w 13"/>
                  <a:gd name="T3" fmla="*/ 16 h 27"/>
                  <a:gd name="T4" fmla="*/ 3 w 13"/>
                  <a:gd name="T5" fmla="*/ 27 h 27"/>
                  <a:gd name="T6" fmla="*/ 2 w 13"/>
                  <a:gd name="T7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7">
                    <a:moveTo>
                      <a:pt x="6" y="0"/>
                    </a:moveTo>
                    <a:cubicBezTo>
                      <a:pt x="6" y="5"/>
                      <a:pt x="10" y="12"/>
                      <a:pt x="13" y="16"/>
                    </a:cubicBezTo>
                    <a:cubicBezTo>
                      <a:pt x="6" y="17"/>
                      <a:pt x="3" y="26"/>
                      <a:pt x="3" y="27"/>
                    </a:cubicBezTo>
                    <a:cubicBezTo>
                      <a:pt x="3" y="27"/>
                      <a:pt x="0" y="15"/>
                      <a:pt x="2" y="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3" name="矩形 172"/>
              <p:cNvSpPr/>
              <p:nvPr/>
            </p:nvSpPr>
            <p:spPr bwMode="auto">
              <a:xfrm>
                <a:off x="3978275" y="4097338"/>
                <a:ext cx="3967163" cy="317500"/>
              </a:xfrm>
              <a:prstGeom prst="rect">
                <a:avLst/>
              </a:pr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77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4" name="矩形 173"/>
              <p:cNvSpPr/>
              <p:nvPr/>
            </p:nvSpPr>
            <p:spPr bwMode="auto">
              <a:xfrm>
                <a:off x="3956050" y="4046538"/>
                <a:ext cx="50800" cy="1495425"/>
              </a:xfrm>
              <a:prstGeom prst="rect">
                <a:avLst/>
              </a:pr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5" name="矩形 174"/>
              <p:cNvSpPr/>
              <p:nvPr/>
            </p:nvSpPr>
            <p:spPr bwMode="auto">
              <a:xfrm>
                <a:off x="7923213" y="4046538"/>
                <a:ext cx="50800" cy="1495425"/>
              </a:xfrm>
              <a:prstGeom prst="rect">
                <a:avLst/>
              </a:pr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6" name="矩形 175"/>
              <p:cNvSpPr/>
              <p:nvPr/>
            </p:nvSpPr>
            <p:spPr bwMode="auto">
              <a:xfrm>
                <a:off x="3841750" y="4046538"/>
                <a:ext cx="4240213" cy="107950"/>
              </a:xfrm>
              <a:prstGeom prst="rect">
                <a:avLst/>
              </a:pr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cxnSp>
          <p:nvCxnSpPr>
            <p:cNvPr id="9" name="直接连接符 8"/>
            <p:cNvCxnSpPr/>
            <p:nvPr/>
          </p:nvCxnSpPr>
          <p:spPr>
            <a:xfrm>
              <a:off x="8532891" y="2795261"/>
              <a:ext cx="286472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组合 9"/>
            <p:cNvGrpSpPr/>
            <p:nvPr/>
          </p:nvGrpSpPr>
          <p:grpSpPr>
            <a:xfrm>
              <a:off x="7849163" y="1433279"/>
              <a:ext cx="3628386" cy="1050088"/>
              <a:chOff x="7849163" y="2309636"/>
              <a:chExt cx="3628386" cy="1050088"/>
            </a:xfrm>
          </p:grpSpPr>
          <p:grpSp>
            <p:nvGrpSpPr>
              <p:cNvPr id="26" name="组合 25"/>
              <p:cNvGrpSpPr/>
              <p:nvPr/>
            </p:nvGrpSpPr>
            <p:grpSpPr>
              <a:xfrm>
                <a:off x="7849163" y="2453256"/>
                <a:ext cx="495940" cy="495940"/>
                <a:chOff x="7705785" y="2621630"/>
                <a:chExt cx="372396" cy="372396"/>
              </a:xfrm>
            </p:grpSpPr>
            <p:sp>
              <p:nvSpPr>
                <p:cNvPr id="30" name="任意多边形: 形状 29"/>
                <p:cNvSpPr/>
                <p:nvPr/>
              </p:nvSpPr>
              <p:spPr>
                <a:xfrm>
                  <a:off x="7705785" y="2621630"/>
                  <a:ext cx="372396" cy="37239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679" h="19679" extrusionOk="0">
                      <a:moveTo>
                        <a:pt x="16796" y="2882"/>
                      </a:moveTo>
                      <a:cubicBezTo>
                        <a:pt x="20639" y="6724"/>
                        <a:pt x="20639" y="12954"/>
                        <a:pt x="16796" y="16796"/>
                      </a:cubicBezTo>
                      <a:cubicBezTo>
                        <a:pt x="12954" y="20639"/>
                        <a:pt x="6724" y="20639"/>
                        <a:pt x="2882" y="16796"/>
                      </a:cubicBezTo>
                      <a:cubicBezTo>
                        <a:pt x="-961" y="12954"/>
                        <a:pt x="-961" y="6724"/>
                        <a:pt x="2882" y="2882"/>
                      </a:cubicBezTo>
                      <a:cubicBezTo>
                        <a:pt x="6724" y="-961"/>
                        <a:pt x="12954" y="-961"/>
                        <a:pt x="16796" y="2882"/>
                      </a:cubicBezTo>
                    </a:path>
                  </a:pathLst>
                </a:custGeom>
                <a:noFill/>
                <a:ln w="12700" cap="flat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miter lim="400000"/>
                  <a:headEnd type="none" w="med" len="med"/>
                  <a:tailEnd type="none" w="med" len="med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任意多边形: 形状 30"/>
                <p:cNvSpPr/>
                <p:nvPr/>
              </p:nvSpPr>
              <p:spPr>
                <a:xfrm>
                  <a:off x="7795246" y="2712677"/>
                  <a:ext cx="193474" cy="190301"/>
                </a:xfrm>
                <a:custGeom>
                  <a:avLst/>
                  <a:gdLst>
                    <a:gd name="connsiteX0" fmla="*/ 516225 w 608155"/>
                    <a:gd name="connsiteY0" fmla="*/ 551328 h 598183"/>
                    <a:gd name="connsiteX1" fmla="*/ 532763 w 608155"/>
                    <a:gd name="connsiteY1" fmla="*/ 558041 h 598183"/>
                    <a:gd name="connsiteX2" fmla="*/ 539755 w 608155"/>
                    <a:gd name="connsiteY2" fmla="*/ 574689 h 598183"/>
                    <a:gd name="connsiteX3" fmla="*/ 516225 w 608155"/>
                    <a:gd name="connsiteY3" fmla="*/ 598183 h 598183"/>
                    <a:gd name="connsiteX4" fmla="*/ 492829 w 608155"/>
                    <a:gd name="connsiteY4" fmla="*/ 574689 h 598183"/>
                    <a:gd name="connsiteX5" fmla="*/ 499821 w 608155"/>
                    <a:gd name="connsiteY5" fmla="*/ 558041 h 598183"/>
                    <a:gd name="connsiteX6" fmla="*/ 516225 w 608155"/>
                    <a:gd name="connsiteY6" fmla="*/ 551328 h 598183"/>
                    <a:gd name="connsiteX7" fmla="*/ 370931 w 608155"/>
                    <a:gd name="connsiteY7" fmla="*/ 551328 h 598183"/>
                    <a:gd name="connsiteX8" fmla="*/ 387469 w 608155"/>
                    <a:gd name="connsiteY8" fmla="*/ 558041 h 598183"/>
                    <a:gd name="connsiteX9" fmla="*/ 394461 w 608155"/>
                    <a:gd name="connsiteY9" fmla="*/ 574689 h 598183"/>
                    <a:gd name="connsiteX10" fmla="*/ 370931 w 608155"/>
                    <a:gd name="connsiteY10" fmla="*/ 598183 h 598183"/>
                    <a:gd name="connsiteX11" fmla="*/ 347535 w 608155"/>
                    <a:gd name="connsiteY11" fmla="*/ 574689 h 598183"/>
                    <a:gd name="connsiteX12" fmla="*/ 354527 w 608155"/>
                    <a:gd name="connsiteY12" fmla="*/ 558041 h 598183"/>
                    <a:gd name="connsiteX13" fmla="*/ 370931 w 608155"/>
                    <a:gd name="connsiteY13" fmla="*/ 551328 h 598183"/>
                    <a:gd name="connsiteX14" fmla="*/ 333679 w 608155"/>
                    <a:gd name="connsiteY14" fmla="*/ 410881 h 598183"/>
                    <a:gd name="connsiteX15" fmla="*/ 340938 w 608155"/>
                    <a:gd name="connsiteY15" fmla="*/ 432900 h 598183"/>
                    <a:gd name="connsiteX16" fmla="*/ 341611 w 608155"/>
                    <a:gd name="connsiteY16" fmla="*/ 433169 h 598183"/>
                    <a:gd name="connsiteX17" fmla="*/ 346316 w 608155"/>
                    <a:gd name="connsiteY17" fmla="*/ 433169 h 598183"/>
                    <a:gd name="connsiteX18" fmla="*/ 383553 w 608155"/>
                    <a:gd name="connsiteY18" fmla="*/ 433169 h 598183"/>
                    <a:gd name="connsiteX19" fmla="*/ 430604 w 608155"/>
                    <a:gd name="connsiteY19" fmla="*/ 433034 h 598183"/>
                    <a:gd name="connsiteX20" fmla="*/ 475369 w 608155"/>
                    <a:gd name="connsiteY20" fmla="*/ 433034 h 598183"/>
                    <a:gd name="connsiteX21" fmla="*/ 556565 w 608155"/>
                    <a:gd name="connsiteY21" fmla="*/ 433034 h 598183"/>
                    <a:gd name="connsiteX22" fmla="*/ 561405 w 608155"/>
                    <a:gd name="connsiteY22" fmla="*/ 410881 h 598183"/>
                    <a:gd name="connsiteX23" fmla="*/ 491366 w 608155"/>
                    <a:gd name="connsiteY23" fmla="*/ 410881 h 598183"/>
                    <a:gd name="connsiteX24" fmla="*/ 450499 w 608155"/>
                    <a:gd name="connsiteY24" fmla="*/ 410881 h 598183"/>
                    <a:gd name="connsiteX25" fmla="*/ 392694 w 608155"/>
                    <a:gd name="connsiteY25" fmla="*/ 410881 h 598183"/>
                    <a:gd name="connsiteX26" fmla="*/ 356936 w 608155"/>
                    <a:gd name="connsiteY26" fmla="*/ 410881 h 598183"/>
                    <a:gd name="connsiteX27" fmla="*/ 161452 w 608155"/>
                    <a:gd name="connsiteY27" fmla="*/ 362303 h 598183"/>
                    <a:gd name="connsiteX28" fmla="*/ 250446 w 608155"/>
                    <a:gd name="connsiteY28" fmla="*/ 494122 h 598183"/>
                    <a:gd name="connsiteX29" fmla="*/ 250446 w 608155"/>
                    <a:gd name="connsiteY29" fmla="*/ 362303 h 598183"/>
                    <a:gd name="connsiteX30" fmla="*/ 53907 w 608155"/>
                    <a:gd name="connsiteY30" fmla="*/ 362303 h 598183"/>
                    <a:gd name="connsiteX31" fmla="*/ 181348 w 608155"/>
                    <a:gd name="connsiteY31" fmla="*/ 483652 h 598183"/>
                    <a:gd name="connsiteX32" fmla="*/ 127172 w 608155"/>
                    <a:gd name="connsiteY32" fmla="*/ 362303 h 598183"/>
                    <a:gd name="connsiteX33" fmla="*/ 315531 w 608155"/>
                    <a:gd name="connsiteY33" fmla="*/ 355698 h 598183"/>
                    <a:gd name="connsiteX34" fmla="*/ 317682 w 608155"/>
                    <a:gd name="connsiteY34" fmla="*/ 362277 h 598183"/>
                    <a:gd name="connsiteX35" fmla="*/ 322790 w 608155"/>
                    <a:gd name="connsiteY35" fmla="*/ 377852 h 598183"/>
                    <a:gd name="connsiteX36" fmla="*/ 368362 w 608155"/>
                    <a:gd name="connsiteY36" fmla="*/ 377852 h 598183"/>
                    <a:gd name="connsiteX37" fmla="*/ 402911 w 608155"/>
                    <a:gd name="connsiteY37" fmla="*/ 377852 h 598183"/>
                    <a:gd name="connsiteX38" fmla="*/ 472546 w 608155"/>
                    <a:gd name="connsiteY38" fmla="*/ 377852 h 598183"/>
                    <a:gd name="connsiteX39" fmla="*/ 509514 w 608155"/>
                    <a:gd name="connsiteY39" fmla="*/ 377852 h 598183"/>
                    <a:gd name="connsiteX40" fmla="*/ 568530 w 608155"/>
                    <a:gd name="connsiteY40" fmla="*/ 377852 h 598183"/>
                    <a:gd name="connsiteX41" fmla="*/ 573369 w 608155"/>
                    <a:gd name="connsiteY41" fmla="*/ 355698 h 598183"/>
                    <a:gd name="connsiteX42" fmla="*/ 518521 w 608155"/>
                    <a:gd name="connsiteY42" fmla="*/ 355698 h 598183"/>
                    <a:gd name="connsiteX43" fmla="*/ 513279 w 608155"/>
                    <a:gd name="connsiteY43" fmla="*/ 355698 h 598183"/>
                    <a:gd name="connsiteX44" fmla="*/ 483032 w 608155"/>
                    <a:gd name="connsiteY44" fmla="*/ 355698 h 598183"/>
                    <a:gd name="connsiteX45" fmla="*/ 408019 w 608155"/>
                    <a:gd name="connsiteY45" fmla="*/ 355698 h 598183"/>
                    <a:gd name="connsiteX46" fmla="*/ 374008 w 608155"/>
                    <a:gd name="connsiteY46" fmla="*/ 355698 h 598183"/>
                    <a:gd name="connsiteX47" fmla="*/ 205298 w 608155"/>
                    <a:gd name="connsiteY47" fmla="*/ 286284 h 598183"/>
                    <a:gd name="connsiteX48" fmla="*/ 250467 w 608155"/>
                    <a:gd name="connsiteY48" fmla="*/ 286284 h 598183"/>
                    <a:gd name="connsiteX49" fmla="*/ 280982 w 608155"/>
                    <a:gd name="connsiteY49" fmla="*/ 286284 h 598183"/>
                    <a:gd name="connsiteX50" fmla="*/ 283537 w 608155"/>
                    <a:gd name="connsiteY50" fmla="*/ 286687 h 598183"/>
                    <a:gd name="connsiteX51" fmla="*/ 296711 w 608155"/>
                    <a:gd name="connsiteY51" fmla="*/ 297830 h 598183"/>
                    <a:gd name="connsiteX52" fmla="*/ 304508 w 608155"/>
                    <a:gd name="connsiteY52" fmla="*/ 322804 h 598183"/>
                    <a:gd name="connsiteX53" fmla="*/ 304777 w 608155"/>
                    <a:gd name="connsiteY53" fmla="*/ 322669 h 598183"/>
                    <a:gd name="connsiteX54" fmla="*/ 379654 w 608155"/>
                    <a:gd name="connsiteY54" fmla="*/ 322669 h 598183"/>
                    <a:gd name="connsiteX55" fmla="*/ 413262 w 608155"/>
                    <a:gd name="connsiteY55" fmla="*/ 322669 h 598183"/>
                    <a:gd name="connsiteX56" fmla="*/ 493652 w 608155"/>
                    <a:gd name="connsiteY56" fmla="*/ 322669 h 598183"/>
                    <a:gd name="connsiteX57" fmla="*/ 527932 w 608155"/>
                    <a:gd name="connsiteY57" fmla="*/ 322669 h 598183"/>
                    <a:gd name="connsiteX58" fmla="*/ 581838 w 608155"/>
                    <a:gd name="connsiteY58" fmla="*/ 322669 h 598183"/>
                    <a:gd name="connsiteX59" fmla="*/ 602541 w 608155"/>
                    <a:gd name="connsiteY59" fmla="*/ 332336 h 598183"/>
                    <a:gd name="connsiteX60" fmla="*/ 607514 w 608155"/>
                    <a:gd name="connsiteY60" fmla="*/ 354624 h 598183"/>
                    <a:gd name="connsiteX61" fmla="*/ 588425 w 608155"/>
                    <a:gd name="connsiteY61" fmla="*/ 441359 h 598183"/>
                    <a:gd name="connsiteX62" fmla="*/ 557641 w 608155"/>
                    <a:gd name="connsiteY62" fmla="*/ 466063 h 598183"/>
                    <a:gd name="connsiteX63" fmla="*/ 443912 w 608155"/>
                    <a:gd name="connsiteY63" fmla="*/ 466063 h 598183"/>
                    <a:gd name="connsiteX64" fmla="*/ 387855 w 608155"/>
                    <a:gd name="connsiteY64" fmla="*/ 466063 h 598183"/>
                    <a:gd name="connsiteX65" fmla="*/ 365539 w 608155"/>
                    <a:gd name="connsiteY65" fmla="*/ 466063 h 598183"/>
                    <a:gd name="connsiteX66" fmla="*/ 349542 w 608155"/>
                    <a:gd name="connsiteY66" fmla="*/ 466063 h 598183"/>
                    <a:gd name="connsiteX67" fmla="*/ 354382 w 608155"/>
                    <a:gd name="connsiteY67" fmla="*/ 481369 h 598183"/>
                    <a:gd name="connsiteX68" fmla="*/ 354785 w 608155"/>
                    <a:gd name="connsiteY68" fmla="*/ 482846 h 598183"/>
                    <a:gd name="connsiteX69" fmla="*/ 361103 w 608155"/>
                    <a:gd name="connsiteY69" fmla="*/ 502986 h 598183"/>
                    <a:gd name="connsiteX70" fmla="*/ 390140 w 608155"/>
                    <a:gd name="connsiteY70" fmla="*/ 502986 h 598183"/>
                    <a:gd name="connsiteX71" fmla="*/ 550381 w 608155"/>
                    <a:gd name="connsiteY71" fmla="*/ 502986 h 598183"/>
                    <a:gd name="connsiteX72" fmla="*/ 566916 w 608155"/>
                    <a:gd name="connsiteY72" fmla="*/ 519500 h 598183"/>
                    <a:gd name="connsiteX73" fmla="*/ 550381 w 608155"/>
                    <a:gd name="connsiteY73" fmla="*/ 536015 h 598183"/>
                    <a:gd name="connsiteX74" fmla="*/ 539896 w 608155"/>
                    <a:gd name="connsiteY74" fmla="*/ 536015 h 598183"/>
                    <a:gd name="connsiteX75" fmla="*/ 516236 w 608155"/>
                    <a:gd name="connsiteY75" fmla="*/ 529302 h 598183"/>
                    <a:gd name="connsiteX76" fmla="*/ 492711 w 608155"/>
                    <a:gd name="connsiteY76" fmla="*/ 536015 h 598183"/>
                    <a:gd name="connsiteX77" fmla="*/ 394576 w 608155"/>
                    <a:gd name="connsiteY77" fmla="*/ 536015 h 598183"/>
                    <a:gd name="connsiteX78" fmla="*/ 371051 w 608155"/>
                    <a:gd name="connsiteY78" fmla="*/ 529302 h 598183"/>
                    <a:gd name="connsiteX79" fmla="*/ 347794 w 608155"/>
                    <a:gd name="connsiteY79" fmla="*/ 535880 h 598183"/>
                    <a:gd name="connsiteX80" fmla="*/ 333410 w 608155"/>
                    <a:gd name="connsiteY80" fmla="*/ 524737 h 598183"/>
                    <a:gd name="connsiteX81" fmla="*/ 333276 w 608155"/>
                    <a:gd name="connsiteY81" fmla="*/ 524468 h 598183"/>
                    <a:gd name="connsiteX82" fmla="*/ 328033 w 608155"/>
                    <a:gd name="connsiteY82" fmla="*/ 507685 h 598183"/>
                    <a:gd name="connsiteX83" fmla="*/ 323328 w 608155"/>
                    <a:gd name="connsiteY83" fmla="*/ 492916 h 598183"/>
                    <a:gd name="connsiteX84" fmla="*/ 317144 w 608155"/>
                    <a:gd name="connsiteY84" fmla="*/ 473179 h 598183"/>
                    <a:gd name="connsiteX85" fmla="*/ 283537 w 608155"/>
                    <a:gd name="connsiteY85" fmla="*/ 366171 h 598183"/>
                    <a:gd name="connsiteX86" fmla="*/ 282327 w 608155"/>
                    <a:gd name="connsiteY86" fmla="*/ 362277 h 598183"/>
                    <a:gd name="connsiteX87" fmla="*/ 271841 w 608155"/>
                    <a:gd name="connsiteY87" fmla="*/ 329248 h 598183"/>
                    <a:gd name="connsiteX88" fmla="*/ 268749 w 608155"/>
                    <a:gd name="connsiteY88" fmla="*/ 319313 h 598183"/>
                    <a:gd name="connsiteX89" fmla="*/ 250467 w 608155"/>
                    <a:gd name="connsiteY89" fmla="*/ 319313 h 598183"/>
                    <a:gd name="connsiteX90" fmla="*/ 205298 w 608155"/>
                    <a:gd name="connsiteY90" fmla="*/ 319313 h 598183"/>
                    <a:gd name="connsiteX91" fmla="*/ 188763 w 608155"/>
                    <a:gd name="connsiteY91" fmla="*/ 302798 h 598183"/>
                    <a:gd name="connsiteX92" fmla="*/ 205298 w 608155"/>
                    <a:gd name="connsiteY92" fmla="*/ 286284 h 598183"/>
                    <a:gd name="connsiteX93" fmla="*/ 41943 w 608155"/>
                    <a:gd name="connsiteY93" fmla="*/ 203770 h 598183"/>
                    <a:gd name="connsiteX94" fmla="*/ 33070 w 608155"/>
                    <a:gd name="connsiteY94" fmla="*/ 266592 h 598183"/>
                    <a:gd name="connsiteX95" fmla="*/ 41943 w 608155"/>
                    <a:gd name="connsiteY95" fmla="*/ 329281 h 598183"/>
                    <a:gd name="connsiteX96" fmla="*/ 121526 w 608155"/>
                    <a:gd name="connsiteY96" fmla="*/ 329281 h 598183"/>
                    <a:gd name="connsiteX97" fmla="*/ 117359 w 608155"/>
                    <a:gd name="connsiteY97" fmla="*/ 266592 h 598183"/>
                    <a:gd name="connsiteX98" fmla="*/ 121526 w 608155"/>
                    <a:gd name="connsiteY98" fmla="*/ 203770 h 598183"/>
                    <a:gd name="connsiteX99" fmla="*/ 352614 w 608155"/>
                    <a:gd name="connsiteY99" fmla="*/ 49399 h 598183"/>
                    <a:gd name="connsiteX100" fmla="*/ 406656 w 608155"/>
                    <a:gd name="connsiteY100" fmla="*/ 170882 h 598183"/>
                    <a:gd name="connsiteX101" fmla="*/ 480055 w 608155"/>
                    <a:gd name="connsiteY101" fmla="*/ 170882 h 598183"/>
                    <a:gd name="connsiteX102" fmla="*/ 352614 w 608155"/>
                    <a:gd name="connsiteY102" fmla="*/ 49399 h 598183"/>
                    <a:gd name="connsiteX103" fmla="*/ 181348 w 608155"/>
                    <a:gd name="connsiteY103" fmla="*/ 49399 h 598183"/>
                    <a:gd name="connsiteX104" fmla="*/ 53907 w 608155"/>
                    <a:gd name="connsiteY104" fmla="*/ 170882 h 598183"/>
                    <a:gd name="connsiteX105" fmla="*/ 127172 w 608155"/>
                    <a:gd name="connsiteY105" fmla="*/ 170882 h 598183"/>
                    <a:gd name="connsiteX106" fmla="*/ 181348 w 608155"/>
                    <a:gd name="connsiteY106" fmla="*/ 49399 h 598183"/>
                    <a:gd name="connsiteX107" fmla="*/ 283516 w 608155"/>
                    <a:gd name="connsiteY107" fmla="*/ 39062 h 598183"/>
                    <a:gd name="connsiteX108" fmla="*/ 283516 w 608155"/>
                    <a:gd name="connsiteY108" fmla="*/ 170882 h 598183"/>
                    <a:gd name="connsiteX109" fmla="*/ 372376 w 608155"/>
                    <a:gd name="connsiteY109" fmla="*/ 170882 h 598183"/>
                    <a:gd name="connsiteX110" fmla="*/ 283516 w 608155"/>
                    <a:gd name="connsiteY110" fmla="*/ 39062 h 598183"/>
                    <a:gd name="connsiteX111" fmla="*/ 250446 w 608155"/>
                    <a:gd name="connsiteY111" fmla="*/ 39062 h 598183"/>
                    <a:gd name="connsiteX112" fmla="*/ 161452 w 608155"/>
                    <a:gd name="connsiteY112" fmla="*/ 170882 h 598183"/>
                    <a:gd name="connsiteX113" fmla="*/ 250446 w 608155"/>
                    <a:gd name="connsiteY113" fmla="*/ 170882 h 598183"/>
                    <a:gd name="connsiteX114" fmla="*/ 266981 w 608155"/>
                    <a:gd name="connsiteY114" fmla="*/ 0 h 598183"/>
                    <a:gd name="connsiteX115" fmla="*/ 533828 w 608155"/>
                    <a:gd name="connsiteY115" fmla="*/ 266592 h 598183"/>
                    <a:gd name="connsiteX116" fmla="*/ 531677 w 608155"/>
                    <a:gd name="connsiteY116" fmla="*/ 300688 h 598183"/>
                    <a:gd name="connsiteX117" fmla="*/ 498069 w 608155"/>
                    <a:gd name="connsiteY117" fmla="*/ 300688 h 598183"/>
                    <a:gd name="connsiteX118" fmla="*/ 500758 w 608155"/>
                    <a:gd name="connsiteY118" fmla="*/ 266592 h 598183"/>
                    <a:gd name="connsiteX119" fmla="*/ 492020 w 608155"/>
                    <a:gd name="connsiteY119" fmla="*/ 203770 h 598183"/>
                    <a:gd name="connsiteX120" fmla="*/ 412436 w 608155"/>
                    <a:gd name="connsiteY120" fmla="*/ 203770 h 598183"/>
                    <a:gd name="connsiteX121" fmla="*/ 416469 w 608155"/>
                    <a:gd name="connsiteY121" fmla="*/ 266592 h 598183"/>
                    <a:gd name="connsiteX122" fmla="*/ 415259 w 608155"/>
                    <a:gd name="connsiteY122" fmla="*/ 300688 h 598183"/>
                    <a:gd name="connsiteX123" fmla="*/ 381920 w 608155"/>
                    <a:gd name="connsiteY123" fmla="*/ 300688 h 598183"/>
                    <a:gd name="connsiteX124" fmla="*/ 383399 w 608155"/>
                    <a:gd name="connsiteY124" fmla="*/ 266592 h 598183"/>
                    <a:gd name="connsiteX125" fmla="*/ 378828 w 608155"/>
                    <a:gd name="connsiteY125" fmla="*/ 203770 h 598183"/>
                    <a:gd name="connsiteX126" fmla="*/ 283516 w 608155"/>
                    <a:gd name="connsiteY126" fmla="*/ 203770 h 598183"/>
                    <a:gd name="connsiteX127" fmla="*/ 283516 w 608155"/>
                    <a:gd name="connsiteY127" fmla="*/ 264579 h 598183"/>
                    <a:gd name="connsiteX128" fmla="*/ 280962 w 608155"/>
                    <a:gd name="connsiteY128" fmla="*/ 264310 h 598183"/>
                    <a:gd name="connsiteX129" fmla="*/ 250446 w 608155"/>
                    <a:gd name="connsiteY129" fmla="*/ 264310 h 598183"/>
                    <a:gd name="connsiteX130" fmla="*/ 250446 w 608155"/>
                    <a:gd name="connsiteY130" fmla="*/ 203770 h 598183"/>
                    <a:gd name="connsiteX131" fmla="*/ 155134 w 608155"/>
                    <a:gd name="connsiteY131" fmla="*/ 203770 h 598183"/>
                    <a:gd name="connsiteX132" fmla="*/ 150429 w 608155"/>
                    <a:gd name="connsiteY132" fmla="*/ 266592 h 598183"/>
                    <a:gd name="connsiteX133" fmla="*/ 155134 w 608155"/>
                    <a:gd name="connsiteY133" fmla="*/ 329281 h 598183"/>
                    <a:gd name="connsiteX134" fmla="*/ 177315 w 608155"/>
                    <a:gd name="connsiteY134" fmla="*/ 329281 h 598183"/>
                    <a:gd name="connsiteX135" fmla="*/ 205277 w 608155"/>
                    <a:gd name="connsiteY135" fmla="*/ 341362 h 598183"/>
                    <a:gd name="connsiteX136" fmla="*/ 250446 w 608155"/>
                    <a:gd name="connsiteY136" fmla="*/ 341362 h 598183"/>
                    <a:gd name="connsiteX137" fmla="*/ 252597 w 608155"/>
                    <a:gd name="connsiteY137" fmla="*/ 341362 h 598183"/>
                    <a:gd name="connsiteX138" fmla="*/ 259184 w 608155"/>
                    <a:gd name="connsiteY138" fmla="*/ 362303 h 598183"/>
                    <a:gd name="connsiteX139" fmla="*/ 283516 w 608155"/>
                    <a:gd name="connsiteY139" fmla="*/ 439623 h 598183"/>
                    <a:gd name="connsiteX140" fmla="*/ 283516 w 608155"/>
                    <a:gd name="connsiteY140" fmla="*/ 494122 h 598183"/>
                    <a:gd name="connsiteX141" fmla="*/ 298573 w 608155"/>
                    <a:gd name="connsiteY141" fmla="*/ 487545 h 598183"/>
                    <a:gd name="connsiteX142" fmla="*/ 301530 w 608155"/>
                    <a:gd name="connsiteY142" fmla="*/ 497210 h 598183"/>
                    <a:gd name="connsiteX143" fmla="*/ 308655 w 608155"/>
                    <a:gd name="connsiteY143" fmla="*/ 519761 h 598183"/>
                    <a:gd name="connsiteX144" fmla="*/ 311613 w 608155"/>
                    <a:gd name="connsiteY144" fmla="*/ 529292 h 598183"/>
                    <a:gd name="connsiteX145" fmla="*/ 266981 w 608155"/>
                    <a:gd name="connsiteY145" fmla="*/ 533051 h 598183"/>
                    <a:gd name="connsiteX146" fmla="*/ 0 w 608155"/>
                    <a:gd name="connsiteY146" fmla="*/ 266592 h 598183"/>
                    <a:gd name="connsiteX147" fmla="*/ 266981 w 608155"/>
                    <a:gd name="connsiteY147" fmla="*/ 0 h 5981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</a:cxnLst>
                  <a:rect l="l" t="t" r="r" b="b"/>
                  <a:pathLst>
                    <a:path w="608155" h="598183">
                      <a:moveTo>
                        <a:pt x="516225" y="551328"/>
                      </a:moveTo>
                      <a:cubicBezTo>
                        <a:pt x="522679" y="551328"/>
                        <a:pt x="528461" y="553879"/>
                        <a:pt x="532763" y="558041"/>
                      </a:cubicBezTo>
                      <a:cubicBezTo>
                        <a:pt x="537066" y="562337"/>
                        <a:pt x="539755" y="568244"/>
                        <a:pt x="539755" y="574689"/>
                      </a:cubicBezTo>
                      <a:cubicBezTo>
                        <a:pt x="539755" y="587711"/>
                        <a:pt x="529267" y="598183"/>
                        <a:pt x="516225" y="598183"/>
                      </a:cubicBezTo>
                      <a:cubicBezTo>
                        <a:pt x="503317" y="598183"/>
                        <a:pt x="492829" y="587711"/>
                        <a:pt x="492829" y="574689"/>
                      </a:cubicBezTo>
                      <a:cubicBezTo>
                        <a:pt x="492829" y="568244"/>
                        <a:pt x="495518" y="562337"/>
                        <a:pt x="499821" y="558041"/>
                      </a:cubicBezTo>
                      <a:cubicBezTo>
                        <a:pt x="503989" y="553879"/>
                        <a:pt x="509771" y="551328"/>
                        <a:pt x="516225" y="551328"/>
                      </a:cubicBezTo>
                      <a:close/>
                      <a:moveTo>
                        <a:pt x="370931" y="551328"/>
                      </a:moveTo>
                      <a:cubicBezTo>
                        <a:pt x="377385" y="551328"/>
                        <a:pt x="383301" y="553879"/>
                        <a:pt x="387469" y="558041"/>
                      </a:cubicBezTo>
                      <a:cubicBezTo>
                        <a:pt x="391772" y="562337"/>
                        <a:pt x="394461" y="568244"/>
                        <a:pt x="394461" y="574689"/>
                      </a:cubicBezTo>
                      <a:cubicBezTo>
                        <a:pt x="394461" y="587711"/>
                        <a:pt x="383973" y="598183"/>
                        <a:pt x="370931" y="598183"/>
                      </a:cubicBezTo>
                      <a:cubicBezTo>
                        <a:pt x="358023" y="598183"/>
                        <a:pt x="347535" y="587711"/>
                        <a:pt x="347535" y="574689"/>
                      </a:cubicBezTo>
                      <a:cubicBezTo>
                        <a:pt x="347535" y="568244"/>
                        <a:pt x="350224" y="562337"/>
                        <a:pt x="354527" y="558041"/>
                      </a:cubicBezTo>
                      <a:cubicBezTo>
                        <a:pt x="358695" y="553879"/>
                        <a:pt x="364611" y="551328"/>
                        <a:pt x="370931" y="551328"/>
                      </a:cubicBezTo>
                      <a:close/>
                      <a:moveTo>
                        <a:pt x="333679" y="410881"/>
                      </a:moveTo>
                      <a:lnTo>
                        <a:pt x="340938" y="432900"/>
                      </a:lnTo>
                      <a:cubicBezTo>
                        <a:pt x="341073" y="432900"/>
                        <a:pt x="341476" y="433034"/>
                        <a:pt x="341611" y="433169"/>
                      </a:cubicBezTo>
                      <a:lnTo>
                        <a:pt x="346316" y="433169"/>
                      </a:lnTo>
                      <a:lnTo>
                        <a:pt x="383553" y="433169"/>
                      </a:lnTo>
                      <a:lnTo>
                        <a:pt x="430604" y="433034"/>
                      </a:lnTo>
                      <a:lnTo>
                        <a:pt x="475369" y="433034"/>
                      </a:lnTo>
                      <a:lnTo>
                        <a:pt x="556565" y="433034"/>
                      </a:lnTo>
                      <a:lnTo>
                        <a:pt x="561405" y="410881"/>
                      </a:lnTo>
                      <a:lnTo>
                        <a:pt x="491366" y="410881"/>
                      </a:lnTo>
                      <a:lnTo>
                        <a:pt x="450499" y="410881"/>
                      </a:lnTo>
                      <a:lnTo>
                        <a:pt x="392694" y="410881"/>
                      </a:lnTo>
                      <a:lnTo>
                        <a:pt x="356936" y="410881"/>
                      </a:lnTo>
                      <a:close/>
                      <a:moveTo>
                        <a:pt x="161452" y="362303"/>
                      </a:moveTo>
                      <a:cubicBezTo>
                        <a:pt x="177987" y="431166"/>
                        <a:pt x="211327" y="482578"/>
                        <a:pt x="250446" y="494122"/>
                      </a:cubicBezTo>
                      <a:lnTo>
                        <a:pt x="250446" y="362303"/>
                      </a:lnTo>
                      <a:close/>
                      <a:moveTo>
                        <a:pt x="53907" y="362303"/>
                      </a:moveTo>
                      <a:cubicBezTo>
                        <a:pt x="78777" y="417474"/>
                        <a:pt x="124618" y="461235"/>
                        <a:pt x="181348" y="483652"/>
                      </a:cubicBezTo>
                      <a:cubicBezTo>
                        <a:pt x="156882" y="454120"/>
                        <a:pt x="137927" y="412104"/>
                        <a:pt x="127172" y="362303"/>
                      </a:cubicBezTo>
                      <a:close/>
                      <a:moveTo>
                        <a:pt x="315531" y="355698"/>
                      </a:moveTo>
                      <a:lnTo>
                        <a:pt x="317682" y="362277"/>
                      </a:lnTo>
                      <a:lnTo>
                        <a:pt x="322790" y="377852"/>
                      </a:lnTo>
                      <a:lnTo>
                        <a:pt x="368362" y="377852"/>
                      </a:lnTo>
                      <a:lnTo>
                        <a:pt x="402911" y="377852"/>
                      </a:lnTo>
                      <a:lnTo>
                        <a:pt x="472546" y="377852"/>
                      </a:lnTo>
                      <a:lnTo>
                        <a:pt x="509514" y="377852"/>
                      </a:lnTo>
                      <a:lnTo>
                        <a:pt x="568530" y="377852"/>
                      </a:lnTo>
                      <a:lnTo>
                        <a:pt x="573369" y="355698"/>
                      </a:lnTo>
                      <a:lnTo>
                        <a:pt x="518521" y="355698"/>
                      </a:lnTo>
                      <a:lnTo>
                        <a:pt x="513279" y="355698"/>
                      </a:lnTo>
                      <a:lnTo>
                        <a:pt x="483032" y="355698"/>
                      </a:lnTo>
                      <a:lnTo>
                        <a:pt x="408019" y="355698"/>
                      </a:lnTo>
                      <a:lnTo>
                        <a:pt x="374008" y="355698"/>
                      </a:lnTo>
                      <a:close/>
                      <a:moveTo>
                        <a:pt x="205298" y="286284"/>
                      </a:moveTo>
                      <a:lnTo>
                        <a:pt x="250467" y="286284"/>
                      </a:lnTo>
                      <a:lnTo>
                        <a:pt x="280982" y="286284"/>
                      </a:lnTo>
                      <a:cubicBezTo>
                        <a:pt x="281789" y="286284"/>
                        <a:pt x="282596" y="286552"/>
                        <a:pt x="283537" y="286687"/>
                      </a:cubicBezTo>
                      <a:cubicBezTo>
                        <a:pt x="289586" y="287761"/>
                        <a:pt x="294829" y="291923"/>
                        <a:pt x="296711" y="297830"/>
                      </a:cubicBezTo>
                      <a:lnTo>
                        <a:pt x="304508" y="322804"/>
                      </a:lnTo>
                      <a:cubicBezTo>
                        <a:pt x="304642" y="322804"/>
                        <a:pt x="304642" y="322669"/>
                        <a:pt x="304777" y="322669"/>
                      </a:cubicBezTo>
                      <a:lnTo>
                        <a:pt x="379654" y="322669"/>
                      </a:lnTo>
                      <a:lnTo>
                        <a:pt x="413262" y="322669"/>
                      </a:lnTo>
                      <a:lnTo>
                        <a:pt x="493652" y="322669"/>
                      </a:lnTo>
                      <a:lnTo>
                        <a:pt x="527932" y="322669"/>
                      </a:lnTo>
                      <a:lnTo>
                        <a:pt x="581838" y="322669"/>
                      </a:lnTo>
                      <a:cubicBezTo>
                        <a:pt x="590038" y="322669"/>
                        <a:pt x="597567" y="326160"/>
                        <a:pt x="602541" y="332336"/>
                      </a:cubicBezTo>
                      <a:cubicBezTo>
                        <a:pt x="607380" y="338512"/>
                        <a:pt x="609262" y="346568"/>
                        <a:pt x="607514" y="354624"/>
                      </a:cubicBezTo>
                      <a:lnTo>
                        <a:pt x="588425" y="441359"/>
                      </a:lnTo>
                      <a:cubicBezTo>
                        <a:pt x="585333" y="455456"/>
                        <a:pt x="572025" y="466063"/>
                        <a:pt x="557641" y="466063"/>
                      </a:cubicBezTo>
                      <a:lnTo>
                        <a:pt x="443912" y="466063"/>
                      </a:lnTo>
                      <a:lnTo>
                        <a:pt x="387855" y="466063"/>
                      </a:lnTo>
                      <a:lnTo>
                        <a:pt x="365539" y="466063"/>
                      </a:lnTo>
                      <a:lnTo>
                        <a:pt x="349542" y="466063"/>
                      </a:lnTo>
                      <a:lnTo>
                        <a:pt x="354382" y="481369"/>
                      </a:lnTo>
                      <a:lnTo>
                        <a:pt x="354785" y="482846"/>
                      </a:lnTo>
                      <a:lnTo>
                        <a:pt x="361103" y="502986"/>
                      </a:lnTo>
                      <a:lnTo>
                        <a:pt x="390140" y="502986"/>
                      </a:lnTo>
                      <a:lnTo>
                        <a:pt x="550381" y="502986"/>
                      </a:lnTo>
                      <a:cubicBezTo>
                        <a:pt x="559523" y="502986"/>
                        <a:pt x="566916" y="510370"/>
                        <a:pt x="566916" y="519500"/>
                      </a:cubicBezTo>
                      <a:cubicBezTo>
                        <a:pt x="566916" y="528630"/>
                        <a:pt x="559523" y="536015"/>
                        <a:pt x="550381" y="536015"/>
                      </a:cubicBezTo>
                      <a:lnTo>
                        <a:pt x="539896" y="536015"/>
                      </a:lnTo>
                      <a:cubicBezTo>
                        <a:pt x="533040" y="531853"/>
                        <a:pt x="524974" y="529302"/>
                        <a:pt x="516236" y="529302"/>
                      </a:cubicBezTo>
                      <a:cubicBezTo>
                        <a:pt x="507632" y="529302"/>
                        <a:pt x="499567" y="531853"/>
                        <a:pt x="492711" y="536015"/>
                      </a:cubicBezTo>
                      <a:lnTo>
                        <a:pt x="394576" y="536015"/>
                      </a:lnTo>
                      <a:cubicBezTo>
                        <a:pt x="387720" y="531853"/>
                        <a:pt x="379654" y="529302"/>
                        <a:pt x="371051" y="529302"/>
                      </a:cubicBezTo>
                      <a:cubicBezTo>
                        <a:pt x="362447" y="529302"/>
                        <a:pt x="354650" y="531718"/>
                        <a:pt x="347794" y="535880"/>
                      </a:cubicBezTo>
                      <a:cubicBezTo>
                        <a:pt x="341207" y="535343"/>
                        <a:pt x="335561" y="531047"/>
                        <a:pt x="333410" y="524737"/>
                      </a:cubicBezTo>
                      <a:cubicBezTo>
                        <a:pt x="333410" y="524602"/>
                        <a:pt x="333276" y="524602"/>
                        <a:pt x="333276" y="524468"/>
                      </a:cubicBezTo>
                      <a:lnTo>
                        <a:pt x="328033" y="507685"/>
                      </a:lnTo>
                      <a:lnTo>
                        <a:pt x="323328" y="492916"/>
                      </a:lnTo>
                      <a:lnTo>
                        <a:pt x="317144" y="473179"/>
                      </a:lnTo>
                      <a:lnTo>
                        <a:pt x="283537" y="366171"/>
                      </a:lnTo>
                      <a:lnTo>
                        <a:pt x="282327" y="362277"/>
                      </a:lnTo>
                      <a:lnTo>
                        <a:pt x="271841" y="329248"/>
                      </a:lnTo>
                      <a:lnTo>
                        <a:pt x="268749" y="319313"/>
                      </a:lnTo>
                      <a:lnTo>
                        <a:pt x="250467" y="319313"/>
                      </a:lnTo>
                      <a:lnTo>
                        <a:pt x="205298" y="319313"/>
                      </a:lnTo>
                      <a:cubicBezTo>
                        <a:pt x="196157" y="319313"/>
                        <a:pt x="188763" y="311928"/>
                        <a:pt x="188763" y="302798"/>
                      </a:cubicBezTo>
                      <a:cubicBezTo>
                        <a:pt x="188763" y="293668"/>
                        <a:pt x="196157" y="286284"/>
                        <a:pt x="205298" y="286284"/>
                      </a:cubicBezTo>
                      <a:close/>
                      <a:moveTo>
                        <a:pt x="41943" y="203770"/>
                      </a:moveTo>
                      <a:cubicBezTo>
                        <a:pt x="36297" y="223771"/>
                        <a:pt x="33070" y="244846"/>
                        <a:pt x="33070" y="266592"/>
                      </a:cubicBezTo>
                      <a:cubicBezTo>
                        <a:pt x="33070" y="288339"/>
                        <a:pt x="36297" y="309279"/>
                        <a:pt x="41943" y="329281"/>
                      </a:cubicBezTo>
                      <a:lnTo>
                        <a:pt x="121526" y="329281"/>
                      </a:lnTo>
                      <a:cubicBezTo>
                        <a:pt x="118838" y="309279"/>
                        <a:pt x="117359" y="288204"/>
                        <a:pt x="117359" y="266592"/>
                      </a:cubicBezTo>
                      <a:cubicBezTo>
                        <a:pt x="117359" y="244846"/>
                        <a:pt x="118838" y="223905"/>
                        <a:pt x="121526" y="203770"/>
                      </a:cubicBezTo>
                      <a:close/>
                      <a:moveTo>
                        <a:pt x="352614" y="49399"/>
                      </a:moveTo>
                      <a:cubicBezTo>
                        <a:pt x="376946" y="78930"/>
                        <a:pt x="395901" y="121081"/>
                        <a:pt x="406656" y="170882"/>
                      </a:cubicBezTo>
                      <a:lnTo>
                        <a:pt x="480055" y="170882"/>
                      </a:lnTo>
                      <a:cubicBezTo>
                        <a:pt x="455051" y="115577"/>
                        <a:pt x="409210" y="71816"/>
                        <a:pt x="352614" y="49399"/>
                      </a:cubicBezTo>
                      <a:close/>
                      <a:moveTo>
                        <a:pt x="181348" y="49399"/>
                      </a:moveTo>
                      <a:cubicBezTo>
                        <a:pt x="124618" y="71816"/>
                        <a:pt x="78777" y="115577"/>
                        <a:pt x="53907" y="170882"/>
                      </a:cubicBezTo>
                      <a:lnTo>
                        <a:pt x="127172" y="170882"/>
                      </a:lnTo>
                      <a:cubicBezTo>
                        <a:pt x="137927" y="121081"/>
                        <a:pt x="156882" y="78930"/>
                        <a:pt x="181348" y="49399"/>
                      </a:cubicBezTo>
                      <a:close/>
                      <a:moveTo>
                        <a:pt x="283516" y="39062"/>
                      </a:moveTo>
                      <a:lnTo>
                        <a:pt x="283516" y="170882"/>
                      </a:lnTo>
                      <a:lnTo>
                        <a:pt x="372376" y="170882"/>
                      </a:lnTo>
                      <a:cubicBezTo>
                        <a:pt x="355841" y="101885"/>
                        <a:pt x="322501" y="50607"/>
                        <a:pt x="283516" y="39062"/>
                      </a:cubicBezTo>
                      <a:close/>
                      <a:moveTo>
                        <a:pt x="250446" y="39062"/>
                      </a:moveTo>
                      <a:cubicBezTo>
                        <a:pt x="211327" y="50607"/>
                        <a:pt x="177987" y="101885"/>
                        <a:pt x="161452" y="170882"/>
                      </a:cubicBezTo>
                      <a:lnTo>
                        <a:pt x="250446" y="170882"/>
                      </a:lnTo>
                      <a:close/>
                      <a:moveTo>
                        <a:pt x="266981" y="0"/>
                      </a:moveTo>
                      <a:cubicBezTo>
                        <a:pt x="414318" y="0"/>
                        <a:pt x="533828" y="119336"/>
                        <a:pt x="533828" y="266592"/>
                      </a:cubicBezTo>
                      <a:cubicBezTo>
                        <a:pt x="533828" y="278137"/>
                        <a:pt x="533021" y="289547"/>
                        <a:pt x="531677" y="300688"/>
                      </a:cubicBezTo>
                      <a:lnTo>
                        <a:pt x="498069" y="300688"/>
                      </a:lnTo>
                      <a:cubicBezTo>
                        <a:pt x="499682" y="289547"/>
                        <a:pt x="500758" y="278137"/>
                        <a:pt x="500758" y="266592"/>
                      </a:cubicBezTo>
                      <a:cubicBezTo>
                        <a:pt x="500758" y="244846"/>
                        <a:pt x="497666" y="223771"/>
                        <a:pt x="492020" y="203770"/>
                      </a:cubicBezTo>
                      <a:lnTo>
                        <a:pt x="412436" y="203770"/>
                      </a:lnTo>
                      <a:cubicBezTo>
                        <a:pt x="415125" y="223905"/>
                        <a:pt x="416469" y="244846"/>
                        <a:pt x="416469" y="266592"/>
                      </a:cubicBezTo>
                      <a:cubicBezTo>
                        <a:pt x="416469" y="278137"/>
                        <a:pt x="416066" y="289547"/>
                        <a:pt x="415259" y="300688"/>
                      </a:cubicBezTo>
                      <a:lnTo>
                        <a:pt x="381920" y="300688"/>
                      </a:lnTo>
                      <a:cubicBezTo>
                        <a:pt x="382861" y="289547"/>
                        <a:pt x="383399" y="278137"/>
                        <a:pt x="383399" y="266592"/>
                      </a:cubicBezTo>
                      <a:cubicBezTo>
                        <a:pt x="383399" y="244846"/>
                        <a:pt x="381786" y="223905"/>
                        <a:pt x="378828" y="203770"/>
                      </a:cubicBezTo>
                      <a:lnTo>
                        <a:pt x="283516" y="203770"/>
                      </a:lnTo>
                      <a:lnTo>
                        <a:pt x="283516" y="264579"/>
                      </a:lnTo>
                      <a:cubicBezTo>
                        <a:pt x="282575" y="264445"/>
                        <a:pt x="281769" y="264310"/>
                        <a:pt x="280962" y="264310"/>
                      </a:cubicBezTo>
                      <a:lnTo>
                        <a:pt x="250446" y="264310"/>
                      </a:lnTo>
                      <a:lnTo>
                        <a:pt x="250446" y="203770"/>
                      </a:lnTo>
                      <a:lnTo>
                        <a:pt x="155134" y="203770"/>
                      </a:lnTo>
                      <a:cubicBezTo>
                        <a:pt x="152177" y="223905"/>
                        <a:pt x="150429" y="244846"/>
                        <a:pt x="150429" y="266592"/>
                      </a:cubicBezTo>
                      <a:cubicBezTo>
                        <a:pt x="150429" y="288204"/>
                        <a:pt x="152177" y="309279"/>
                        <a:pt x="155134" y="329281"/>
                      </a:cubicBezTo>
                      <a:lnTo>
                        <a:pt x="177315" y="329281"/>
                      </a:lnTo>
                      <a:cubicBezTo>
                        <a:pt x="184306" y="336664"/>
                        <a:pt x="194254" y="341362"/>
                        <a:pt x="205277" y="341362"/>
                      </a:cubicBezTo>
                      <a:lnTo>
                        <a:pt x="250446" y="341362"/>
                      </a:lnTo>
                      <a:lnTo>
                        <a:pt x="252597" y="341362"/>
                      </a:lnTo>
                      <a:lnTo>
                        <a:pt x="259184" y="362303"/>
                      </a:lnTo>
                      <a:lnTo>
                        <a:pt x="283516" y="439623"/>
                      </a:lnTo>
                      <a:lnTo>
                        <a:pt x="283516" y="494122"/>
                      </a:lnTo>
                      <a:cubicBezTo>
                        <a:pt x="288625" y="492512"/>
                        <a:pt x="293599" y="490364"/>
                        <a:pt x="298573" y="487545"/>
                      </a:cubicBezTo>
                      <a:lnTo>
                        <a:pt x="301530" y="497210"/>
                      </a:lnTo>
                      <a:lnTo>
                        <a:pt x="308655" y="519761"/>
                      </a:lnTo>
                      <a:lnTo>
                        <a:pt x="311613" y="529292"/>
                      </a:lnTo>
                      <a:cubicBezTo>
                        <a:pt x="297094" y="531708"/>
                        <a:pt x="282172" y="533051"/>
                        <a:pt x="266981" y="533051"/>
                      </a:cubicBezTo>
                      <a:cubicBezTo>
                        <a:pt x="119510" y="533051"/>
                        <a:pt x="0" y="413715"/>
                        <a:pt x="0" y="266592"/>
                      </a:cubicBezTo>
                      <a:cubicBezTo>
                        <a:pt x="0" y="119336"/>
                        <a:pt x="119510" y="0"/>
                        <a:pt x="26698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7" name="组合 26"/>
              <p:cNvGrpSpPr/>
              <p:nvPr/>
            </p:nvGrpSpPr>
            <p:grpSpPr>
              <a:xfrm>
                <a:off x="8441593" y="2309636"/>
                <a:ext cx="3035956" cy="1050088"/>
                <a:chOff x="8441593" y="2309636"/>
                <a:chExt cx="3035956" cy="1050088"/>
              </a:xfrm>
            </p:grpSpPr>
            <p:sp>
              <p:nvSpPr>
                <p:cNvPr id="28" name="文本框 27"/>
                <p:cNvSpPr txBox="1"/>
                <p:nvPr/>
              </p:nvSpPr>
              <p:spPr>
                <a:xfrm>
                  <a:off x="8441593" y="2734806"/>
                  <a:ext cx="3035956" cy="62491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buSzPct val="25000"/>
                  </a:pPr>
                  <a:r>
                    <a:rPr lang="en-US" sz="1200" dirty="0">
                      <a:cs typeface="+mn-ea"/>
                      <a:sym typeface="+mn-lt"/>
                    </a:rPr>
                    <a:t>Copy paste fonts. Choose the only option to retain text.…</a:t>
                  </a:r>
                  <a:r>
                    <a:rPr lang="de-DE" sz="1200" dirty="0">
                      <a:cs typeface="+mn-ea"/>
                      <a:sym typeface="+mn-lt"/>
                    </a:rPr>
                    <a:t>.</a:t>
                  </a:r>
                  <a:endParaRPr lang="de-DE" sz="12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矩形 28"/>
                <p:cNvSpPr/>
                <p:nvPr/>
              </p:nvSpPr>
              <p:spPr>
                <a:xfrm>
                  <a:off x="8441593" y="2309636"/>
                  <a:ext cx="3035956" cy="425170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研究方法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/>
            <p:cNvGrpSpPr/>
            <p:nvPr/>
          </p:nvGrpSpPr>
          <p:grpSpPr>
            <a:xfrm>
              <a:off x="7849163" y="3107155"/>
              <a:ext cx="3628386" cy="1050088"/>
              <a:chOff x="7849163" y="2309636"/>
              <a:chExt cx="3628386" cy="1050088"/>
            </a:xfrm>
          </p:grpSpPr>
          <p:grpSp>
            <p:nvGrpSpPr>
              <p:cNvPr id="20" name="组合 19"/>
              <p:cNvGrpSpPr/>
              <p:nvPr/>
            </p:nvGrpSpPr>
            <p:grpSpPr>
              <a:xfrm>
                <a:off x="7849163" y="2453256"/>
                <a:ext cx="495940" cy="495940"/>
                <a:chOff x="7705785" y="2621630"/>
                <a:chExt cx="372396" cy="372396"/>
              </a:xfrm>
            </p:grpSpPr>
            <p:sp>
              <p:nvSpPr>
                <p:cNvPr id="24" name="任意多边形: 形状 23"/>
                <p:cNvSpPr/>
                <p:nvPr/>
              </p:nvSpPr>
              <p:spPr>
                <a:xfrm>
                  <a:off x="7705785" y="2621630"/>
                  <a:ext cx="372396" cy="37239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679" h="19679" extrusionOk="0">
                      <a:moveTo>
                        <a:pt x="16796" y="2882"/>
                      </a:moveTo>
                      <a:cubicBezTo>
                        <a:pt x="20639" y="6724"/>
                        <a:pt x="20639" y="12954"/>
                        <a:pt x="16796" y="16796"/>
                      </a:cubicBezTo>
                      <a:cubicBezTo>
                        <a:pt x="12954" y="20639"/>
                        <a:pt x="6724" y="20639"/>
                        <a:pt x="2882" y="16796"/>
                      </a:cubicBezTo>
                      <a:cubicBezTo>
                        <a:pt x="-961" y="12954"/>
                        <a:pt x="-961" y="6724"/>
                        <a:pt x="2882" y="2882"/>
                      </a:cubicBezTo>
                      <a:cubicBezTo>
                        <a:pt x="6724" y="-961"/>
                        <a:pt x="12954" y="-961"/>
                        <a:pt x="16796" y="2882"/>
                      </a:cubicBezTo>
                    </a:path>
                  </a:pathLst>
                </a:custGeom>
                <a:noFill/>
                <a:ln w="12700" cap="flat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miter lim="400000"/>
                  <a:headEnd type="none" w="med" len="med"/>
                  <a:tailEnd type="none" w="med" len="med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5" name="任意多边形: 形状 24"/>
                <p:cNvSpPr/>
                <p:nvPr/>
              </p:nvSpPr>
              <p:spPr>
                <a:xfrm>
                  <a:off x="7795246" y="2712677"/>
                  <a:ext cx="193474" cy="190301"/>
                </a:xfrm>
                <a:custGeom>
                  <a:avLst/>
                  <a:gdLst>
                    <a:gd name="connsiteX0" fmla="*/ 516225 w 608155"/>
                    <a:gd name="connsiteY0" fmla="*/ 551328 h 598183"/>
                    <a:gd name="connsiteX1" fmla="*/ 532763 w 608155"/>
                    <a:gd name="connsiteY1" fmla="*/ 558041 h 598183"/>
                    <a:gd name="connsiteX2" fmla="*/ 539755 w 608155"/>
                    <a:gd name="connsiteY2" fmla="*/ 574689 h 598183"/>
                    <a:gd name="connsiteX3" fmla="*/ 516225 w 608155"/>
                    <a:gd name="connsiteY3" fmla="*/ 598183 h 598183"/>
                    <a:gd name="connsiteX4" fmla="*/ 492829 w 608155"/>
                    <a:gd name="connsiteY4" fmla="*/ 574689 h 598183"/>
                    <a:gd name="connsiteX5" fmla="*/ 499821 w 608155"/>
                    <a:gd name="connsiteY5" fmla="*/ 558041 h 598183"/>
                    <a:gd name="connsiteX6" fmla="*/ 516225 w 608155"/>
                    <a:gd name="connsiteY6" fmla="*/ 551328 h 598183"/>
                    <a:gd name="connsiteX7" fmla="*/ 370931 w 608155"/>
                    <a:gd name="connsiteY7" fmla="*/ 551328 h 598183"/>
                    <a:gd name="connsiteX8" fmla="*/ 387469 w 608155"/>
                    <a:gd name="connsiteY8" fmla="*/ 558041 h 598183"/>
                    <a:gd name="connsiteX9" fmla="*/ 394461 w 608155"/>
                    <a:gd name="connsiteY9" fmla="*/ 574689 h 598183"/>
                    <a:gd name="connsiteX10" fmla="*/ 370931 w 608155"/>
                    <a:gd name="connsiteY10" fmla="*/ 598183 h 598183"/>
                    <a:gd name="connsiteX11" fmla="*/ 347535 w 608155"/>
                    <a:gd name="connsiteY11" fmla="*/ 574689 h 598183"/>
                    <a:gd name="connsiteX12" fmla="*/ 354527 w 608155"/>
                    <a:gd name="connsiteY12" fmla="*/ 558041 h 598183"/>
                    <a:gd name="connsiteX13" fmla="*/ 370931 w 608155"/>
                    <a:gd name="connsiteY13" fmla="*/ 551328 h 598183"/>
                    <a:gd name="connsiteX14" fmla="*/ 333679 w 608155"/>
                    <a:gd name="connsiteY14" fmla="*/ 410881 h 598183"/>
                    <a:gd name="connsiteX15" fmla="*/ 340938 w 608155"/>
                    <a:gd name="connsiteY15" fmla="*/ 432900 h 598183"/>
                    <a:gd name="connsiteX16" fmla="*/ 341611 w 608155"/>
                    <a:gd name="connsiteY16" fmla="*/ 433169 h 598183"/>
                    <a:gd name="connsiteX17" fmla="*/ 346316 w 608155"/>
                    <a:gd name="connsiteY17" fmla="*/ 433169 h 598183"/>
                    <a:gd name="connsiteX18" fmla="*/ 383553 w 608155"/>
                    <a:gd name="connsiteY18" fmla="*/ 433169 h 598183"/>
                    <a:gd name="connsiteX19" fmla="*/ 430604 w 608155"/>
                    <a:gd name="connsiteY19" fmla="*/ 433034 h 598183"/>
                    <a:gd name="connsiteX20" fmla="*/ 475369 w 608155"/>
                    <a:gd name="connsiteY20" fmla="*/ 433034 h 598183"/>
                    <a:gd name="connsiteX21" fmla="*/ 556565 w 608155"/>
                    <a:gd name="connsiteY21" fmla="*/ 433034 h 598183"/>
                    <a:gd name="connsiteX22" fmla="*/ 561405 w 608155"/>
                    <a:gd name="connsiteY22" fmla="*/ 410881 h 598183"/>
                    <a:gd name="connsiteX23" fmla="*/ 491366 w 608155"/>
                    <a:gd name="connsiteY23" fmla="*/ 410881 h 598183"/>
                    <a:gd name="connsiteX24" fmla="*/ 450499 w 608155"/>
                    <a:gd name="connsiteY24" fmla="*/ 410881 h 598183"/>
                    <a:gd name="connsiteX25" fmla="*/ 392694 w 608155"/>
                    <a:gd name="connsiteY25" fmla="*/ 410881 h 598183"/>
                    <a:gd name="connsiteX26" fmla="*/ 356936 w 608155"/>
                    <a:gd name="connsiteY26" fmla="*/ 410881 h 598183"/>
                    <a:gd name="connsiteX27" fmla="*/ 161452 w 608155"/>
                    <a:gd name="connsiteY27" fmla="*/ 362303 h 598183"/>
                    <a:gd name="connsiteX28" fmla="*/ 250446 w 608155"/>
                    <a:gd name="connsiteY28" fmla="*/ 494122 h 598183"/>
                    <a:gd name="connsiteX29" fmla="*/ 250446 w 608155"/>
                    <a:gd name="connsiteY29" fmla="*/ 362303 h 598183"/>
                    <a:gd name="connsiteX30" fmla="*/ 53907 w 608155"/>
                    <a:gd name="connsiteY30" fmla="*/ 362303 h 598183"/>
                    <a:gd name="connsiteX31" fmla="*/ 181348 w 608155"/>
                    <a:gd name="connsiteY31" fmla="*/ 483652 h 598183"/>
                    <a:gd name="connsiteX32" fmla="*/ 127172 w 608155"/>
                    <a:gd name="connsiteY32" fmla="*/ 362303 h 598183"/>
                    <a:gd name="connsiteX33" fmla="*/ 315531 w 608155"/>
                    <a:gd name="connsiteY33" fmla="*/ 355698 h 598183"/>
                    <a:gd name="connsiteX34" fmla="*/ 317682 w 608155"/>
                    <a:gd name="connsiteY34" fmla="*/ 362277 h 598183"/>
                    <a:gd name="connsiteX35" fmla="*/ 322790 w 608155"/>
                    <a:gd name="connsiteY35" fmla="*/ 377852 h 598183"/>
                    <a:gd name="connsiteX36" fmla="*/ 368362 w 608155"/>
                    <a:gd name="connsiteY36" fmla="*/ 377852 h 598183"/>
                    <a:gd name="connsiteX37" fmla="*/ 402911 w 608155"/>
                    <a:gd name="connsiteY37" fmla="*/ 377852 h 598183"/>
                    <a:gd name="connsiteX38" fmla="*/ 472546 w 608155"/>
                    <a:gd name="connsiteY38" fmla="*/ 377852 h 598183"/>
                    <a:gd name="connsiteX39" fmla="*/ 509514 w 608155"/>
                    <a:gd name="connsiteY39" fmla="*/ 377852 h 598183"/>
                    <a:gd name="connsiteX40" fmla="*/ 568530 w 608155"/>
                    <a:gd name="connsiteY40" fmla="*/ 377852 h 598183"/>
                    <a:gd name="connsiteX41" fmla="*/ 573369 w 608155"/>
                    <a:gd name="connsiteY41" fmla="*/ 355698 h 598183"/>
                    <a:gd name="connsiteX42" fmla="*/ 518521 w 608155"/>
                    <a:gd name="connsiteY42" fmla="*/ 355698 h 598183"/>
                    <a:gd name="connsiteX43" fmla="*/ 513279 w 608155"/>
                    <a:gd name="connsiteY43" fmla="*/ 355698 h 598183"/>
                    <a:gd name="connsiteX44" fmla="*/ 483032 w 608155"/>
                    <a:gd name="connsiteY44" fmla="*/ 355698 h 598183"/>
                    <a:gd name="connsiteX45" fmla="*/ 408019 w 608155"/>
                    <a:gd name="connsiteY45" fmla="*/ 355698 h 598183"/>
                    <a:gd name="connsiteX46" fmla="*/ 374008 w 608155"/>
                    <a:gd name="connsiteY46" fmla="*/ 355698 h 598183"/>
                    <a:gd name="connsiteX47" fmla="*/ 205298 w 608155"/>
                    <a:gd name="connsiteY47" fmla="*/ 286284 h 598183"/>
                    <a:gd name="connsiteX48" fmla="*/ 250467 w 608155"/>
                    <a:gd name="connsiteY48" fmla="*/ 286284 h 598183"/>
                    <a:gd name="connsiteX49" fmla="*/ 280982 w 608155"/>
                    <a:gd name="connsiteY49" fmla="*/ 286284 h 598183"/>
                    <a:gd name="connsiteX50" fmla="*/ 283537 w 608155"/>
                    <a:gd name="connsiteY50" fmla="*/ 286687 h 598183"/>
                    <a:gd name="connsiteX51" fmla="*/ 296711 w 608155"/>
                    <a:gd name="connsiteY51" fmla="*/ 297830 h 598183"/>
                    <a:gd name="connsiteX52" fmla="*/ 304508 w 608155"/>
                    <a:gd name="connsiteY52" fmla="*/ 322804 h 598183"/>
                    <a:gd name="connsiteX53" fmla="*/ 304777 w 608155"/>
                    <a:gd name="connsiteY53" fmla="*/ 322669 h 598183"/>
                    <a:gd name="connsiteX54" fmla="*/ 379654 w 608155"/>
                    <a:gd name="connsiteY54" fmla="*/ 322669 h 598183"/>
                    <a:gd name="connsiteX55" fmla="*/ 413262 w 608155"/>
                    <a:gd name="connsiteY55" fmla="*/ 322669 h 598183"/>
                    <a:gd name="connsiteX56" fmla="*/ 493652 w 608155"/>
                    <a:gd name="connsiteY56" fmla="*/ 322669 h 598183"/>
                    <a:gd name="connsiteX57" fmla="*/ 527932 w 608155"/>
                    <a:gd name="connsiteY57" fmla="*/ 322669 h 598183"/>
                    <a:gd name="connsiteX58" fmla="*/ 581838 w 608155"/>
                    <a:gd name="connsiteY58" fmla="*/ 322669 h 598183"/>
                    <a:gd name="connsiteX59" fmla="*/ 602541 w 608155"/>
                    <a:gd name="connsiteY59" fmla="*/ 332336 h 598183"/>
                    <a:gd name="connsiteX60" fmla="*/ 607514 w 608155"/>
                    <a:gd name="connsiteY60" fmla="*/ 354624 h 598183"/>
                    <a:gd name="connsiteX61" fmla="*/ 588425 w 608155"/>
                    <a:gd name="connsiteY61" fmla="*/ 441359 h 598183"/>
                    <a:gd name="connsiteX62" fmla="*/ 557641 w 608155"/>
                    <a:gd name="connsiteY62" fmla="*/ 466063 h 598183"/>
                    <a:gd name="connsiteX63" fmla="*/ 443912 w 608155"/>
                    <a:gd name="connsiteY63" fmla="*/ 466063 h 598183"/>
                    <a:gd name="connsiteX64" fmla="*/ 387855 w 608155"/>
                    <a:gd name="connsiteY64" fmla="*/ 466063 h 598183"/>
                    <a:gd name="connsiteX65" fmla="*/ 365539 w 608155"/>
                    <a:gd name="connsiteY65" fmla="*/ 466063 h 598183"/>
                    <a:gd name="connsiteX66" fmla="*/ 349542 w 608155"/>
                    <a:gd name="connsiteY66" fmla="*/ 466063 h 598183"/>
                    <a:gd name="connsiteX67" fmla="*/ 354382 w 608155"/>
                    <a:gd name="connsiteY67" fmla="*/ 481369 h 598183"/>
                    <a:gd name="connsiteX68" fmla="*/ 354785 w 608155"/>
                    <a:gd name="connsiteY68" fmla="*/ 482846 h 598183"/>
                    <a:gd name="connsiteX69" fmla="*/ 361103 w 608155"/>
                    <a:gd name="connsiteY69" fmla="*/ 502986 h 598183"/>
                    <a:gd name="connsiteX70" fmla="*/ 390140 w 608155"/>
                    <a:gd name="connsiteY70" fmla="*/ 502986 h 598183"/>
                    <a:gd name="connsiteX71" fmla="*/ 550381 w 608155"/>
                    <a:gd name="connsiteY71" fmla="*/ 502986 h 598183"/>
                    <a:gd name="connsiteX72" fmla="*/ 566916 w 608155"/>
                    <a:gd name="connsiteY72" fmla="*/ 519500 h 598183"/>
                    <a:gd name="connsiteX73" fmla="*/ 550381 w 608155"/>
                    <a:gd name="connsiteY73" fmla="*/ 536015 h 598183"/>
                    <a:gd name="connsiteX74" fmla="*/ 539896 w 608155"/>
                    <a:gd name="connsiteY74" fmla="*/ 536015 h 598183"/>
                    <a:gd name="connsiteX75" fmla="*/ 516236 w 608155"/>
                    <a:gd name="connsiteY75" fmla="*/ 529302 h 598183"/>
                    <a:gd name="connsiteX76" fmla="*/ 492711 w 608155"/>
                    <a:gd name="connsiteY76" fmla="*/ 536015 h 598183"/>
                    <a:gd name="connsiteX77" fmla="*/ 394576 w 608155"/>
                    <a:gd name="connsiteY77" fmla="*/ 536015 h 598183"/>
                    <a:gd name="connsiteX78" fmla="*/ 371051 w 608155"/>
                    <a:gd name="connsiteY78" fmla="*/ 529302 h 598183"/>
                    <a:gd name="connsiteX79" fmla="*/ 347794 w 608155"/>
                    <a:gd name="connsiteY79" fmla="*/ 535880 h 598183"/>
                    <a:gd name="connsiteX80" fmla="*/ 333410 w 608155"/>
                    <a:gd name="connsiteY80" fmla="*/ 524737 h 598183"/>
                    <a:gd name="connsiteX81" fmla="*/ 333276 w 608155"/>
                    <a:gd name="connsiteY81" fmla="*/ 524468 h 598183"/>
                    <a:gd name="connsiteX82" fmla="*/ 328033 w 608155"/>
                    <a:gd name="connsiteY82" fmla="*/ 507685 h 598183"/>
                    <a:gd name="connsiteX83" fmla="*/ 323328 w 608155"/>
                    <a:gd name="connsiteY83" fmla="*/ 492916 h 598183"/>
                    <a:gd name="connsiteX84" fmla="*/ 317144 w 608155"/>
                    <a:gd name="connsiteY84" fmla="*/ 473179 h 598183"/>
                    <a:gd name="connsiteX85" fmla="*/ 283537 w 608155"/>
                    <a:gd name="connsiteY85" fmla="*/ 366171 h 598183"/>
                    <a:gd name="connsiteX86" fmla="*/ 282327 w 608155"/>
                    <a:gd name="connsiteY86" fmla="*/ 362277 h 598183"/>
                    <a:gd name="connsiteX87" fmla="*/ 271841 w 608155"/>
                    <a:gd name="connsiteY87" fmla="*/ 329248 h 598183"/>
                    <a:gd name="connsiteX88" fmla="*/ 268749 w 608155"/>
                    <a:gd name="connsiteY88" fmla="*/ 319313 h 598183"/>
                    <a:gd name="connsiteX89" fmla="*/ 250467 w 608155"/>
                    <a:gd name="connsiteY89" fmla="*/ 319313 h 598183"/>
                    <a:gd name="connsiteX90" fmla="*/ 205298 w 608155"/>
                    <a:gd name="connsiteY90" fmla="*/ 319313 h 598183"/>
                    <a:gd name="connsiteX91" fmla="*/ 188763 w 608155"/>
                    <a:gd name="connsiteY91" fmla="*/ 302798 h 598183"/>
                    <a:gd name="connsiteX92" fmla="*/ 205298 w 608155"/>
                    <a:gd name="connsiteY92" fmla="*/ 286284 h 598183"/>
                    <a:gd name="connsiteX93" fmla="*/ 41943 w 608155"/>
                    <a:gd name="connsiteY93" fmla="*/ 203770 h 598183"/>
                    <a:gd name="connsiteX94" fmla="*/ 33070 w 608155"/>
                    <a:gd name="connsiteY94" fmla="*/ 266592 h 598183"/>
                    <a:gd name="connsiteX95" fmla="*/ 41943 w 608155"/>
                    <a:gd name="connsiteY95" fmla="*/ 329281 h 598183"/>
                    <a:gd name="connsiteX96" fmla="*/ 121526 w 608155"/>
                    <a:gd name="connsiteY96" fmla="*/ 329281 h 598183"/>
                    <a:gd name="connsiteX97" fmla="*/ 117359 w 608155"/>
                    <a:gd name="connsiteY97" fmla="*/ 266592 h 598183"/>
                    <a:gd name="connsiteX98" fmla="*/ 121526 w 608155"/>
                    <a:gd name="connsiteY98" fmla="*/ 203770 h 598183"/>
                    <a:gd name="connsiteX99" fmla="*/ 352614 w 608155"/>
                    <a:gd name="connsiteY99" fmla="*/ 49399 h 598183"/>
                    <a:gd name="connsiteX100" fmla="*/ 406656 w 608155"/>
                    <a:gd name="connsiteY100" fmla="*/ 170882 h 598183"/>
                    <a:gd name="connsiteX101" fmla="*/ 480055 w 608155"/>
                    <a:gd name="connsiteY101" fmla="*/ 170882 h 598183"/>
                    <a:gd name="connsiteX102" fmla="*/ 352614 w 608155"/>
                    <a:gd name="connsiteY102" fmla="*/ 49399 h 598183"/>
                    <a:gd name="connsiteX103" fmla="*/ 181348 w 608155"/>
                    <a:gd name="connsiteY103" fmla="*/ 49399 h 598183"/>
                    <a:gd name="connsiteX104" fmla="*/ 53907 w 608155"/>
                    <a:gd name="connsiteY104" fmla="*/ 170882 h 598183"/>
                    <a:gd name="connsiteX105" fmla="*/ 127172 w 608155"/>
                    <a:gd name="connsiteY105" fmla="*/ 170882 h 598183"/>
                    <a:gd name="connsiteX106" fmla="*/ 181348 w 608155"/>
                    <a:gd name="connsiteY106" fmla="*/ 49399 h 598183"/>
                    <a:gd name="connsiteX107" fmla="*/ 283516 w 608155"/>
                    <a:gd name="connsiteY107" fmla="*/ 39062 h 598183"/>
                    <a:gd name="connsiteX108" fmla="*/ 283516 w 608155"/>
                    <a:gd name="connsiteY108" fmla="*/ 170882 h 598183"/>
                    <a:gd name="connsiteX109" fmla="*/ 372376 w 608155"/>
                    <a:gd name="connsiteY109" fmla="*/ 170882 h 598183"/>
                    <a:gd name="connsiteX110" fmla="*/ 283516 w 608155"/>
                    <a:gd name="connsiteY110" fmla="*/ 39062 h 598183"/>
                    <a:gd name="connsiteX111" fmla="*/ 250446 w 608155"/>
                    <a:gd name="connsiteY111" fmla="*/ 39062 h 598183"/>
                    <a:gd name="connsiteX112" fmla="*/ 161452 w 608155"/>
                    <a:gd name="connsiteY112" fmla="*/ 170882 h 598183"/>
                    <a:gd name="connsiteX113" fmla="*/ 250446 w 608155"/>
                    <a:gd name="connsiteY113" fmla="*/ 170882 h 598183"/>
                    <a:gd name="connsiteX114" fmla="*/ 266981 w 608155"/>
                    <a:gd name="connsiteY114" fmla="*/ 0 h 598183"/>
                    <a:gd name="connsiteX115" fmla="*/ 533828 w 608155"/>
                    <a:gd name="connsiteY115" fmla="*/ 266592 h 598183"/>
                    <a:gd name="connsiteX116" fmla="*/ 531677 w 608155"/>
                    <a:gd name="connsiteY116" fmla="*/ 300688 h 598183"/>
                    <a:gd name="connsiteX117" fmla="*/ 498069 w 608155"/>
                    <a:gd name="connsiteY117" fmla="*/ 300688 h 598183"/>
                    <a:gd name="connsiteX118" fmla="*/ 500758 w 608155"/>
                    <a:gd name="connsiteY118" fmla="*/ 266592 h 598183"/>
                    <a:gd name="connsiteX119" fmla="*/ 492020 w 608155"/>
                    <a:gd name="connsiteY119" fmla="*/ 203770 h 598183"/>
                    <a:gd name="connsiteX120" fmla="*/ 412436 w 608155"/>
                    <a:gd name="connsiteY120" fmla="*/ 203770 h 598183"/>
                    <a:gd name="connsiteX121" fmla="*/ 416469 w 608155"/>
                    <a:gd name="connsiteY121" fmla="*/ 266592 h 598183"/>
                    <a:gd name="connsiteX122" fmla="*/ 415259 w 608155"/>
                    <a:gd name="connsiteY122" fmla="*/ 300688 h 598183"/>
                    <a:gd name="connsiteX123" fmla="*/ 381920 w 608155"/>
                    <a:gd name="connsiteY123" fmla="*/ 300688 h 598183"/>
                    <a:gd name="connsiteX124" fmla="*/ 383399 w 608155"/>
                    <a:gd name="connsiteY124" fmla="*/ 266592 h 598183"/>
                    <a:gd name="connsiteX125" fmla="*/ 378828 w 608155"/>
                    <a:gd name="connsiteY125" fmla="*/ 203770 h 598183"/>
                    <a:gd name="connsiteX126" fmla="*/ 283516 w 608155"/>
                    <a:gd name="connsiteY126" fmla="*/ 203770 h 598183"/>
                    <a:gd name="connsiteX127" fmla="*/ 283516 w 608155"/>
                    <a:gd name="connsiteY127" fmla="*/ 264579 h 598183"/>
                    <a:gd name="connsiteX128" fmla="*/ 280962 w 608155"/>
                    <a:gd name="connsiteY128" fmla="*/ 264310 h 598183"/>
                    <a:gd name="connsiteX129" fmla="*/ 250446 w 608155"/>
                    <a:gd name="connsiteY129" fmla="*/ 264310 h 598183"/>
                    <a:gd name="connsiteX130" fmla="*/ 250446 w 608155"/>
                    <a:gd name="connsiteY130" fmla="*/ 203770 h 598183"/>
                    <a:gd name="connsiteX131" fmla="*/ 155134 w 608155"/>
                    <a:gd name="connsiteY131" fmla="*/ 203770 h 598183"/>
                    <a:gd name="connsiteX132" fmla="*/ 150429 w 608155"/>
                    <a:gd name="connsiteY132" fmla="*/ 266592 h 598183"/>
                    <a:gd name="connsiteX133" fmla="*/ 155134 w 608155"/>
                    <a:gd name="connsiteY133" fmla="*/ 329281 h 598183"/>
                    <a:gd name="connsiteX134" fmla="*/ 177315 w 608155"/>
                    <a:gd name="connsiteY134" fmla="*/ 329281 h 598183"/>
                    <a:gd name="connsiteX135" fmla="*/ 205277 w 608155"/>
                    <a:gd name="connsiteY135" fmla="*/ 341362 h 598183"/>
                    <a:gd name="connsiteX136" fmla="*/ 250446 w 608155"/>
                    <a:gd name="connsiteY136" fmla="*/ 341362 h 598183"/>
                    <a:gd name="connsiteX137" fmla="*/ 252597 w 608155"/>
                    <a:gd name="connsiteY137" fmla="*/ 341362 h 598183"/>
                    <a:gd name="connsiteX138" fmla="*/ 259184 w 608155"/>
                    <a:gd name="connsiteY138" fmla="*/ 362303 h 598183"/>
                    <a:gd name="connsiteX139" fmla="*/ 283516 w 608155"/>
                    <a:gd name="connsiteY139" fmla="*/ 439623 h 598183"/>
                    <a:gd name="connsiteX140" fmla="*/ 283516 w 608155"/>
                    <a:gd name="connsiteY140" fmla="*/ 494122 h 598183"/>
                    <a:gd name="connsiteX141" fmla="*/ 298573 w 608155"/>
                    <a:gd name="connsiteY141" fmla="*/ 487545 h 598183"/>
                    <a:gd name="connsiteX142" fmla="*/ 301530 w 608155"/>
                    <a:gd name="connsiteY142" fmla="*/ 497210 h 598183"/>
                    <a:gd name="connsiteX143" fmla="*/ 308655 w 608155"/>
                    <a:gd name="connsiteY143" fmla="*/ 519761 h 598183"/>
                    <a:gd name="connsiteX144" fmla="*/ 311613 w 608155"/>
                    <a:gd name="connsiteY144" fmla="*/ 529292 h 598183"/>
                    <a:gd name="connsiteX145" fmla="*/ 266981 w 608155"/>
                    <a:gd name="connsiteY145" fmla="*/ 533051 h 598183"/>
                    <a:gd name="connsiteX146" fmla="*/ 0 w 608155"/>
                    <a:gd name="connsiteY146" fmla="*/ 266592 h 598183"/>
                    <a:gd name="connsiteX147" fmla="*/ 266981 w 608155"/>
                    <a:gd name="connsiteY147" fmla="*/ 0 h 5981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</a:cxnLst>
                  <a:rect l="l" t="t" r="r" b="b"/>
                  <a:pathLst>
                    <a:path w="608155" h="598183">
                      <a:moveTo>
                        <a:pt x="516225" y="551328"/>
                      </a:moveTo>
                      <a:cubicBezTo>
                        <a:pt x="522679" y="551328"/>
                        <a:pt x="528461" y="553879"/>
                        <a:pt x="532763" y="558041"/>
                      </a:cubicBezTo>
                      <a:cubicBezTo>
                        <a:pt x="537066" y="562337"/>
                        <a:pt x="539755" y="568244"/>
                        <a:pt x="539755" y="574689"/>
                      </a:cubicBezTo>
                      <a:cubicBezTo>
                        <a:pt x="539755" y="587711"/>
                        <a:pt x="529267" y="598183"/>
                        <a:pt x="516225" y="598183"/>
                      </a:cubicBezTo>
                      <a:cubicBezTo>
                        <a:pt x="503317" y="598183"/>
                        <a:pt x="492829" y="587711"/>
                        <a:pt x="492829" y="574689"/>
                      </a:cubicBezTo>
                      <a:cubicBezTo>
                        <a:pt x="492829" y="568244"/>
                        <a:pt x="495518" y="562337"/>
                        <a:pt x="499821" y="558041"/>
                      </a:cubicBezTo>
                      <a:cubicBezTo>
                        <a:pt x="503989" y="553879"/>
                        <a:pt x="509771" y="551328"/>
                        <a:pt x="516225" y="551328"/>
                      </a:cubicBezTo>
                      <a:close/>
                      <a:moveTo>
                        <a:pt x="370931" y="551328"/>
                      </a:moveTo>
                      <a:cubicBezTo>
                        <a:pt x="377385" y="551328"/>
                        <a:pt x="383301" y="553879"/>
                        <a:pt x="387469" y="558041"/>
                      </a:cubicBezTo>
                      <a:cubicBezTo>
                        <a:pt x="391772" y="562337"/>
                        <a:pt x="394461" y="568244"/>
                        <a:pt x="394461" y="574689"/>
                      </a:cubicBezTo>
                      <a:cubicBezTo>
                        <a:pt x="394461" y="587711"/>
                        <a:pt x="383973" y="598183"/>
                        <a:pt x="370931" y="598183"/>
                      </a:cubicBezTo>
                      <a:cubicBezTo>
                        <a:pt x="358023" y="598183"/>
                        <a:pt x="347535" y="587711"/>
                        <a:pt x="347535" y="574689"/>
                      </a:cubicBezTo>
                      <a:cubicBezTo>
                        <a:pt x="347535" y="568244"/>
                        <a:pt x="350224" y="562337"/>
                        <a:pt x="354527" y="558041"/>
                      </a:cubicBezTo>
                      <a:cubicBezTo>
                        <a:pt x="358695" y="553879"/>
                        <a:pt x="364611" y="551328"/>
                        <a:pt x="370931" y="551328"/>
                      </a:cubicBezTo>
                      <a:close/>
                      <a:moveTo>
                        <a:pt x="333679" y="410881"/>
                      </a:moveTo>
                      <a:lnTo>
                        <a:pt x="340938" y="432900"/>
                      </a:lnTo>
                      <a:cubicBezTo>
                        <a:pt x="341073" y="432900"/>
                        <a:pt x="341476" y="433034"/>
                        <a:pt x="341611" y="433169"/>
                      </a:cubicBezTo>
                      <a:lnTo>
                        <a:pt x="346316" y="433169"/>
                      </a:lnTo>
                      <a:lnTo>
                        <a:pt x="383553" y="433169"/>
                      </a:lnTo>
                      <a:lnTo>
                        <a:pt x="430604" y="433034"/>
                      </a:lnTo>
                      <a:lnTo>
                        <a:pt x="475369" y="433034"/>
                      </a:lnTo>
                      <a:lnTo>
                        <a:pt x="556565" y="433034"/>
                      </a:lnTo>
                      <a:lnTo>
                        <a:pt x="561405" y="410881"/>
                      </a:lnTo>
                      <a:lnTo>
                        <a:pt x="491366" y="410881"/>
                      </a:lnTo>
                      <a:lnTo>
                        <a:pt x="450499" y="410881"/>
                      </a:lnTo>
                      <a:lnTo>
                        <a:pt x="392694" y="410881"/>
                      </a:lnTo>
                      <a:lnTo>
                        <a:pt x="356936" y="410881"/>
                      </a:lnTo>
                      <a:close/>
                      <a:moveTo>
                        <a:pt x="161452" y="362303"/>
                      </a:moveTo>
                      <a:cubicBezTo>
                        <a:pt x="177987" y="431166"/>
                        <a:pt x="211327" y="482578"/>
                        <a:pt x="250446" y="494122"/>
                      </a:cubicBezTo>
                      <a:lnTo>
                        <a:pt x="250446" y="362303"/>
                      </a:lnTo>
                      <a:close/>
                      <a:moveTo>
                        <a:pt x="53907" y="362303"/>
                      </a:moveTo>
                      <a:cubicBezTo>
                        <a:pt x="78777" y="417474"/>
                        <a:pt x="124618" y="461235"/>
                        <a:pt x="181348" y="483652"/>
                      </a:cubicBezTo>
                      <a:cubicBezTo>
                        <a:pt x="156882" y="454120"/>
                        <a:pt x="137927" y="412104"/>
                        <a:pt x="127172" y="362303"/>
                      </a:cubicBezTo>
                      <a:close/>
                      <a:moveTo>
                        <a:pt x="315531" y="355698"/>
                      </a:moveTo>
                      <a:lnTo>
                        <a:pt x="317682" y="362277"/>
                      </a:lnTo>
                      <a:lnTo>
                        <a:pt x="322790" y="377852"/>
                      </a:lnTo>
                      <a:lnTo>
                        <a:pt x="368362" y="377852"/>
                      </a:lnTo>
                      <a:lnTo>
                        <a:pt x="402911" y="377852"/>
                      </a:lnTo>
                      <a:lnTo>
                        <a:pt x="472546" y="377852"/>
                      </a:lnTo>
                      <a:lnTo>
                        <a:pt x="509514" y="377852"/>
                      </a:lnTo>
                      <a:lnTo>
                        <a:pt x="568530" y="377852"/>
                      </a:lnTo>
                      <a:lnTo>
                        <a:pt x="573369" y="355698"/>
                      </a:lnTo>
                      <a:lnTo>
                        <a:pt x="518521" y="355698"/>
                      </a:lnTo>
                      <a:lnTo>
                        <a:pt x="513279" y="355698"/>
                      </a:lnTo>
                      <a:lnTo>
                        <a:pt x="483032" y="355698"/>
                      </a:lnTo>
                      <a:lnTo>
                        <a:pt x="408019" y="355698"/>
                      </a:lnTo>
                      <a:lnTo>
                        <a:pt x="374008" y="355698"/>
                      </a:lnTo>
                      <a:close/>
                      <a:moveTo>
                        <a:pt x="205298" y="286284"/>
                      </a:moveTo>
                      <a:lnTo>
                        <a:pt x="250467" y="286284"/>
                      </a:lnTo>
                      <a:lnTo>
                        <a:pt x="280982" y="286284"/>
                      </a:lnTo>
                      <a:cubicBezTo>
                        <a:pt x="281789" y="286284"/>
                        <a:pt x="282596" y="286552"/>
                        <a:pt x="283537" y="286687"/>
                      </a:cubicBezTo>
                      <a:cubicBezTo>
                        <a:pt x="289586" y="287761"/>
                        <a:pt x="294829" y="291923"/>
                        <a:pt x="296711" y="297830"/>
                      </a:cubicBezTo>
                      <a:lnTo>
                        <a:pt x="304508" y="322804"/>
                      </a:lnTo>
                      <a:cubicBezTo>
                        <a:pt x="304642" y="322804"/>
                        <a:pt x="304642" y="322669"/>
                        <a:pt x="304777" y="322669"/>
                      </a:cubicBezTo>
                      <a:lnTo>
                        <a:pt x="379654" y="322669"/>
                      </a:lnTo>
                      <a:lnTo>
                        <a:pt x="413262" y="322669"/>
                      </a:lnTo>
                      <a:lnTo>
                        <a:pt x="493652" y="322669"/>
                      </a:lnTo>
                      <a:lnTo>
                        <a:pt x="527932" y="322669"/>
                      </a:lnTo>
                      <a:lnTo>
                        <a:pt x="581838" y="322669"/>
                      </a:lnTo>
                      <a:cubicBezTo>
                        <a:pt x="590038" y="322669"/>
                        <a:pt x="597567" y="326160"/>
                        <a:pt x="602541" y="332336"/>
                      </a:cubicBezTo>
                      <a:cubicBezTo>
                        <a:pt x="607380" y="338512"/>
                        <a:pt x="609262" y="346568"/>
                        <a:pt x="607514" y="354624"/>
                      </a:cubicBezTo>
                      <a:lnTo>
                        <a:pt x="588425" y="441359"/>
                      </a:lnTo>
                      <a:cubicBezTo>
                        <a:pt x="585333" y="455456"/>
                        <a:pt x="572025" y="466063"/>
                        <a:pt x="557641" y="466063"/>
                      </a:cubicBezTo>
                      <a:lnTo>
                        <a:pt x="443912" y="466063"/>
                      </a:lnTo>
                      <a:lnTo>
                        <a:pt x="387855" y="466063"/>
                      </a:lnTo>
                      <a:lnTo>
                        <a:pt x="365539" y="466063"/>
                      </a:lnTo>
                      <a:lnTo>
                        <a:pt x="349542" y="466063"/>
                      </a:lnTo>
                      <a:lnTo>
                        <a:pt x="354382" y="481369"/>
                      </a:lnTo>
                      <a:lnTo>
                        <a:pt x="354785" y="482846"/>
                      </a:lnTo>
                      <a:lnTo>
                        <a:pt x="361103" y="502986"/>
                      </a:lnTo>
                      <a:lnTo>
                        <a:pt x="390140" y="502986"/>
                      </a:lnTo>
                      <a:lnTo>
                        <a:pt x="550381" y="502986"/>
                      </a:lnTo>
                      <a:cubicBezTo>
                        <a:pt x="559523" y="502986"/>
                        <a:pt x="566916" y="510370"/>
                        <a:pt x="566916" y="519500"/>
                      </a:cubicBezTo>
                      <a:cubicBezTo>
                        <a:pt x="566916" y="528630"/>
                        <a:pt x="559523" y="536015"/>
                        <a:pt x="550381" y="536015"/>
                      </a:cubicBezTo>
                      <a:lnTo>
                        <a:pt x="539896" y="536015"/>
                      </a:lnTo>
                      <a:cubicBezTo>
                        <a:pt x="533040" y="531853"/>
                        <a:pt x="524974" y="529302"/>
                        <a:pt x="516236" y="529302"/>
                      </a:cubicBezTo>
                      <a:cubicBezTo>
                        <a:pt x="507632" y="529302"/>
                        <a:pt x="499567" y="531853"/>
                        <a:pt x="492711" y="536015"/>
                      </a:cubicBezTo>
                      <a:lnTo>
                        <a:pt x="394576" y="536015"/>
                      </a:lnTo>
                      <a:cubicBezTo>
                        <a:pt x="387720" y="531853"/>
                        <a:pt x="379654" y="529302"/>
                        <a:pt x="371051" y="529302"/>
                      </a:cubicBezTo>
                      <a:cubicBezTo>
                        <a:pt x="362447" y="529302"/>
                        <a:pt x="354650" y="531718"/>
                        <a:pt x="347794" y="535880"/>
                      </a:cubicBezTo>
                      <a:cubicBezTo>
                        <a:pt x="341207" y="535343"/>
                        <a:pt x="335561" y="531047"/>
                        <a:pt x="333410" y="524737"/>
                      </a:cubicBezTo>
                      <a:cubicBezTo>
                        <a:pt x="333410" y="524602"/>
                        <a:pt x="333276" y="524602"/>
                        <a:pt x="333276" y="524468"/>
                      </a:cubicBezTo>
                      <a:lnTo>
                        <a:pt x="328033" y="507685"/>
                      </a:lnTo>
                      <a:lnTo>
                        <a:pt x="323328" y="492916"/>
                      </a:lnTo>
                      <a:lnTo>
                        <a:pt x="317144" y="473179"/>
                      </a:lnTo>
                      <a:lnTo>
                        <a:pt x="283537" y="366171"/>
                      </a:lnTo>
                      <a:lnTo>
                        <a:pt x="282327" y="362277"/>
                      </a:lnTo>
                      <a:lnTo>
                        <a:pt x="271841" y="329248"/>
                      </a:lnTo>
                      <a:lnTo>
                        <a:pt x="268749" y="319313"/>
                      </a:lnTo>
                      <a:lnTo>
                        <a:pt x="250467" y="319313"/>
                      </a:lnTo>
                      <a:lnTo>
                        <a:pt x="205298" y="319313"/>
                      </a:lnTo>
                      <a:cubicBezTo>
                        <a:pt x="196157" y="319313"/>
                        <a:pt x="188763" y="311928"/>
                        <a:pt x="188763" y="302798"/>
                      </a:cubicBezTo>
                      <a:cubicBezTo>
                        <a:pt x="188763" y="293668"/>
                        <a:pt x="196157" y="286284"/>
                        <a:pt x="205298" y="286284"/>
                      </a:cubicBezTo>
                      <a:close/>
                      <a:moveTo>
                        <a:pt x="41943" y="203770"/>
                      </a:moveTo>
                      <a:cubicBezTo>
                        <a:pt x="36297" y="223771"/>
                        <a:pt x="33070" y="244846"/>
                        <a:pt x="33070" y="266592"/>
                      </a:cubicBezTo>
                      <a:cubicBezTo>
                        <a:pt x="33070" y="288339"/>
                        <a:pt x="36297" y="309279"/>
                        <a:pt x="41943" y="329281"/>
                      </a:cubicBezTo>
                      <a:lnTo>
                        <a:pt x="121526" y="329281"/>
                      </a:lnTo>
                      <a:cubicBezTo>
                        <a:pt x="118838" y="309279"/>
                        <a:pt x="117359" y="288204"/>
                        <a:pt x="117359" y="266592"/>
                      </a:cubicBezTo>
                      <a:cubicBezTo>
                        <a:pt x="117359" y="244846"/>
                        <a:pt x="118838" y="223905"/>
                        <a:pt x="121526" y="203770"/>
                      </a:cubicBezTo>
                      <a:close/>
                      <a:moveTo>
                        <a:pt x="352614" y="49399"/>
                      </a:moveTo>
                      <a:cubicBezTo>
                        <a:pt x="376946" y="78930"/>
                        <a:pt x="395901" y="121081"/>
                        <a:pt x="406656" y="170882"/>
                      </a:cubicBezTo>
                      <a:lnTo>
                        <a:pt x="480055" y="170882"/>
                      </a:lnTo>
                      <a:cubicBezTo>
                        <a:pt x="455051" y="115577"/>
                        <a:pt x="409210" y="71816"/>
                        <a:pt x="352614" y="49399"/>
                      </a:cubicBezTo>
                      <a:close/>
                      <a:moveTo>
                        <a:pt x="181348" y="49399"/>
                      </a:moveTo>
                      <a:cubicBezTo>
                        <a:pt x="124618" y="71816"/>
                        <a:pt x="78777" y="115577"/>
                        <a:pt x="53907" y="170882"/>
                      </a:cubicBezTo>
                      <a:lnTo>
                        <a:pt x="127172" y="170882"/>
                      </a:lnTo>
                      <a:cubicBezTo>
                        <a:pt x="137927" y="121081"/>
                        <a:pt x="156882" y="78930"/>
                        <a:pt x="181348" y="49399"/>
                      </a:cubicBezTo>
                      <a:close/>
                      <a:moveTo>
                        <a:pt x="283516" y="39062"/>
                      </a:moveTo>
                      <a:lnTo>
                        <a:pt x="283516" y="170882"/>
                      </a:lnTo>
                      <a:lnTo>
                        <a:pt x="372376" y="170882"/>
                      </a:lnTo>
                      <a:cubicBezTo>
                        <a:pt x="355841" y="101885"/>
                        <a:pt x="322501" y="50607"/>
                        <a:pt x="283516" y="39062"/>
                      </a:cubicBezTo>
                      <a:close/>
                      <a:moveTo>
                        <a:pt x="250446" y="39062"/>
                      </a:moveTo>
                      <a:cubicBezTo>
                        <a:pt x="211327" y="50607"/>
                        <a:pt x="177987" y="101885"/>
                        <a:pt x="161452" y="170882"/>
                      </a:cubicBezTo>
                      <a:lnTo>
                        <a:pt x="250446" y="170882"/>
                      </a:lnTo>
                      <a:close/>
                      <a:moveTo>
                        <a:pt x="266981" y="0"/>
                      </a:moveTo>
                      <a:cubicBezTo>
                        <a:pt x="414318" y="0"/>
                        <a:pt x="533828" y="119336"/>
                        <a:pt x="533828" y="266592"/>
                      </a:cubicBezTo>
                      <a:cubicBezTo>
                        <a:pt x="533828" y="278137"/>
                        <a:pt x="533021" y="289547"/>
                        <a:pt x="531677" y="300688"/>
                      </a:cubicBezTo>
                      <a:lnTo>
                        <a:pt x="498069" y="300688"/>
                      </a:lnTo>
                      <a:cubicBezTo>
                        <a:pt x="499682" y="289547"/>
                        <a:pt x="500758" y="278137"/>
                        <a:pt x="500758" y="266592"/>
                      </a:cubicBezTo>
                      <a:cubicBezTo>
                        <a:pt x="500758" y="244846"/>
                        <a:pt x="497666" y="223771"/>
                        <a:pt x="492020" y="203770"/>
                      </a:cubicBezTo>
                      <a:lnTo>
                        <a:pt x="412436" y="203770"/>
                      </a:lnTo>
                      <a:cubicBezTo>
                        <a:pt x="415125" y="223905"/>
                        <a:pt x="416469" y="244846"/>
                        <a:pt x="416469" y="266592"/>
                      </a:cubicBezTo>
                      <a:cubicBezTo>
                        <a:pt x="416469" y="278137"/>
                        <a:pt x="416066" y="289547"/>
                        <a:pt x="415259" y="300688"/>
                      </a:cubicBezTo>
                      <a:lnTo>
                        <a:pt x="381920" y="300688"/>
                      </a:lnTo>
                      <a:cubicBezTo>
                        <a:pt x="382861" y="289547"/>
                        <a:pt x="383399" y="278137"/>
                        <a:pt x="383399" y="266592"/>
                      </a:cubicBezTo>
                      <a:cubicBezTo>
                        <a:pt x="383399" y="244846"/>
                        <a:pt x="381786" y="223905"/>
                        <a:pt x="378828" y="203770"/>
                      </a:cubicBezTo>
                      <a:lnTo>
                        <a:pt x="283516" y="203770"/>
                      </a:lnTo>
                      <a:lnTo>
                        <a:pt x="283516" y="264579"/>
                      </a:lnTo>
                      <a:cubicBezTo>
                        <a:pt x="282575" y="264445"/>
                        <a:pt x="281769" y="264310"/>
                        <a:pt x="280962" y="264310"/>
                      </a:cubicBezTo>
                      <a:lnTo>
                        <a:pt x="250446" y="264310"/>
                      </a:lnTo>
                      <a:lnTo>
                        <a:pt x="250446" y="203770"/>
                      </a:lnTo>
                      <a:lnTo>
                        <a:pt x="155134" y="203770"/>
                      </a:lnTo>
                      <a:cubicBezTo>
                        <a:pt x="152177" y="223905"/>
                        <a:pt x="150429" y="244846"/>
                        <a:pt x="150429" y="266592"/>
                      </a:cubicBezTo>
                      <a:cubicBezTo>
                        <a:pt x="150429" y="288204"/>
                        <a:pt x="152177" y="309279"/>
                        <a:pt x="155134" y="329281"/>
                      </a:cubicBezTo>
                      <a:lnTo>
                        <a:pt x="177315" y="329281"/>
                      </a:lnTo>
                      <a:cubicBezTo>
                        <a:pt x="184306" y="336664"/>
                        <a:pt x="194254" y="341362"/>
                        <a:pt x="205277" y="341362"/>
                      </a:cubicBezTo>
                      <a:lnTo>
                        <a:pt x="250446" y="341362"/>
                      </a:lnTo>
                      <a:lnTo>
                        <a:pt x="252597" y="341362"/>
                      </a:lnTo>
                      <a:lnTo>
                        <a:pt x="259184" y="362303"/>
                      </a:lnTo>
                      <a:lnTo>
                        <a:pt x="283516" y="439623"/>
                      </a:lnTo>
                      <a:lnTo>
                        <a:pt x="283516" y="494122"/>
                      </a:lnTo>
                      <a:cubicBezTo>
                        <a:pt x="288625" y="492512"/>
                        <a:pt x="293599" y="490364"/>
                        <a:pt x="298573" y="487545"/>
                      </a:cubicBezTo>
                      <a:lnTo>
                        <a:pt x="301530" y="497210"/>
                      </a:lnTo>
                      <a:lnTo>
                        <a:pt x="308655" y="519761"/>
                      </a:lnTo>
                      <a:lnTo>
                        <a:pt x="311613" y="529292"/>
                      </a:lnTo>
                      <a:cubicBezTo>
                        <a:pt x="297094" y="531708"/>
                        <a:pt x="282172" y="533051"/>
                        <a:pt x="266981" y="533051"/>
                      </a:cubicBezTo>
                      <a:cubicBezTo>
                        <a:pt x="119510" y="533051"/>
                        <a:pt x="0" y="413715"/>
                        <a:pt x="0" y="266592"/>
                      </a:cubicBezTo>
                      <a:cubicBezTo>
                        <a:pt x="0" y="119336"/>
                        <a:pt x="119510" y="0"/>
                        <a:pt x="26698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1" name="组合 20"/>
              <p:cNvGrpSpPr/>
              <p:nvPr/>
            </p:nvGrpSpPr>
            <p:grpSpPr>
              <a:xfrm>
                <a:off x="8441593" y="2309636"/>
                <a:ext cx="3035956" cy="1050088"/>
                <a:chOff x="8441593" y="2309636"/>
                <a:chExt cx="3035956" cy="1050088"/>
              </a:xfrm>
            </p:grpSpPr>
            <p:sp>
              <p:nvSpPr>
                <p:cNvPr id="22" name="文本框 21"/>
                <p:cNvSpPr txBox="1"/>
                <p:nvPr/>
              </p:nvSpPr>
              <p:spPr>
                <a:xfrm>
                  <a:off x="8441593" y="2734806"/>
                  <a:ext cx="3035956" cy="62491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buSzPct val="25000"/>
                  </a:pPr>
                  <a:r>
                    <a:rPr lang="en-US" sz="1200" dirty="0">
                      <a:cs typeface="+mn-ea"/>
                      <a:sym typeface="+mn-lt"/>
                    </a:rPr>
                    <a:t>Copy paste fonts. Choose the only option to retain text.…</a:t>
                  </a:r>
                  <a:r>
                    <a:rPr lang="de-DE" sz="1200" dirty="0">
                      <a:cs typeface="+mn-ea"/>
                      <a:sym typeface="+mn-lt"/>
                    </a:rPr>
                    <a:t>.</a:t>
                  </a:r>
                  <a:endParaRPr lang="de-DE" sz="12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3" name="矩形 22"/>
                <p:cNvSpPr/>
                <p:nvPr/>
              </p:nvSpPr>
              <p:spPr>
                <a:xfrm>
                  <a:off x="8441593" y="2309636"/>
                  <a:ext cx="3035956" cy="425170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研究方法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/>
            <p:cNvGrpSpPr/>
            <p:nvPr/>
          </p:nvGrpSpPr>
          <p:grpSpPr>
            <a:xfrm>
              <a:off x="7849163" y="4781033"/>
              <a:ext cx="3628386" cy="1050088"/>
              <a:chOff x="7849163" y="2309636"/>
              <a:chExt cx="3628386" cy="1050088"/>
            </a:xfrm>
          </p:grpSpPr>
          <p:grpSp>
            <p:nvGrpSpPr>
              <p:cNvPr id="14" name="组合 13"/>
              <p:cNvGrpSpPr/>
              <p:nvPr/>
            </p:nvGrpSpPr>
            <p:grpSpPr>
              <a:xfrm>
                <a:off x="7849163" y="2453256"/>
                <a:ext cx="495940" cy="495940"/>
                <a:chOff x="7705785" y="2621630"/>
                <a:chExt cx="372396" cy="372396"/>
              </a:xfrm>
            </p:grpSpPr>
            <p:sp>
              <p:nvSpPr>
                <p:cNvPr id="18" name="任意多边形: 形状 17"/>
                <p:cNvSpPr/>
                <p:nvPr/>
              </p:nvSpPr>
              <p:spPr>
                <a:xfrm>
                  <a:off x="7705785" y="2621630"/>
                  <a:ext cx="372396" cy="37239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679" h="19679" extrusionOk="0">
                      <a:moveTo>
                        <a:pt x="16796" y="2882"/>
                      </a:moveTo>
                      <a:cubicBezTo>
                        <a:pt x="20639" y="6724"/>
                        <a:pt x="20639" y="12954"/>
                        <a:pt x="16796" y="16796"/>
                      </a:cubicBezTo>
                      <a:cubicBezTo>
                        <a:pt x="12954" y="20639"/>
                        <a:pt x="6724" y="20639"/>
                        <a:pt x="2882" y="16796"/>
                      </a:cubicBezTo>
                      <a:cubicBezTo>
                        <a:pt x="-961" y="12954"/>
                        <a:pt x="-961" y="6724"/>
                        <a:pt x="2882" y="2882"/>
                      </a:cubicBezTo>
                      <a:cubicBezTo>
                        <a:pt x="6724" y="-961"/>
                        <a:pt x="12954" y="-961"/>
                        <a:pt x="16796" y="2882"/>
                      </a:cubicBezTo>
                    </a:path>
                  </a:pathLst>
                </a:custGeom>
                <a:noFill/>
                <a:ln w="12700" cap="flat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miter lim="400000"/>
                  <a:headEnd type="none" w="med" len="med"/>
                  <a:tailEnd type="none" w="med" len="med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19" name="任意多边形: 形状 18"/>
                <p:cNvSpPr/>
                <p:nvPr/>
              </p:nvSpPr>
              <p:spPr>
                <a:xfrm>
                  <a:off x="7795246" y="2712677"/>
                  <a:ext cx="193474" cy="190301"/>
                </a:xfrm>
                <a:custGeom>
                  <a:avLst/>
                  <a:gdLst>
                    <a:gd name="connsiteX0" fmla="*/ 516225 w 608155"/>
                    <a:gd name="connsiteY0" fmla="*/ 551328 h 598183"/>
                    <a:gd name="connsiteX1" fmla="*/ 532763 w 608155"/>
                    <a:gd name="connsiteY1" fmla="*/ 558041 h 598183"/>
                    <a:gd name="connsiteX2" fmla="*/ 539755 w 608155"/>
                    <a:gd name="connsiteY2" fmla="*/ 574689 h 598183"/>
                    <a:gd name="connsiteX3" fmla="*/ 516225 w 608155"/>
                    <a:gd name="connsiteY3" fmla="*/ 598183 h 598183"/>
                    <a:gd name="connsiteX4" fmla="*/ 492829 w 608155"/>
                    <a:gd name="connsiteY4" fmla="*/ 574689 h 598183"/>
                    <a:gd name="connsiteX5" fmla="*/ 499821 w 608155"/>
                    <a:gd name="connsiteY5" fmla="*/ 558041 h 598183"/>
                    <a:gd name="connsiteX6" fmla="*/ 516225 w 608155"/>
                    <a:gd name="connsiteY6" fmla="*/ 551328 h 598183"/>
                    <a:gd name="connsiteX7" fmla="*/ 370931 w 608155"/>
                    <a:gd name="connsiteY7" fmla="*/ 551328 h 598183"/>
                    <a:gd name="connsiteX8" fmla="*/ 387469 w 608155"/>
                    <a:gd name="connsiteY8" fmla="*/ 558041 h 598183"/>
                    <a:gd name="connsiteX9" fmla="*/ 394461 w 608155"/>
                    <a:gd name="connsiteY9" fmla="*/ 574689 h 598183"/>
                    <a:gd name="connsiteX10" fmla="*/ 370931 w 608155"/>
                    <a:gd name="connsiteY10" fmla="*/ 598183 h 598183"/>
                    <a:gd name="connsiteX11" fmla="*/ 347535 w 608155"/>
                    <a:gd name="connsiteY11" fmla="*/ 574689 h 598183"/>
                    <a:gd name="connsiteX12" fmla="*/ 354527 w 608155"/>
                    <a:gd name="connsiteY12" fmla="*/ 558041 h 598183"/>
                    <a:gd name="connsiteX13" fmla="*/ 370931 w 608155"/>
                    <a:gd name="connsiteY13" fmla="*/ 551328 h 598183"/>
                    <a:gd name="connsiteX14" fmla="*/ 333679 w 608155"/>
                    <a:gd name="connsiteY14" fmla="*/ 410881 h 598183"/>
                    <a:gd name="connsiteX15" fmla="*/ 340938 w 608155"/>
                    <a:gd name="connsiteY15" fmla="*/ 432900 h 598183"/>
                    <a:gd name="connsiteX16" fmla="*/ 341611 w 608155"/>
                    <a:gd name="connsiteY16" fmla="*/ 433169 h 598183"/>
                    <a:gd name="connsiteX17" fmla="*/ 346316 w 608155"/>
                    <a:gd name="connsiteY17" fmla="*/ 433169 h 598183"/>
                    <a:gd name="connsiteX18" fmla="*/ 383553 w 608155"/>
                    <a:gd name="connsiteY18" fmla="*/ 433169 h 598183"/>
                    <a:gd name="connsiteX19" fmla="*/ 430604 w 608155"/>
                    <a:gd name="connsiteY19" fmla="*/ 433034 h 598183"/>
                    <a:gd name="connsiteX20" fmla="*/ 475369 w 608155"/>
                    <a:gd name="connsiteY20" fmla="*/ 433034 h 598183"/>
                    <a:gd name="connsiteX21" fmla="*/ 556565 w 608155"/>
                    <a:gd name="connsiteY21" fmla="*/ 433034 h 598183"/>
                    <a:gd name="connsiteX22" fmla="*/ 561405 w 608155"/>
                    <a:gd name="connsiteY22" fmla="*/ 410881 h 598183"/>
                    <a:gd name="connsiteX23" fmla="*/ 491366 w 608155"/>
                    <a:gd name="connsiteY23" fmla="*/ 410881 h 598183"/>
                    <a:gd name="connsiteX24" fmla="*/ 450499 w 608155"/>
                    <a:gd name="connsiteY24" fmla="*/ 410881 h 598183"/>
                    <a:gd name="connsiteX25" fmla="*/ 392694 w 608155"/>
                    <a:gd name="connsiteY25" fmla="*/ 410881 h 598183"/>
                    <a:gd name="connsiteX26" fmla="*/ 356936 w 608155"/>
                    <a:gd name="connsiteY26" fmla="*/ 410881 h 598183"/>
                    <a:gd name="connsiteX27" fmla="*/ 161452 w 608155"/>
                    <a:gd name="connsiteY27" fmla="*/ 362303 h 598183"/>
                    <a:gd name="connsiteX28" fmla="*/ 250446 w 608155"/>
                    <a:gd name="connsiteY28" fmla="*/ 494122 h 598183"/>
                    <a:gd name="connsiteX29" fmla="*/ 250446 w 608155"/>
                    <a:gd name="connsiteY29" fmla="*/ 362303 h 598183"/>
                    <a:gd name="connsiteX30" fmla="*/ 53907 w 608155"/>
                    <a:gd name="connsiteY30" fmla="*/ 362303 h 598183"/>
                    <a:gd name="connsiteX31" fmla="*/ 181348 w 608155"/>
                    <a:gd name="connsiteY31" fmla="*/ 483652 h 598183"/>
                    <a:gd name="connsiteX32" fmla="*/ 127172 w 608155"/>
                    <a:gd name="connsiteY32" fmla="*/ 362303 h 598183"/>
                    <a:gd name="connsiteX33" fmla="*/ 315531 w 608155"/>
                    <a:gd name="connsiteY33" fmla="*/ 355698 h 598183"/>
                    <a:gd name="connsiteX34" fmla="*/ 317682 w 608155"/>
                    <a:gd name="connsiteY34" fmla="*/ 362277 h 598183"/>
                    <a:gd name="connsiteX35" fmla="*/ 322790 w 608155"/>
                    <a:gd name="connsiteY35" fmla="*/ 377852 h 598183"/>
                    <a:gd name="connsiteX36" fmla="*/ 368362 w 608155"/>
                    <a:gd name="connsiteY36" fmla="*/ 377852 h 598183"/>
                    <a:gd name="connsiteX37" fmla="*/ 402911 w 608155"/>
                    <a:gd name="connsiteY37" fmla="*/ 377852 h 598183"/>
                    <a:gd name="connsiteX38" fmla="*/ 472546 w 608155"/>
                    <a:gd name="connsiteY38" fmla="*/ 377852 h 598183"/>
                    <a:gd name="connsiteX39" fmla="*/ 509514 w 608155"/>
                    <a:gd name="connsiteY39" fmla="*/ 377852 h 598183"/>
                    <a:gd name="connsiteX40" fmla="*/ 568530 w 608155"/>
                    <a:gd name="connsiteY40" fmla="*/ 377852 h 598183"/>
                    <a:gd name="connsiteX41" fmla="*/ 573369 w 608155"/>
                    <a:gd name="connsiteY41" fmla="*/ 355698 h 598183"/>
                    <a:gd name="connsiteX42" fmla="*/ 518521 w 608155"/>
                    <a:gd name="connsiteY42" fmla="*/ 355698 h 598183"/>
                    <a:gd name="connsiteX43" fmla="*/ 513279 w 608155"/>
                    <a:gd name="connsiteY43" fmla="*/ 355698 h 598183"/>
                    <a:gd name="connsiteX44" fmla="*/ 483032 w 608155"/>
                    <a:gd name="connsiteY44" fmla="*/ 355698 h 598183"/>
                    <a:gd name="connsiteX45" fmla="*/ 408019 w 608155"/>
                    <a:gd name="connsiteY45" fmla="*/ 355698 h 598183"/>
                    <a:gd name="connsiteX46" fmla="*/ 374008 w 608155"/>
                    <a:gd name="connsiteY46" fmla="*/ 355698 h 598183"/>
                    <a:gd name="connsiteX47" fmla="*/ 205298 w 608155"/>
                    <a:gd name="connsiteY47" fmla="*/ 286284 h 598183"/>
                    <a:gd name="connsiteX48" fmla="*/ 250467 w 608155"/>
                    <a:gd name="connsiteY48" fmla="*/ 286284 h 598183"/>
                    <a:gd name="connsiteX49" fmla="*/ 280982 w 608155"/>
                    <a:gd name="connsiteY49" fmla="*/ 286284 h 598183"/>
                    <a:gd name="connsiteX50" fmla="*/ 283537 w 608155"/>
                    <a:gd name="connsiteY50" fmla="*/ 286687 h 598183"/>
                    <a:gd name="connsiteX51" fmla="*/ 296711 w 608155"/>
                    <a:gd name="connsiteY51" fmla="*/ 297830 h 598183"/>
                    <a:gd name="connsiteX52" fmla="*/ 304508 w 608155"/>
                    <a:gd name="connsiteY52" fmla="*/ 322804 h 598183"/>
                    <a:gd name="connsiteX53" fmla="*/ 304777 w 608155"/>
                    <a:gd name="connsiteY53" fmla="*/ 322669 h 598183"/>
                    <a:gd name="connsiteX54" fmla="*/ 379654 w 608155"/>
                    <a:gd name="connsiteY54" fmla="*/ 322669 h 598183"/>
                    <a:gd name="connsiteX55" fmla="*/ 413262 w 608155"/>
                    <a:gd name="connsiteY55" fmla="*/ 322669 h 598183"/>
                    <a:gd name="connsiteX56" fmla="*/ 493652 w 608155"/>
                    <a:gd name="connsiteY56" fmla="*/ 322669 h 598183"/>
                    <a:gd name="connsiteX57" fmla="*/ 527932 w 608155"/>
                    <a:gd name="connsiteY57" fmla="*/ 322669 h 598183"/>
                    <a:gd name="connsiteX58" fmla="*/ 581838 w 608155"/>
                    <a:gd name="connsiteY58" fmla="*/ 322669 h 598183"/>
                    <a:gd name="connsiteX59" fmla="*/ 602541 w 608155"/>
                    <a:gd name="connsiteY59" fmla="*/ 332336 h 598183"/>
                    <a:gd name="connsiteX60" fmla="*/ 607514 w 608155"/>
                    <a:gd name="connsiteY60" fmla="*/ 354624 h 598183"/>
                    <a:gd name="connsiteX61" fmla="*/ 588425 w 608155"/>
                    <a:gd name="connsiteY61" fmla="*/ 441359 h 598183"/>
                    <a:gd name="connsiteX62" fmla="*/ 557641 w 608155"/>
                    <a:gd name="connsiteY62" fmla="*/ 466063 h 598183"/>
                    <a:gd name="connsiteX63" fmla="*/ 443912 w 608155"/>
                    <a:gd name="connsiteY63" fmla="*/ 466063 h 598183"/>
                    <a:gd name="connsiteX64" fmla="*/ 387855 w 608155"/>
                    <a:gd name="connsiteY64" fmla="*/ 466063 h 598183"/>
                    <a:gd name="connsiteX65" fmla="*/ 365539 w 608155"/>
                    <a:gd name="connsiteY65" fmla="*/ 466063 h 598183"/>
                    <a:gd name="connsiteX66" fmla="*/ 349542 w 608155"/>
                    <a:gd name="connsiteY66" fmla="*/ 466063 h 598183"/>
                    <a:gd name="connsiteX67" fmla="*/ 354382 w 608155"/>
                    <a:gd name="connsiteY67" fmla="*/ 481369 h 598183"/>
                    <a:gd name="connsiteX68" fmla="*/ 354785 w 608155"/>
                    <a:gd name="connsiteY68" fmla="*/ 482846 h 598183"/>
                    <a:gd name="connsiteX69" fmla="*/ 361103 w 608155"/>
                    <a:gd name="connsiteY69" fmla="*/ 502986 h 598183"/>
                    <a:gd name="connsiteX70" fmla="*/ 390140 w 608155"/>
                    <a:gd name="connsiteY70" fmla="*/ 502986 h 598183"/>
                    <a:gd name="connsiteX71" fmla="*/ 550381 w 608155"/>
                    <a:gd name="connsiteY71" fmla="*/ 502986 h 598183"/>
                    <a:gd name="connsiteX72" fmla="*/ 566916 w 608155"/>
                    <a:gd name="connsiteY72" fmla="*/ 519500 h 598183"/>
                    <a:gd name="connsiteX73" fmla="*/ 550381 w 608155"/>
                    <a:gd name="connsiteY73" fmla="*/ 536015 h 598183"/>
                    <a:gd name="connsiteX74" fmla="*/ 539896 w 608155"/>
                    <a:gd name="connsiteY74" fmla="*/ 536015 h 598183"/>
                    <a:gd name="connsiteX75" fmla="*/ 516236 w 608155"/>
                    <a:gd name="connsiteY75" fmla="*/ 529302 h 598183"/>
                    <a:gd name="connsiteX76" fmla="*/ 492711 w 608155"/>
                    <a:gd name="connsiteY76" fmla="*/ 536015 h 598183"/>
                    <a:gd name="connsiteX77" fmla="*/ 394576 w 608155"/>
                    <a:gd name="connsiteY77" fmla="*/ 536015 h 598183"/>
                    <a:gd name="connsiteX78" fmla="*/ 371051 w 608155"/>
                    <a:gd name="connsiteY78" fmla="*/ 529302 h 598183"/>
                    <a:gd name="connsiteX79" fmla="*/ 347794 w 608155"/>
                    <a:gd name="connsiteY79" fmla="*/ 535880 h 598183"/>
                    <a:gd name="connsiteX80" fmla="*/ 333410 w 608155"/>
                    <a:gd name="connsiteY80" fmla="*/ 524737 h 598183"/>
                    <a:gd name="connsiteX81" fmla="*/ 333276 w 608155"/>
                    <a:gd name="connsiteY81" fmla="*/ 524468 h 598183"/>
                    <a:gd name="connsiteX82" fmla="*/ 328033 w 608155"/>
                    <a:gd name="connsiteY82" fmla="*/ 507685 h 598183"/>
                    <a:gd name="connsiteX83" fmla="*/ 323328 w 608155"/>
                    <a:gd name="connsiteY83" fmla="*/ 492916 h 598183"/>
                    <a:gd name="connsiteX84" fmla="*/ 317144 w 608155"/>
                    <a:gd name="connsiteY84" fmla="*/ 473179 h 598183"/>
                    <a:gd name="connsiteX85" fmla="*/ 283537 w 608155"/>
                    <a:gd name="connsiteY85" fmla="*/ 366171 h 598183"/>
                    <a:gd name="connsiteX86" fmla="*/ 282327 w 608155"/>
                    <a:gd name="connsiteY86" fmla="*/ 362277 h 598183"/>
                    <a:gd name="connsiteX87" fmla="*/ 271841 w 608155"/>
                    <a:gd name="connsiteY87" fmla="*/ 329248 h 598183"/>
                    <a:gd name="connsiteX88" fmla="*/ 268749 w 608155"/>
                    <a:gd name="connsiteY88" fmla="*/ 319313 h 598183"/>
                    <a:gd name="connsiteX89" fmla="*/ 250467 w 608155"/>
                    <a:gd name="connsiteY89" fmla="*/ 319313 h 598183"/>
                    <a:gd name="connsiteX90" fmla="*/ 205298 w 608155"/>
                    <a:gd name="connsiteY90" fmla="*/ 319313 h 598183"/>
                    <a:gd name="connsiteX91" fmla="*/ 188763 w 608155"/>
                    <a:gd name="connsiteY91" fmla="*/ 302798 h 598183"/>
                    <a:gd name="connsiteX92" fmla="*/ 205298 w 608155"/>
                    <a:gd name="connsiteY92" fmla="*/ 286284 h 598183"/>
                    <a:gd name="connsiteX93" fmla="*/ 41943 w 608155"/>
                    <a:gd name="connsiteY93" fmla="*/ 203770 h 598183"/>
                    <a:gd name="connsiteX94" fmla="*/ 33070 w 608155"/>
                    <a:gd name="connsiteY94" fmla="*/ 266592 h 598183"/>
                    <a:gd name="connsiteX95" fmla="*/ 41943 w 608155"/>
                    <a:gd name="connsiteY95" fmla="*/ 329281 h 598183"/>
                    <a:gd name="connsiteX96" fmla="*/ 121526 w 608155"/>
                    <a:gd name="connsiteY96" fmla="*/ 329281 h 598183"/>
                    <a:gd name="connsiteX97" fmla="*/ 117359 w 608155"/>
                    <a:gd name="connsiteY97" fmla="*/ 266592 h 598183"/>
                    <a:gd name="connsiteX98" fmla="*/ 121526 w 608155"/>
                    <a:gd name="connsiteY98" fmla="*/ 203770 h 598183"/>
                    <a:gd name="connsiteX99" fmla="*/ 352614 w 608155"/>
                    <a:gd name="connsiteY99" fmla="*/ 49399 h 598183"/>
                    <a:gd name="connsiteX100" fmla="*/ 406656 w 608155"/>
                    <a:gd name="connsiteY100" fmla="*/ 170882 h 598183"/>
                    <a:gd name="connsiteX101" fmla="*/ 480055 w 608155"/>
                    <a:gd name="connsiteY101" fmla="*/ 170882 h 598183"/>
                    <a:gd name="connsiteX102" fmla="*/ 352614 w 608155"/>
                    <a:gd name="connsiteY102" fmla="*/ 49399 h 598183"/>
                    <a:gd name="connsiteX103" fmla="*/ 181348 w 608155"/>
                    <a:gd name="connsiteY103" fmla="*/ 49399 h 598183"/>
                    <a:gd name="connsiteX104" fmla="*/ 53907 w 608155"/>
                    <a:gd name="connsiteY104" fmla="*/ 170882 h 598183"/>
                    <a:gd name="connsiteX105" fmla="*/ 127172 w 608155"/>
                    <a:gd name="connsiteY105" fmla="*/ 170882 h 598183"/>
                    <a:gd name="connsiteX106" fmla="*/ 181348 w 608155"/>
                    <a:gd name="connsiteY106" fmla="*/ 49399 h 598183"/>
                    <a:gd name="connsiteX107" fmla="*/ 283516 w 608155"/>
                    <a:gd name="connsiteY107" fmla="*/ 39062 h 598183"/>
                    <a:gd name="connsiteX108" fmla="*/ 283516 w 608155"/>
                    <a:gd name="connsiteY108" fmla="*/ 170882 h 598183"/>
                    <a:gd name="connsiteX109" fmla="*/ 372376 w 608155"/>
                    <a:gd name="connsiteY109" fmla="*/ 170882 h 598183"/>
                    <a:gd name="connsiteX110" fmla="*/ 283516 w 608155"/>
                    <a:gd name="connsiteY110" fmla="*/ 39062 h 598183"/>
                    <a:gd name="connsiteX111" fmla="*/ 250446 w 608155"/>
                    <a:gd name="connsiteY111" fmla="*/ 39062 h 598183"/>
                    <a:gd name="connsiteX112" fmla="*/ 161452 w 608155"/>
                    <a:gd name="connsiteY112" fmla="*/ 170882 h 598183"/>
                    <a:gd name="connsiteX113" fmla="*/ 250446 w 608155"/>
                    <a:gd name="connsiteY113" fmla="*/ 170882 h 598183"/>
                    <a:gd name="connsiteX114" fmla="*/ 266981 w 608155"/>
                    <a:gd name="connsiteY114" fmla="*/ 0 h 598183"/>
                    <a:gd name="connsiteX115" fmla="*/ 533828 w 608155"/>
                    <a:gd name="connsiteY115" fmla="*/ 266592 h 598183"/>
                    <a:gd name="connsiteX116" fmla="*/ 531677 w 608155"/>
                    <a:gd name="connsiteY116" fmla="*/ 300688 h 598183"/>
                    <a:gd name="connsiteX117" fmla="*/ 498069 w 608155"/>
                    <a:gd name="connsiteY117" fmla="*/ 300688 h 598183"/>
                    <a:gd name="connsiteX118" fmla="*/ 500758 w 608155"/>
                    <a:gd name="connsiteY118" fmla="*/ 266592 h 598183"/>
                    <a:gd name="connsiteX119" fmla="*/ 492020 w 608155"/>
                    <a:gd name="connsiteY119" fmla="*/ 203770 h 598183"/>
                    <a:gd name="connsiteX120" fmla="*/ 412436 w 608155"/>
                    <a:gd name="connsiteY120" fmla="*/ 203770 h 598183"/>
                    <a:gd name="connsiteX121" fmla="*/ 416469 w 608155"/>
                    <a:gd name="connsiteY121" fmla="*/ 266592 h 598183"/>
                    <a:gd name="connsiteX122" fmla="*/ 415259 w 608155"/>
                    <a:gd name="connsiteY122" fmla="*/ 300688 h 598183"/>
                    <a:gd name="connsiteX123" fmla="*/ 381920 w 608155"/>
                    <a:gd name="connsiteY123" fmla="*/ 300688 h 598183"/>
                    <a:gd name="connsiteX124" fmla="*/ 383399 w 608155"/>
                    <a:gd name="connsiteY124" fmla="*/ 266592 h 598183"/>
                    <a:gd name="connsiteX125" fmla="*/ 378828 w 608155"/>
                    <a:gd name="connsiteY125" fmla="*/ 203770 h 598183"/>
                    <a:gd name="connsiteX126" fmla="*/ 283516 w 608155"/>
                    <a:gd name="connsiteY126" fmla="*/ 203770 h 598183"/>
                    <a:gd name="connsiteX127" fmla="*/ 283516 w 608155"/>
                    <a:gd name="connsiteY127" fmla="*/ 264579 h 598183"/>
                    <a:gd name="connsiteX128" fmla="*/ 280962 w 608155"/>
                    <a:gd name="connsiteY128" fmla="*/ 264310 h 598183"/>
                    <a:gd name="connsiteX129" fmla="*/ 250446 w 608155"/>
                    <a:gd name="connsiteY129" fmla="*/ 264310 h 598183"/>
                    <a:gd name="connsiteX130" fmla="*/ 250446 w 608155"/>
                    <a:gd name="connsiteY130" fmla="*/ 203770 h 598183"/>
                    <a:gd name="connsiteX131" fmla="*/ 155134 w 608155"/>
                    <a:gd name="connsiteY131" fmla="*/ 203770 h 598183"/>
                    <a:gd name="connsiteX132" fmla="*/ 150429 w 608155"/>
                    <a:gd name="connsiteY132" fmla="*/ 266592 h 598183"/>
                    <a:gd name="connsiteX133" fmla="*/ 155134 w 608155"/>
                    <a:gd name="connsiteY133" fmla="*/ 329281 h 598183"/>
                    <a:gd name="connsiteX134" fmla="*/ 177315 w 608155"/>
                    <a:gd name="connsiteY134" fmla="*/ 329281 h 598183"/>
                    <a:gd name="connsiteX135" fmla="*/ 205277 w 608155"/>
                    <a:gd name="connsiteY135" fmla="*/ 341362 h 598183"/>
                    <a:gd name="connsiteX136" fmla="*/ 250446 w 608155"/>
                    <a:gd name="connsiteY136" fmla="*/ 341362 h 598183"/>
                    <a:gd name="connsiteX137" fmla="*/ 252597 w 608155"/>
                    <a:gd name="connsiteY137" fmla="*/ 341362 h 598183"/>
                    <a:gd name="connsiteX138" fmla="*/ 259184 w 608155"/>
                    <a:gd name="connsiteY138" fmla="*/ 362303 h 598183"/>
                    <a:gd name="connsiteX139" fmla="*/ 283516 w 608155"/>
                    <a:gd name="connsiteY139" fmla="*/ 439623 h 598183"/>
                    <a:gd name="connsiteX140" fmla="*/ 283516 w 608155"/>
                    <a:gd name="connsiteY140" fmla="*/ 494122 h 598183"/>
                    <a:gd name="connsiteX141" fmla="*/ 298573 w 608155"/>
                    <a:gd name="connsiteY141" fmla="*/ 487545 h 598183"/>
                    <a:gd name="connsiteX142" fmla="*/ 301530 w 608155"/>
                    <a:gd name="connsiteY142" fmla="*/ 497210 h 598183"/>
                    <a:gd name="connsiteX143" fmla="*/ 308655 w 608155"/>
                    <a:gd name="connsiteY143" fmla="*/ 519761 h 598183"/>
                    <a:gd name="connsiteX144" fmla="*/ 311613 w 608155"/>
                    <a:gd name="connsiteY144" fmla="*/ 529292 h 598183"/>
                    <a:gd name="connsiteX145" fmla="*/ 266981 w 608155"/>
                    <a:gd name="connsiteY145" fmla="*/ 533051 h 598183"/>
                    <a:gd name="connsiteX146" fmla="*/ 0 w 608155"/>
                    <a:gd name="connsiteY146" fmla="*/ 266592 h 598183"/>
                    <a:gd name="connsiteX147" fmla="*/ 266981 w 608155"/>
                    <a:gd name="connsiteY147" fmla="*/ 0 h 5981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</a:cxnLst>
                  <a:rect l="l" t="t" r="r" b="b"/>
                  <a:pathLst>
                    <a:path w="608155" h="598183">
                      <a:moveTo>
                        <a:pt x="516225" y="551328"/>
                      </a:moveTo>
                      <a:cubicBezTo>
                        <a:pt x="522679" y="551328"/>
                        <a:pt x="528461" y="553879"/>
                        <a:pt x="532763" y="558041"/>
                      </a:cubicBezTo>
                      <a:cubicBezTo>
                        <a:pt x="537066" y="562337"/>
                        <a:pt x="539755" y="568244"/>
                        <a:pt x="539755" y="574689"/>
                      </a:cubicBezTo>
                      <a:cubicBezTo>
                        <a:pt x="539755" y="587711"/>
                        <a:pt x="529267" y="598183"/>
                        <a:pt x="516225" y="598183"/>
                      </a:cubicBezTo>
                      <a:cubicBezTo>
                        <a:pt x="503317" y="598183"/>
                        <a:pt x="492829" y="587711"/>
                        <a:pt x="492829" y="574689"/>
                      </a:cubicBezTo>
                      <a:cubicBezTo>
                        <a:pt x="492829" y="568244"/>
                        <a:pt x="495518" y="562337"/>
                        <a:pt x="499821" y="558041"/>
                      </a:cubicBezTo>
                      <a:cubicBezTo>
                        <a:pt x="503989" y="553879"/>
                        <a:pt x="509771" y="551328"/>
                        <a:pt x="516225" y="551328"/>
                      </a:cubicBezTo>
                      <a:close/>
                      <a:moveTo>
                        <a:pt x="370931" y="551328"/>
                      </a:moveTo>
                      <a:cubicBezTo>
                        <a:pt x="377385" y="551328"/>
                        <a:pt x="383301" y="553879"/>
                        <a:pt x="387469" y="558041"/>
                      </a:cubicBezTo>
                      <a:cubicBezTo>
                        <a:pt x="391772" y="562337"/>
                        <a:pt x="394461" y="568244"/>
                        <a:pt x="394461" y="574689"/>
                      </a:cubicBezTo>
                      <a:cubicBezTo>
                        <a:pt x="394461" y="587711"/>
                        <a:pt x="383973" y="598183"/>
                        <a:pt x="370931" y="598183"/>
                      </a:cubicBezTo>
                      <a:cubicBezTo>
                        <a:pt x="358023" y="598183"/>
                        <a:pt x="347535" y="587711"/>
                        <a:pt x="347535" y="574689"/>
                      </a:cubicBezTo>
                      <a:cubicBezTo>
                        <a:pt x="347535" y="568244"/>
                        <a:pt x="350224" y="562337"/>
                        <a:pt x="354527" y="558041"/>
                      </a:cubicBezTo>
                      <a:cubicBezTo>
                        <a:pt x="358695" y="553879"/>
                        <a:pt x="364611" y="551328"/>
                        <a:pt x="370931" y="551328"/>
                      </a:cubicBezTo>
                      <a:close/>
                      <a:moveTo>
                        <a:pt x="333679" y="410881"/>
                      </a:moveTo>
                      <a:lnTo>
                        <a:pt x="340938" y="432900"/>
                      </a:lnTo>
                      <a:cubicBezTo>
                        <a:pt x="341073" y="432900"/>
                        <a:pt x="341476" y="433034"/>
                        <a:pt x="341611" y="433169"/>
                      </a:cubicBezTo>
                      <a:lnTo>
                        <a:pt x="346316" y="433169"/>
                      </a:lnTo>
                      <a:lnTo>
                        <a:pt x="383553" y="433169"/>
                      </a:lnTo>
                      <a:lnTo>
                        <a:pt x="430604" y="433034"/>
                      </a:lnTo>
                      <a:lnTo>
                        <a:pt x="475369" y="433034"/>
                      </a:lnTo>
                      <a:lnTo>
                        <a:pt x="556565" y="433034"/>
                      </a:lnTo>
                      <a:lnTo>
                        <a:pt x="561405" y="410881"/>
                      </a:lnTo>
                      <a:lnTo>
                        <a:pt x="491366" y="410881"/>
                      </a:lnTo>
                      <a:lnTo>
                        <a:pt x="450499" y="410881"/>
                      </a:lnTo>
                      <a:lnTo>
                        <a:pt x="392694" y="410881"/>
                      </a:lnTo>
                      <a:lnTo>
                        <a:pt x="356936" y="410881"/>
                      </a:lnTo>
                      <a:close/>
                      <a:moveTo>
                        <a:pt x="161452" y="362303"/>
                      </a:moveTo>
                      <a:cubicBezTo>
                        <a:pt x="177987" y="431166"/>
                        <a:pt x="211327" y="482578"/>
                        <a:pt x="250446" y="494122"/>
                      </a:cubicBezTo>
                      <a:lnTo>
                        <a:pt x="250446" y="362303"/>
                      </a:lnTo>
                      <a:close/>
                      <a:moveTo>
                        <a:pt x="53907" y="362303"/>
                      </a:moveTo>
                      <a:cubicBezTo>
                        <a:pt x="78777" y="417474"/>
                        <a:pt x="124618" y="461235"/>
                        <a:pt x="181348" y="483652"/>
                      </a:cubicBezTo>
                      <a:cubicBezTo>
                        <a:pt x="156882" y="454120"/>
                        <a:pt x="137927" y="412104"/>
                        <a:pt x="127172" y="362303"/>
                      </a:cubicBezTo>
                      <a:close/>
                      <a:moveTo>
                        <a:pt x="315531" y="355698"/>
                      </a:moveTo>
                      <a:lnTo>
                        <a:pt x="317682" y="362277"/>
                      </a:lnTo>
                      <a:lnTo>
                        <a:pt x="322790" y="377852"/>
                      </a:lnTo>
                      <a:lnTo>
                        <a:pt x="368362" y="377852"/>
                      </a:lnTo>
                      <a:lnTo>
                        <a:pt x="402911" y="377852"/>
                      </a:lnTo>
                      <a:lnTo>
                        <a:pt x="472546" y="377852"/>
                      </a:lnTo>
                      <a:lnTo>
                        <a:pt x="509514" y="377852"/>
                      </a:lnTo>
                      <a:lnTo>
                        <a:pt x="568530" y="377852"/>
                      </a:lnTo>
                      <a:lnTo>
                        <a:pt x="573369" y="355698"/>
                      </a:lnTo>
                      <a:lnTo>
                        <a:pt x="518521" y="355698"/>
                      </a:lnTo>
                      <a:lnTo>
                        <a:pt x="513279" y="355698"/>
                      </a:lnTo>
                      <a:lnTo>
                        <a:pt x="483032" y="355698"/>
                      </a:lnTo>
                      <a:lnTo>
                        <a:pt x="408019" y="355698"/>
                      </a:lnTo>
                      <a:lnTo>
                        <a:pt x="374008" y="355698"/>
                      </a:lnTo>
                      <a:close/>
                      <a:moveTo>
                        <a:pt x="205298" y="286284"/>
                      </a:moveTo>
                      <a:lnTo>
                        <a:pt x="250467" y="286284"/>
                      </a:lnTo>
                      <a:lnTo>
                        <a:pt x="280982" y="286284"/>
                      </a:lnTo>
                      <a:cubicBezTo>
                        <a:pt x="281789" y="286284"/>
                        <a:pt x="282596" y="286552"/>
                        <a:pt x="283537" y="286687"/>
                      </a:cubicBezTo>
                      <a:cubicBezTo>
                        <a:pt x="289586" y="287761"/>
                        <a:pt x="294829" y="291923"/>
                        <a:pt x="296711" y="297830"/>
                      </a:cubicBezTo>
                      <a:lnTo>
                        <a:pt x="304508" y="322804"/>
                      </a:lnTo>
                      <a:cubicBezTo>
                        <a:pt x="304642" y="322804"/>
                        <a:pt x="304642" y="322669"/>
                        <a:pt x="304777" y="322669"/>
                      </a:cubicBezTo>
                      <a:lnTo>
                        <a:pt x="379654" y="322669"/>
                      </a:lnTo>
                      <a:lnTo>
                        <a:pt x="413262" y="322669"/>
                      </a:lnTo>
                      <a:lnTo>
                        <a:pt x="493652" y="322669"/>
                      </a:lnTo>
                      <a:lnTo>
                        <a:pt x="527932" y="322669"/>
                      </a:lnTo>
                      <a:lnTo>
                        <a:pt x="581838" y="322669"/>
                      </a:lnTo>
                      <a:cubicBezTo>
                        <a:pt x="590038" y="322669"/>
                        <a:pt x="597567" y="326160"/>
                        <a:pt x="602541" y="332336"/>
                      </a:cubicBezTo>
                      <a:cubicBezTo>
                        <a:pt x="607380" y="338512"/>
                        <a:pt x="609262" y="346568"/>
                        <a:pt x="607514" y="354624"/>
                      </a:cubicBezTo>
                      <a:lnTo>
                        <a:pt x="588425" y="441359"/>
                      </a:lnTo>
                      <a:cubicBezTo>
                        <a:pt x="585333" y="455456"/>
                        <a:pt x="572025" y="466063"/>
                        <a:pt x="557641" y="466063"/>
                      </a:cubicBezTo>
                      <a:lnTo>
                        <a:pt x="443912" y="466063"/>
                      </a:lnTo>
                      <a:lnTo>
                        <a:pt x="387855" y="466063"/>
                      </a:lnTo>
                      <a:lnTo>
                        <a:pt x="365539" y="466063"/>
                      </a:lnTo>
                      <a:lnTo>
                        <a:pt x="349542" y="466063"/>
                      </a:lnTo>
                      <a:lnTo>
                        <a:pt x="354382" y="481369"/>
                      </a:lnTo>
                      <a:lnTo>
                        <a:pt x="354785" y="482846"/>
                      </a:lnTo>
                      <a:lnTo>
                        <a:pt x="361103" y="502986"/>
                      </a:lnTo>
                      <a:lnTo>
                        <a:pt x="390140" y="502986"/>
                      </a:lnTo>
                      <a:lnTo>
                        <a:pt x="550381" y="502986"/>
                      </a:lnTo>
                      <a:cubicBezTo>
                        <a:pt x="559523" y="502986"/>
                        <a:pt x="566916" y="510370"/>
                        <a:pt x="566916" y="519500"/>
                      </a:cubicBezTo>
                      <a:cubicBezTo>
                        <a:pt x="566916" y="528630"/>
                        <a:pt x="559523" y="536015"/>
                        <a:pt x="550381" y="536015"/>
                      </a:cubicBezTo>
                      <a:lnTo>
                        <a:pt x="539896" y="536015"/>
                      </a:lnTo>
                      <a:cubicBezTo>
                        <a:pt x="533040" y="531853"/>
                        <a:pt x="524974" y="529302"/>
                        <a:pt x="516236" y="529302"/>
                      </a:cubicBezTo>
                      <a:cubicBezTo>
                        <a:pt x="507632" y="529302"/>
                        <a:pt x="499567" y="531853"/>
                        <a:pt x="492711" y="536015"/>
                      </a:cubicBezTo>
                      <a:lnTo>
                        <a:pt x="394576" y="536015"/>
                      </a:lnTo>
                      <a:cubicBezTo>
                        <a:pt x="387720" y="531853"/>
                        <a:pt x="379654" y="529302"/>
                        <a:pt x="371051" y="529302"/>
                      </a:cubicBezTo>
                      <a:cubicBezTo>
                        <a:pt x="362447" y="529302"/>
                        <a:pt x="354650" y="531718"/>
                        <a:pt x="347794" y="535880"/>
                      </a:cubicBezTo>
                      <a:cubicBezTo>
                        <a:pt x="341207" y="535343"/>
                        <a:pt x="335561" y="531047"/>
                        <a:pt x="333410" y="524737"/>
                      </a:cubicBezTo>
                      <a:cubicBezTo>
                        <a:pt x="333410" y="524602"/>
                        <a:pt x="333276" y="524602"/>
                        <a:pt x="333276" y="524468"/>
                      </a:cubicBezTo>
                      <a:lnTo>
                        <a:pt x="328033" y="507685"/>
                      </a:lnTo>
                      <a:lnTo>
                        <a:pt x="323328" y="492916"/>
                      </a:lnTo>
                      <a:lnTo>
                        <a:pt x="317144" y="473179"/>
                      </a:lnTo>
                      <a:lnTo>
                        <a:pt x="283537" y="366171"/>
                      </a:lnTo>
                      <a:lnTo>
                        <a:pt x="282327" y="362277"/>
                      </a:lnTo>
                      <a:lnTo>
                        <a:pt x="271841" y="329248"/>
                      </a:lnTo>
                      <a:lnTo>
                        <a:pt x="268749" y="319313"/>
                      </a:lnTo>
                      <a:lnTo>
                        <a:pt x="250467" y="319313"/>
                      </a:lnTo>
                      <a:lnTo>
                        <a:pt x="205298" y="319313"/>
                      </a:lnTo>
                      <a:cubicBezTo>
                        <a:pt x="196157" y="319313"/>
                        <a:pt x="188763" y="311928"/>
                        <a:pt x="188763" y="302798"/>
                      </a:cubicBezTo>
                      <a:cubicBezTo>
                        <a:pt x="188763" y="293668"/>
                        <a:pt x="196157" y="286284"/>
                        <a:pt x="205298" y="286284"/>
                      </a:cubicBezTo>
                      <a:close/>
                      <a:moveTo>
                        <a:pt x="41943" y="203770"/>
                      </a:moveTo>
                      <a:cubicBezTo>
                        <a:pt x="36297" y="223771"/>
                        <a:pt x="33070" y="244846"/>
                        <a:pt x="33070" y="266592"/>
                      </a:cubicBezTo>
                      <a:cubicBezTo>
                        <a:pt x="33070" y="288339"/>
                        <a:pt x="36297" y="309279"/>
                        <a:pt x="41943" y="329281"/>
                      </a:cubicBezTo>
                      <a:lnTo>
                        <a:pt x="121526" y="329281"/>
                      </a:lnTo>
                      <a:cubicBezTo>
                        <a:pt x="118838" y="309279"/>
                        <a:pt x="117359" y="288204"/>
                        <a:pt x="117359" y="266592"/>
                      </a:cubicBezTo>
                      <a:cubicBezTo>
                        <a:pt x="117359" y="244846"/>
                        <a:pt x="118838" y="223905"/>
                        <a:pt x="121526" y="203770"/>
                      </a:cubicBezTo>
                      <a:close/>
                      <a:moveTo>
                        <a:pt x="352614" y="49399"/>
                      </a:moveTo>
                      <a:cubicBezTo>
                        <a:pt x="376946" y="78930"/>
                        <a:pt x="395901" y="121081"/>
                        <a:pt x="406656" y="170882"/>
                      </a:cubicBezTo>
                      <a:lnTo>
                        <a:pt x="480055" y="170882"/>
                      </a:lnTo>
                      <a:cubicBezTo>
                        <a:pt x="455051" y="115577"/>
                        <a:pt x="409210" y="71816"/>
                        <a:pt x="352614" y="49399"/>
                      </a:cubicBezTo>
                      <a:close/>
                      <a:moveTo>
                        <a:pt x="181348" y="49399"/>
                      </a:moveTo>
                      <a:cubicBezTo>
                        <a:pt x="124618" y="71816"/>
                        <a:pt x="78777" y="115577"/>
                        <a:pt x="53907" y="170882"/>
                      </a:cubicBezTo>
                      <a:lnTo>
                        <a:pt x="127172" y="170882"/>
                      </a:lnTo>
                      <a:cubicBezTo>
                        <a:pt x="137927" y="121081"/>
                        <a:pt x="156882" y="78930"/>
                        <a:pt x="181348" y="49399"/>
                      </a:cubicBezTo>
                      <a:close/>
                      <a:moveTo>
                        <a:pt x="283516" y="39062"/>
                      </a:moveTo>
                      <a:lnTo>
                        <a:pt x="283516" y="170882"/>
                      </a:lnTo>
                      <a:lnTo>
                        <a:pt x="372376" y="170882"/>
                      </a:lnTo>
                      <a:cubicBezTo>
                        <a:pt x="355841" y="101885"/>
                        <a:pt x="322501" y="50607"/>
                        <a:pt x="283516" y="39062"/>
                      </a:cubicBezTo>
                      <a:close/>
                      <a:moveTo>
                        <a:pt x="250446" y="39062"/>
                      </a:moveTo>
                      <a:cubicBezTo>
                        <a:pt x="211327" y="50607"/>
                        <a:pt x="177987" y="101885"/>
                        <a:pt x="161452" y="170882"/>
                      </a:cubicBezTo>
                      <a:lnTo>
                        <a:pt x="250446" y="170882"/>
                      </a:lnTo>
                      <a:close/>
                      <a:moveTo>
                        <a:pt x="266981" y="0"/>
                      </a:moveTo>
                      <a:cubicBezTo>
                        <a:pt x="414318" y="0"/>
                        <a:pt x="533828" y="119336"/>
                        <a:pt x="533828" y="266592"/>
                      </a:cubicBezTo>
                      <a:cubicBezTo>
                        <a:pt x="533828" y="278137"/>
                        <a:pt x="533021" y="289547"/>
                        <a:pt x="531677" y="300688"/>
                      </a:cubicBezTo>
                      <a:lnTo>
                        <a:pt x="498069" y="300688"/>
                      </a:lnTo>
                      <a:cubicBezTo>
                        <a:pt x="499682" y="289547"/>
                        <a:pt x="500758" y="278137"/>
                        <a:pt x="500758" y="266592"/>
                      </a:cubicBezTo>
                      <a:cubicBezTo>
                        <a:pt x="500758" y="244846"/>
                        <a:pt x="497666" y="223771"/>
                        <a:pt x="492020" y="203770"/>
                      </a:cubicBezTo>
                      <a:lnTo>
                        <a:pt x="412436" y="203770"/>
                      </a:lnTo>
                      <a:cubicBezTo>
                        <a:pt x="415125" y="223905"/>
                        <a:pt x="416469" y="244846"/>
                        <a:pt x="416469" y="266592"/>
                      </a:cubicBezTo>
                      <a:cubicBezTo>
                        <a:pt x="416469" y="278137"/>
                        <a:pt x="416066" y="289547"/>
                        <a:pt x="415259" y="300688"/>
                      </a:cubicBezTo>
                      <a:lnTo>
                        <a:pt x="381920" y="300688"/>
                      </a:lnTo>
                      <a:cubicBezTo>
                        <a:pt x="382861" y="289547"/>
                        <a:pt x="383399" y="278137"/>
                        <a:pt x="383399" y="266592"/>
                      </a:cubicBezTo>
                      <a:cubicBezTo>
                        <a:pt x="383399" y="244846"/>
                        <a:pt x="381786" y="223905"/>
                        <a:pt x="378828" y="203770"/>
                      </a:cubicBezTo>
                      <a:lnTo>
                        <a:pt x="283516" y="203770"/>
                      </a:lnTo>
                      <a:lnTo>
                        <a:pt x="283516" y="264579"/>
                      </a:lnTo>
                      <a:cubicBezTo>
                        <a:pt x="282575" y="264445"/>
                        <a:pt x="281769" y="264310"/>
                        <a:pt x="280962" y="264310"/>
                      </a:cubicBezTo>
                      <a:lnTo>
                        <a:pt x="250446" y="264310"/>
                      </a:lnTo>
                      <a:lnTo>
                        <a:pt x="250446" y="203770"/>
                      </a:lnTo>
                      <a:lnTo>
                        <a:pt x="155134" y="203770"/>
                      </a:lnTo>
                      <a:cubicBezTo>
                        <a:pt x="152177" y="223905"/>
                        <a:pt x="150429" y="244846"/>
                        <a:pt x="150429" y="266592"/>
                      </a:cubicBezTo>
                      <a:cubicBezTo>
                        <a:pt x="150429" y="288204"/>
                        <a:pt x="152177" y="309279"/>
                        <a:pt x="155134" y="329281"/>
                      </a:cubicBezTo>
                      <a:lnTo>
                        <a:pt x="177315" y="329281"/>
                      </a:lnTo>
                      <a:cubicBezTo>
                        <a:pt x="184306" y="336664"/>
                        <a:pt x="194254" y="341362"/>
                        <a:pt x="205277" y="341362"/>
                      </a:cubicBezTo>
                      <a:lnTo>
                        <a:pt x="250446" y="341362"/>
                      </a:lnTo>
                      <a:lnTo>
                        <a:pt x="252597" y="341362"/>
                      </a:lnTo>
                      <a:lnTo>
                        <a:pt x="259184" y="362303"/>
                      </a:lnTo>
                      <a:lnTo>
                        <a:pt x="283516" y="439623"/>
                      </a:lnTo>
                      <a:lnTo>
                        <a:pt x="283516" y="494122"/>
                      </a:lnTo>
                      <a:cubicBezTo>
                        <a:pt x="288625" y="492512"/>
                        <a:pt x="293599" y="490364"/>
                        <a:pt x="298573" y="487545"/>
                      </a:cubicBezTo>
                      <a:lnTo>
                        <a:pt x="301530" y="497210"/>
                      </a:lnTo>
                      <a:lnTo>
                        <a:pt x="308655" y="519761"/>
                      </a:lnTo>
                      <a:lnTo>
                        <a:pt x="311613" y="529292"/>
                      </a:lnTo>
                      <a:cubicBezTo>
                        <a:pt x="297094" y="531708"/>
                        <a:pt x="282172" y="533051"/>
                        <a:pt x="266981" y="533051"/>
                      </a:cubicBezTo>
                      <a:cubicBezTo>
                        <a:pt x="119510" y="533051"/>
                        <a:pt x="0" y="413715"/>
                        <a:pt x="0" y="266592"/>
                      </a:cubicBezTo>
                      <a:cubicBezTo>
                        <a:pt x="0" y="119336"/>
                        <a:pt x="119510" y="0"/>
                        <a:pt x="26698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5" name="组合 14"/>
              <p:cNvGrpSpPr/>
              <p:nvPr/>
            </p:nvGrpSpPr>
            <p:grpSpPr>
              <a:xfrm>
                <a:off x="8441593" y="2309636"/>
                <a:ext cx="3035956" cy="1050088"/>
                <a:chOff x="8441593" y="2309636"/>
                <a:chExt cx="3035956" cy="1050088"/>
              </a:xfrm>
            </p:grpSpPr>
            <p:sp>
              <p:nvSpPr>
                <p:cNvPr id="16" name="文本框 15"/>
                <p:cNvSpPr txBox="1"/>
                <p:nvPr/>
              </p:nvSpPr>
              <p:spPr>
                <a:xfrm>
                  <a:off x="8441593" y="2734806"/>
                  <a:ext cx="3035956" cy="62491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buSzPct val="25000"/>
                  </a:pPr>
                  <a:r>
                    <a:rPr lang="en-US" sz="1200" dirty="0">
                      <a:cs typeface="+mn-ea"/>
                      <a:sym typeface="+mn-lt"/>
                    </a:rPr>
                    <a:t>Copy paste fonts. Choose the only option to retain text.…</a:t>
                  </a:r>
                  <a:r>
                    <a:rPr lang="de-DE" sz="1200" dirty="0">
                      <a:cs typeface="+mn-ea"/>
                      <a:sym typeface="+mn-lt"/>
                    </a:rPr>
                    <a:t>.</a:t>
                  </a:r>
                  <a:endParaRPr lang="de-DE" sz="12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7" name="矩形 16"/>
                <p:cNvSpPr/>
                <p:nvPr/>
              </p:nvSpPr>
              <p:spPr>
                <a:xfrm>
                  <a:off x="8441593" y="2309636"/>
                  <a:ext cx="3035956" cy="425170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研究方法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cxnSp>
          <p:nvCxnSpPr>
            <p:cNvPr id="13" name="直接连接符 12"/>
            <p:cNvCxnSpPr/>
            <p:nvPr/>
          </p:nvCxnSpPr>
          <p:spPr>
            <a:xfrm>
              <a:off x="8532891" y="4469137"/>
              <a:ext cx="286472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方法可行性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845302"/>
            <a:ext cx="10858500" cy="3573797"/>
            <a:chOff x="660400" y="1845300"/>
            <a:chExt cx="10858500" cy="3573797"/>
          </a:xfrm>
        </p:grpSpPr>
        <p:grpSp>
          <p:nvGrpSpPr>
            <p:cNvPr id="6" name="组合 5"/>
            <p:cNvGrpSpPr/>
            <p:nvPr/>
          </p:nvGrpSpPr>
          <p:grpSpPr>
            <a:xfrm>
              <a:off x="4273549" y="1845300"/>
              <a:ext cx="3632199" cy="3573797"/>
              <a:chOff x="4168775" y="1840299"/>
              <a:chExt cx="3583239" cy="3525624"/>
            </a:xfrm>
            <a:solidFill>
              <a:schemeClr val="bg1">
                <a:lumMod val="95000"/>
              </a:schemeClr>
            </a:solidFill>
          </p:grpSpPr>
          <p:sp>
            <p:nvSpPr>
              <p:cNvPr id="18" name="任意多边形: 形状 17"/>
              <p:cNvSpPr/>
              <p:nvPr/>
            </p:nvSpPr>
            <p:spPr bwMode="auto">
              <a:xfrm>
                <a:off x="6417592" y="4884564"/>
                <a:ext cx="721108" cy="477642"/>
              </a:xfrm>
              <a:custGeom>
                <a:avLst/>
                <a:gdLst>
                  <a:gd name="T0" fmla="*/ 1544 w 1710"/>
                  <a:gd name="T1" fmla="*/ 0 h 1133"/>
                  <a:gd name="T2" fmla="*/ 297 w 1710"/>
                  <a:gd name="T3" fmla="*/ 735 h 1133"/>
                  <a:gd name="T4" fmla="*/ 380 w 1710"/>
                  <a:gd name="T5" fmla="*/ 581 h 1133"/>
                  <a:gd name="T6" fmla="*/ 173 w 1710"/>
                  <a:gd name="T7" fmla="*/ 642 h 1133"/>
                  <a:gd name="T8" fmla="*/ 0 w 1710"/>
                  <a:gd name="T9" fmla="*/ 960 h 1133"/>
                  <a:gd name="T10" fmla="*/ 317 w 1710"/>
                  <a:gd name="T11" fmla="*/ 1132 h 1133"/>
                  <a:gd name="T12" fmla="*/ 525 w 1710"/>
                  <a:gd name="T13" fmla="*/ 1071 h 1133"/>
                  <a:gd name="T14" fmla="*/ 358 w 1710"/>
                  <a:gd name="T15" fmla="*/ 980 h 1133"/>
                  <a:gd name="T16" fmla="*/ 1709 w 1710"/>
                  <a:gd name="T17" fmla="*/ 189 h 1133"/>
                  <a:gd name="T18" fmla="*/ 1544 w 1710"/>
                  <a:gd name="T19" fmla="*/ 0 h 1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10" h="1133">
                    <a:moveTo>
                      <a:pt x="1544" y="0"/>
                    </a:moveTo>
                    <a:cubicBezTo>
                      <a:pt x="1180" y="318"/>
                      <a:pt x="752" y="570"/>
                      <a:pt x="297" y="735"/>
                    </a:cubicBezTo>
                    <a:lnTo>
                      <a:pt x="380" y="581"/>
                    </a:lnTo>
                    <a:lnTo>
                      <a:pt x="173" y="642"/>
                    </a:lnTo>
                    <a:lnTo>
                      <a:pt x="0" y="960"/>
                    </a:lnTo>
                    <a:lnTo>
                      <a:pt x="317" y="1132"/>
                    </a:lnTo>
                    <a:lnTo>
                      <a:pt x="525" y="1071"/>
                    </a:lnTo>
                    <a:lnTo>
                      <a:pt x="358" y="980"/>
                    </a:lnTo>
                    <a:cubicBezTo>
                      <a:pt x="851" y="804"/>
                      <a:pt x="1316" y="533"/>
                      <a:pt x="1709" y="189"/>
                    </a:cubicBezTo>
                    <a:lnTo>
                      <a:pt x="1544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19" name="任意多边形: 形状 18"/>
              <p:cNvSpPr/>
              <p:nvPr/>
            </p:nvSpPr>
            <p:spPr bwMode="auto">
              <a:xfrm>
                <a:off x="4936347" y="4966339"/>
                <a:ext cx="717391" cy="399584"/>
              </a:xfrm>
              <a:custGeom>
                <a:avLst/>
                <a:gdLst>
                  <a:gd name="T0" fmla="*/ 531 w 1700"/>
                  <a:gd name="T1" fmla="*/ 127 h 946"/>
                  <a:gd name="T2" fmla="*/ 356 w 1700"/>
                  <a:gd name="T3" fmla="*/ 0 h 946"/>
                  <a:gd name="T4" fmla="*/ 0 w 1700"/>
                  <a:gd name="T5" fmla="*/ 56 h 946"/>
                  <a:gd name="T6" fmla="*/ 56 w 1700"/>
                  <a:gd name="T7" fmla="*/ 413 h 946"/>
                  <a:gd name="T8" fmla="*/ 231 w 1700"/>
                  <a:gd name="T9" fmla="*/ 540 h 946"/>
                  <a:gd name="T10" fmla="*/ 201 w 1700"/>
                  <a:gd name="T11" fmla="*/ 352 h 946"/>
                  <a:gd name="T12" fmla="*/ 1650 w 1700"/>
                  <a:gd name="T13" fmla="*/ 945 h 946"/>
                  <a:gd name="T14" fmla="*/ 1699 w 1700"/>
                  <a:gd name="T15" fmla="*/ 699 h 946"/>
                  <a:gd name="T16" fmla="*/ 358 w 1700"/>
                  <a:gd name="T17" fmla="*/ 155 h 946"/>
                  <a:gd name="T18" fmla="*/ 531 w 1700"/>
                  <a:gd name="T19" fmla="*/ 127 h 9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00" h="946">
                    <a:moveTo>
                      <a:pt x="531" y="127"/>
                    </a:moveTo>
                    <a:lnTo>
                      <a:pt x="356" y="0"/>
                    </a:lnTo>
                    <a:lnTo>
                      <a:pt x="0" y="56"/>
                    </a:lnTo>
                    <a:lnTo>
                      <a:pt x="56" y="413"/>
                    </a:lnTo>
                    <a:lnTo>
                      <a:pt x="231" y="540"/>
                    </a:lnTo>
                    <a:lnTo>
                      <a:pt x="201" y="352"/>
                    </a:lnTo>
                    <a:cubicBezTo>
                      <a:pt x="642" y="638"/>
                      <a:pt x="1139" y="842"/>
                      <a:pt x="1650" y="945"/>
                    </a:cubicBezTo>
                    <a:lnTo>
                      <a:pt x="1699" y="699"/>
                    </a:lnTo>
                    <a:cubicBezTo>
                      <a:pt x="1227" y="604"/>
                      <a:pt x="767" y="417"/>
                      <a:pt x="358" y="155"/>
                    </a:cubicBezTo>
                    <a:lnTo>
                      <a:pt x="531" y="127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0" name="任意多边形: 形状 19"/>
              <p:cNvSpPr/>
              <p:nvPr/>
            </p:nvSpPr>
            <p:spPr bwMode="auto">
              <a:xfrm>
                <a:off x="7495537" y="3525982"/>
                <a:ext cx="256477" cy="769429"/>
              </a:xfrm>
              <a:custGeom>
                <a:avLst/>
                <a:gdLst>
                  <a:gd name="T0" fmla="*/ 323 w 609"/>
                  <a:gd name="T1" fmla="*/ 16 h 1826"/>
                  <a:gd name="T2" fmla="*/ 149 w 609"/>
                  <a:gd name="T3" fmla="*/ 1454 h 1826"/>
                  <a:gd name="T4" fmla="*/ 77 w 609"/>
                  <a:gd name="T5" fmla="*/ 1293 h 1826"/>
                  <a:gd name="T6" fmla="*/ 0 w 609"/>
                  <a:gd name="T7" fmla="*/ 1495 h 1826"/>
                  <a:gd name="T8" fmla="*/ 146 w 609"/>
                  <a:gd name="T9" fmla="*/ 1825 h 1826"/>
                  <a:gd name="T10" fmla="*/ 476 w 609"/>
                  <a:gd name="T11" fmla="*/ 1678 h 1826"/>
                  <a:gd name="T12" fmla="*/ 554 w 609"/>
                  <a:gd name="T13" fmla="*/ 1476 h 1826"/>
                  <a:gd name="T14" fmla="*/ 380 w 609"/>
                  <a:gd name="T15" fmla="*/ 1553 h 1826"/>
                  <a:gd name="T16" fmla="*/ 574 w 609"/>
                  <a:gd name="T17" fmla="*/ 0 h 1826"/>
                  <a:gd name="T18" fmla="*/ 323 w 609"/>
                  <a:gd name="T19" fmla="*/ 16 h 1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9" h="1826">
                    <a:moveTo>
                      <a:pt x="323" y="16"/>
                    </a:moveTo>
                    <a:cubicBezTo>
                      <a:pt x="355" y="509"/>
                      <a:pt x="296" y="992"/>
                      <a:pt x="149" y="1454"/>
                    </a:cubicBezTo>
                    <a:lnTo>
                      <a:pt x="77" y="1293"/>
                    </a:lnTo>
                    <a:lnTo>
                      <a:pt x="0" y="1495"/>
                    </a:lnTo>
                    <a:lnTo>
                      <a:pt x="146" y="1825"/>
                    </a:lnTo>
                    <a:lnTo>
                      <a:pt x="476" y="1678"/>
                    </a:lnTo>
                    <a:lnTo>
                      <a:pt x="554" y="1476"/>
                    </a:lnTo>
                    <a:lnTo>
                      <a:pt x="380" y="1553"/>
                    </a:lnTo>
                    <a:cubicBezTo>
                      <a:pt x="543" y="1054"/>
                      <a:pt x="608" y="533"/>
                      <a:pt x="574" y="0"/>
                    </a:cubicBezTo>
                    <a:lnTo>
                      <a:pt x="323" y="1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1" name="任意多边形: 形状 20"/>
              <p:cNvSpPr/>
              <p:nvPr/>
            </p:nvSpPr>
            <p:spPr bwMode="auto">
              <a:xfrm>
                <a:off x="4168775" y="3631918"/>
                <a:ext cx="325243" cy="780581"/>
              </a:xfrm>
              <a:custGeom>
                <a:avLst/>
                <a:gdLst>
                  <a:gd name="T0" fmla="*/ 517 w 771"/>
                  <a:gd name="T1" fmla="*/ 464 h 1851"/>
                  <a:gd name="T2" fmla="*/ 510 w 771"/>
                  <a:gd name="T3" fmla="*/ 248 h 1851"/>
                  <a:gd name="T4" fmla="*/ 247 w 771"/>
                  <a:gd name="T5" fmla="*/ 0 h 1851"/>
                  <a:gd name="T6" fmla="*/ 0 w 771"/>
                  <a:gd name="T7" fmla="*/ 263 h 1851"/>
                  <a:gd name="T8" fmla="*/ 6 w 771"/>
                  <a:gd name="T9" fmla="*/ 480 h 1851"/>
                  <a:gd name="T10" fmla="*/ 135 w 771"/>
                  <a:gd name="T11" fmla="*/ 343 h 1851"/>
                  <a:gd name="T12" fmla="*/ 545 w 771"/>
                  <a:gd name="T13" fmla="*/ 1850 h 1851"/>
                  <a:gd name="T14" fmla="*/ 770 w 771"/>
                  <a:gd name="T15" fmla="*/ 1740 h 1851"/>
                  <a:gd name="T16" fmla="*/ 386 w 771"/>
                  <a:gd name="T17" fmla="*/ 342 h 1851"/>
                  <a:gd name="T18" fmla="*/ 517 w 771"/>
                  <a:gd name="T19" fmla="*/ 464 h 1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1" h="1851">
                    <a:moveTo>
                      <a:pt x="517" y="464"/>
                    </a:moveTo>
                    <a:lnTo>
                      <a:pt x="510" y="248"/>
                    </a:lnTo>
                    <a:lnTo>
                      <a:pt x="247" y="0"/>
                    </a:lnTo>
                    <a:lnTo>
                      <a:pt x="0" y="263"/>
                    </a:lnTo>
                    <a:lnTo>
                      <a:pt x="6" y="480"/>
                    </a:lnTo>
                    <a:lnTo>
                      <a:pt x="135" y="343"/>
                    </a:lnTo>
                    <a:cubicBezTo>
                      <a:pt x="176" y="871"/>
                      <a:pt x="314" y="1378"/>
                      <a:pt x="545" y="1850"/>
                    </a:cubicBezTo>
                    <a:lnTo>
                      <a:pt x="770" y="1740"/>
                    </a:lnTo>
                    <a:cubicBezTo>
                      <a:pt x="556" y="1301"/>
                      <a:pt x="427" y="831"/>
                      <a:pt x="386" y="342"/>
                    </a:cubicBezTo>
                    <a:lnTo>
                      <a:pt x="517" y="464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/>
              <p:cNvSpPr/>
              <p:nvPr/>
            </p:nvSpPr>
            <p:spPr bwMode="auto">
              <a:xfrm>
                <a:off x="7079227" y="2323515"/>
                <a:ext cx="538973" cy="672786"/>
              </a:xfrm>
              <a:custGeom>
                <a:avLst/>
                <a:gdLst>
                  <a:gd name="T0" fmla="*/ 810 w 1279"/>
                  <a:gd name="T1" fmla="*/ 1465 h 1596"/>
                  <a:gd name="T2" fmla="*/ 1147 w 1279"/>
                  <a:gd name="T3" fmla="*/ 1595 h 1596"/>
                  <a:gd name="T4" fmla="*/ 1278 w 1279"/>
                  <a:gd name="T5" fmla="*/ 1259 h 1596"/>
                  <a:gd name="T6" fmla="*/ 1190 w 1279"/>
                  <a:gd name="T7" fmla="*/ 1060 h 1596"/>
                  <a:gd name="T8" fmla="*/ 1121 w 1279"/>
                  <a:gd name="T9" fmla="*/ 1238 h 1596"/>
                  <a:gd name="T10" fmla="*/ 166 w 1279"/>
                  <a:gd name="T11" fmla="*/ 0 h 1596"/>
                  <a:gd name="T12" fmla="*/ 0 w 1279"/>
                  <a:gd name="T13" fmla="*/ 186 h 1596"/>
                  <a:gd name="T14" fmla="*/ 887 w 1279"/>
                  <a:gd name="T15" fmla="*/ 1330 h 1596"/>
                  <a:gd name="T16" fmla="*/ 723 w 1279"/>
                  <a:gd name="T17" fmla="*/ 1266 h 1596"/>
                  <a:gd name="T18" fmla="*/ 810 w 1279"/>
                  <a:gd name="T19" fmla="*/ 1465 h 15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79" h="1596">
                    <a:moveTo>
                      <a:pt x="810" y="1465"/>
                    </a:moveTo>
                    <a:lnTo>
                      <a:pt x="1147" y="1595"/>
                    </a:lnTo>
                    <a:lnTo>
                      <a:pt x="1278" y="1259"/>
                    </a:lnTo>
                    <a:lnTo>
                      <a:pt x="1190" y="1060"/>
                    </a:lnTo>
                    <a:lnTo>
                      <a:pt x="1121" y="1238"/>
                    </a:lnTo>
                    <a:cubicBezTo>
                      <a:pt x="885" y="771"/>
                      <a:pt x="557" y="345"/>
                      <a:pt x="166" y="0"/>
                    </a:cubicBezTo>
                    <a:lnTo>
                      <a:pt x="0" y="186"/>
                    </a:lnTo>
                    <a:cubicBezTo>
                      <a:pt x="361" y="507"/>
                      <a:pt x="665" y="900"/>
                      <a:pt x="887" y="1330"/>
                    </a:cubicBezTo>
                    <a:lnTo>
                      <a:pt x="723" y="1266"/>
                    </a:lnTo>
                    <a:lnTo>
                      <a:pt x="810" y="1465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/>
              <p:cNvSpPr/>
              <p:nvPr/>
            </p:nvSpPr>
            <p:spPr bwMode="auto">
              <a:xfrm>
                <a:off x="4404808" y="2264043"/>
                <a:ext cx="542690" cy="637475"/>
              </a:xfrm>
              <a:custGeom>
                <a:avLst/>
                <a:gdLst>
                  <a:gd name="T0" fmla="*/ 1080 w 1288"/>
                  <a:gd name="T1" fmla="*/ 532 h 1512"/>
                  <a:gd name="T2" fmla="*/ 1249 w 1288"/>
                  <a:gd name="T3" fmla="*/ 396 h 1512"/>
                  <a:gd name="T4" fmla="*/ 1287 w 1288"/>
                  <a:gd name="T5" fmla="*/ 38 h 1512"/>
                  <a:gd name="T6" fmla="*/ 928 w 1288"/>
                  <a:gd name="T7" fmla="*/ 0 h 1512"/>
                  <a:gd name="T8" fmla="*/ 760 w 1288"/>
                  <a:gd name="T9" fmla="*/ 136 h 1512"/>
                  <a:gd name="T10" fmla="*/ 949 w 1288"/>
                  <a:gd name="T11" fmla="*/ 156 h 1512"/>
                  <a:gd name="T12" fmla="*/ 0 w 1288"/>
                  <a:gd name="T13" fmla="*/ 1399 h 1512"/>
                  <a:gd name="T14" fmla="*/ 224 w 1288"/>
                  <a:gd name="T15" fmla="*/ 1511 h 1512"/>
                  <a:gd name="T16" fmla="*/ 1099 w 1288"/>
                  <a:gd name="T17" fmla="*/ 357 h 1512"/>
                  <a:gd name="T18" fmla="*/ 1080 w 1288"/>
                  <a:gd name="T19" fmla="*/ 532 h 1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88" h="1512">
                    <a:moveTo>
                      <a:pt x="1080" y="532"/>
                    </a:moveTo>
                    <a:lnTo>
                      <a:pt x="1249" y="396"/>
                    </a:lnTo>
                    <a:lnTo>
                      <a:pt x="1287" y="38"/>
                    </a:lnTo>
                    <a:lnTo>
                      <a:pt x="928" y="0"/>
                    </a:lnTo>
                    <a:lnTo>
                      <a:pt x="760" y="136"/>
                    </a:lnTo>
                    <a:lnTo>
                      <a:pt x="949" y="156"/>
                    </a:lnTo>
                    <a:cubicBezTo>
                      <a:pt x="559" y="506"/>
                      <a:pt x="233" y="933"/>
                      <a:pt x="0" y="1399"/>
                    </a:cubicBezTo>
                    <a:lnTo>
                      <a:pt x="224" y="1511"/>
                    </a:lnTo>
                    <a:cubicBezTo>
                      <a:pt x="440" y="1080"/>
                      <a:pt x="740" y="684"/>
                      <a:pt x="1099" y="357"/>
                    </a:cubicBezTo>
                    <a:lnTo>
                      <a:pt x="1080" y="532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dirty="0"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/>
              <p:cNvSpPr/>
              <p:nvPr/>
            </p:nvSpPr>
            <p:spPr bwMode="auto">
              <a:xfrm>
                <a:off x="5646304" y="1840299"/>
                <a:ext cx="786156" cy="230457"/>
              </a:xfrm>
              <a:custGeom>
                <a:avLst/>
                <a:gdLst>
                  <a:gd name="T0" fmla="*/ 1343 w 1864"/>
                  <a:gd name="T1" fmla="*/ 496 h 549"/>
                  <a:gd name="T2" fmla="*/ 1554 w 1864"/>
                  <a:gd name="T3" fmla="*/ 548 h 549"/>
                  <a:gd name="T4" fmla="*/ 1863 w 1864"/>
                  <a:gd name="T5" fmla="*/ 362 h 549"/>
                  <a:gd name="T6" fmla="*/ 1677 w 1864"/>
                  <a:gd name="T7" fmla="*/ 53 h 549"/>
                  <a:gd name="T8" fmla="*/ 1467 w 1864"/>
                  <a:gd name="T9" fmla="*/ 0 h 549"/>
                  <a:gd name="T10" fmla="*/ 1566 w 1864"/>
                  <a:gd name="T11" fmla="*/ 165 h 549"/>
                  <a:gd name="T12" fmla="*/ 525 w 1864"/>
                  <a:gd name="T13" fmla="*/ 102 h 549"/>
                  <a:gd name="T14" fmla="*/ 0 w 1864"/>
                  <a:gd name="T15" fmla="*/ 169 h 549"/>
                  <a:gd name="T16" fmla="*/ 47 w 1864"/>
                  <a:gd name="T17" fmla="*/ 416 h 549"/>
                  <a:gd name="T18" fmla="*/ 542 w 1864"/>
                  <a:gd name="T19" fmla="*/ 353 h 549"/>
                  <a:gd name="T20" fmla="*/ 1492 w 1864"/>
                  <a:gd name="T21" fmla="*/ 407 h 549"/>
                  <a:gd name="T22" fmla="*/ 1343 w 1864"/>
                  <a:gd name="T23" fmla="*/ 496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64" h="549">
                    <a:moveTo>
                      <a:pt x="1343" y="496"/>
                    </a:moveTo>
                    <a:lnTo>
                      <a:pt x="1554" y="548"/>
                    </a:lnTo>
                    <a:lnTo>
                      <a:pt x="1863" y="362"/>
                    </a:lnTo>
                    <a:lnTo>
                      <a:pt x="1677" y="53"/>
                    </a:lnTo>
                    <a:lnTo>
                      <a:pt x="1467" y="0"/>
                    </a:lnTo>
                    <a:lnTo>
                      <a:pt x="1566" y="165"/>
                    </a:lnTo>
                    <a:cubicBezTo>
                      <a:pt x="1224" y="101"/>
                      <a:pt x="875" y="80"/>
                      <a:pt x="525" y="102"/>
                    </a:cubicBezTo>
                    <a:cubicBezTo>
                      <a:pt x="349" y="113"/>
                      <a:pt x="172" y="136"/>
                      <a:pt x="0" y="169"/>
                    </a:cubicBezTo>
                    <a:lnTo>
                      <a:pt x="47" y="416"/>
                    </a:lnTo>
                    <a:cubicBezTo>
                      <a:pt x="210" y="384"/>
                      <a:pt x="376" y="363"/>
                      <a:pt x="542" y="353"/>
                    </a:cubicBezTo>
                    <a:cubicBezTo>
                      <a:pt x="860" y="332"/>
                      <a:pt x="1179" y="351"/>
                      <a:pt x="1492" y="407"/>
                    </a:cubicBezTo>
                    <a:lnTo>
                      <a:pt x="1343" y="49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4715556" y="2334612"/>
              <a:ext cx="2748189" cy="2595177"/>
              <a:chOff x="4715556" y="2334612"/>
              <a:chExt cx="2748189" cy="2595177"/>
            </a:xfrm>
          </p:grpSpPr>
          <p:sp>
            <p:nvSpPr>
              <p:cNvPr id="14" name="任意多边形: 形状 13"/>
              <p:cNvSpPr/>
              <p:nvPr/>
            </p:nvSpPr>
            <p:spPr>
              <a:xfrm>
                <a:off x="5062037" y="3674349"/>
                <a:ext cx="2055227" cy="601062"/>
              </a:xfrm>
              <a:custGeom>
                <a:avLst/>
                <a:gdLst/>
                <a:ahLst/>
                <a:cxnLst/>
                <a:rect l="l" t="t" r="r" b="b"/>
                <a:pathLst>
                  <a:path w="3514050" h="1027434">
                    <a:moveTo>
                      <a:pt x="2971783" y="0"/>
                    </a:moveTo>
                    <a:lnTo>
                      <a:pt x="542266" y="0"/>
                    </a:lnTo>
                    <a:lnTo>
                      <a:pt x="0" y="1027434"/>
                    </a:lnTo>
                    <a:lnTo>
                      <a:pt x="3514050" y="1027434"/>
                    </a:lnTo>
                    <a:lnTo>
                      <a:pt x="2971783" y="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400" dirty="0">
                    <a:solidFill>
                      <a:schemeClr val="bg1"/>
                    </a:solidFill>
                    <a:cs typeface="+mn-ea"/>
                    <a:sym typeface="+mn-lt"/>
                  </a:rPr>
                  <a:t>…text</a:t>
                </a:r>
                <a:endParaRPr lang="en-US" altLang="zh-CN" sz="16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" name="任意多边形: 形状 14"/>
              <p:cNvSpPr/>
              <p:nvPr/>
            </p:nvSpPr>
            <p:spPr>
              <a:xfrm>
                <a:off x="5755001" y="2334612"/>
                <a:ext cx="669298" cy="632035"/>
              </a:xfrm>
              <a:custGeom>
                <a:avLst/>
                <a:gdLst/>
                <a:ahLst/>
                <a:cxnLst/>
                <a:rect l="l" t="t" r="r" b="b"/>
                <a:pathLst>
                  <a:path w="1144373" h="1080375">
                    <a:moveTo>
                      <a:pt x="572181" y="0"/>
                    </a:moveTo>
                    <a:lnTo>
                      <a:pt x="0" y="1080375"/>
                    </a:lnTo>
                    <a:lnTo>
                      <a:pt x="1144373" y="1080375"/>
                    </a:lnTo>
                    <a:lnTo>
                      <a:pt x="57218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ctr"/>
                <a:r>
                  <a:rPr lang="en-US" altLang="zh-CN" sz="1100" dirty="0">
                    <a:solidFill>
                      <a:schemeClr val="bg1"/>
                    </a:solidFill>
                    <a:cs typeface="+mn-ea"/>
                    <a:sym typeface="+mn-lt"/>
                  </a:rPr>
                  <a:t>…text</a:t>
                </a:r>
                <a:endParaRPr lang="en-US" altLang="zh-CN" sz="11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6" name="任意多边形: 形状 15"/>
              <p:cNvSpPr/>
              <p:nvPr/>
            </p:nvSpPr>
            <p:spPr>
              <a:xfrm>
                <a:off x="4715556" y="4328732"/>
                <a:ext cx="2748189" cy="601057"/>
              </a:xfrm>
              <a:custGeom>
                <a:avLst/>
                <a:gdLst/>
                <a:ahLst/>
                <a:cxnLst/>
                <a:rect l="l" t="t" r="r" b="b"/>
                <a:pathLst>
                  <a:path w="4698883" h="1027424">
                    <a:moveTo>
                      <a:pt x="4157067" y="0"/>
                    </a:moveTo>
                    <a:lnTo>
                      <a:pt x="541815" y="0"/>
                    </a:lnTo>
                    <a:lnTo>
                      <a:pt x="0" y="1027424"/>
                    </a:lnTo>
                    <a:lnTo>
                      <a:pt x="4698883" y="1027424"/>
                    </a:lnTo>
                    <a:lnTo>
                      <a:pt x="4157067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7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dirty="0">
                    <a:solidFill>
                      <a:schemeClr val="bg1"/>
                    </a:solidFill>
                    <a:cs typeface="+mn-ea"/>
                    <a:sym typeface="+mn-lt"/>
                  </a:rPr>
                  <a:t>…text</a:t>
                </a:r>
                <a:endParaRPr lang="en-US" sz="16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7" name="任意多边形: 形状 16"/>
              <p:cNvSpPr/>
              <p:nvPr/>
            </p:nvSpPr>
            <p:spPr>
              <a:xfrm>
                <a:off x="5408524" y="3019967"/>
                <a:ext cx="1362253" cy="601062"/>
              </a:xfrm>
              <a:custGeom>
                <a:avLst/>
                <a:gdLst/>
                <a:ahLst/>
                <a:cxnLst/>
                <a:rect l="l" t="t" r="r" b="b"/>
                <a:pathLst>
                  <a:path w="2329196" h="1027434">
                    <a:moveTo>
                      <a:pt x="1786039" y="0"/>
                    </a:moveTo>
                    <a:lnTo>
                      <a:pt x="543166" y="0"/>
                    </a:lnTo>
                    <a:lnTo>
                      <a:pt x="0" y="1027434"/>
                    </a:lnTo>
                    <a:lnTo>
                      <a:pt x="2329196" y="1027434"/>
                    </a:lnTo>
                    <a:lnTo>
                      <a:pt x="1786039" y="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</p:spPr>
            <p:txBody>
              <a:bodyPr wrap="square" lIns="91440" tIns="45720" rIns="91440" bIns="45720" rtlCol="0" anchor="ctr" anchorCtr="0">
                <a:normAutofit/>
              </a:bodyPr>
              <a:lstStyle/>
              <a:p>
                <a:pPr algn="ctr"/>
                <a:r>
                  <a:rPr lang="en-US" altLang="zh-CN" sz="1200" dirty="0">
                    <a:solidFill>
                      <a:schemeClr val="bg1"/>
                    </a:solidFill>
                    <a:cs typeface="+mn-ea"/>
                    <a:sym typeface="+mn-lt"/>
                  </a:rPr>
                  <a:t>…text</a:t>
                </a:r>
                <a:endParaRPr lang="en-US" altLang="zh-CN" sz="12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660400" y="2031365"/>
              <a:ext cx="3084646" cy="3201670"/>
              <a:chOff x="8512822" y="1733692"/>
              <a:chExt cx="3006078" cy="3201670"/>
            </a:xfrm>
          </p:grpSpPr>
          <p:sp>
            <p:nvSpPr>
              <p:cNvPr id="12" name="文本框 11"/>
              <p:cNvSpPr txBox="1"/>
              <p:nvPr/>
            </p:nvSpPr>
            <p:spPr>
              <a:xfrm>
                <a:off x="8512822" y="1733692"/>
                <a:ext cx="3006078" cy="4176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可行性</a:t>
                </a:r>
                <a:endParaRPr lang="id-ID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13" name="矩形 12"/>
              <p:cNvSpPr/>
              <p:nvPr/>
            </p:nvSpPr>
            <p:spPr bwMode="auto">
              <a:xfrm>
                <a:off x="8512822" y="2151317"/>
                <a:ext cx="3006078" cy="27840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8434254" y="2031365"/>
              <a:ext cx="3084646" cy="3201670"/>
              <a:chOff x="8512822" y="1733692"/>
              <a:chExt cx="3006078" cy="3201670"/>
            </a:xfrm>
          </p:grpSpPr>
          <p:sp>
            <p:nvSpPr>
              <p:cNvPr id="10" name="文本框 9"/>
              <p:cNvSpPr txBox="1"/>
              <p:nvPr/>
            </p:nvSpPr>
            <p:spPr>
              <a:xfrm>
                <a:off x="8512822" y="1733692"/>
                <a:ext cx="3006078" cy="4176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可行性</a:t>
                </a:r>
                <a:endParaRPr lang="id-ID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11" name="矩形 10"/>
              <p:cNvSpPr/>
              <p:nvPr/>
            </p:nvSpPr>
            <p:spPr bwMode="auto">
              <a:xfrm>
                <a:off x="8512822" y="2151317"/>
                <a:ext cx="3006078" cy="27840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过程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grpSp>
          <p:nvGrpSpPr>
            <p:cNvPr id="6" name="组合 5"/>
            <p:cNvGrpSpPr/>
            <p:nvPr/>
          </p:nvGrpSpPr>
          <p:grpSpPr>
            <a:xfrm>
              <a:off x="660400" y="1766234"/>
              <a:ext cx="10858500" cy="3426738"/>
              <a:chOff x="660400" y="1918831"/>
              <a:chExt cx="10858500" cy="3426738"/>
            </a:xfrm>
          </p:grpSpPr>
          <p:cxnSp>
            <p:nvCxnSpPr>
              <p:cNvPr id="37" name="直接连接符 36"/>
              <p:cNvCxnSpPr/>
              <p:nvPr/>
            </p:nvCxnSpPr>
            <p:spPr>
              <a:xfrm flipV="1">
                <a:off x="660400" y="4956633"/>
                <a:ext cx="1382301" cy="388936"/>
              </a:xfrm>
              <a:prstGeom prst="line">
                <a:avLst/>
              </a:prstGeom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/>
              <p:nvPr/>
            </p:nvCxnSpPr>
            <p:spPr>
              <a:xfrm flipV="1">
                <a:off x="2643046" y="3954244"/>
                <a:ext cx="1002752" cy="675930"/>
              </a:xfrm>
              <a:prstGeom prst="line">
                <a:avLst/>
              </a:prstGeom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/>
              <p:nvPr/>
            </p:nvCxnSpPr>
            <p:spPr>
              <a:xfrm>
                <a:off x="4292402" y="3816060"/>
                <a:ext cx="1276443" cy="598054"/>
              </a:xfrm>
              <a:prstGeom prst="line">
                <a:avLst/>
              </a:prstGeom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/>
              <p:nvPr/>
            </p:nvCxnSpPr>
            <p:spPr>
              <a:xfrm flipH="1">
                <a:off x="6241740" y="3655391"/>
                <a:ext cx="747735" cy="747735"/>
              </a:xfrm>
              <a:prstGeom prst="line">
                <a:avLst/>
              </a:prstGeom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/>
              <p:nvPr/>
            </p:nvCxnSpPr>
            <p:spPr>
              <a:xfrm>
                <a:off x="7595459" y="3591253"/>
                <a:ext cx="723323" cy="894955"/>
              </a:xfrm>
              <a:prstGeom prst="line">
                <a:avLst/>
              </a:prstGeom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/>
              <p:nvPr/>
            </p:nvCxnSpPr>
            <p:spPr>
              <a:xfrm flipH="1">
                <a:off x="8914337" y="2990737"/>
                <a:ext cx="816833" cy="1482694"/>
              </a:xfrm>
              <a:prstGeom prst="line">
                <a:avLst/>
              </a:prstGeom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/>
              <p:nvPr/>
            </p:nvCxnSpPr>
            <p:spPr>
              <a:xfrm flipH="1">
                <a:off x="10250238" y="1918831"/>
                <a:ext cx="1268662" cy="636059"/>
              </a:xfrm>
              <a:prstGeom prst="line">
                <a:avLst/>
              </a:prstGeom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4" name="组合 43"/>
              <p:cNvGrpSpPr/>
              <p:nvPr/>
            </p:nvGrpSpPr>
            <p:grpSpPr>
              <a:xfrm>
                <a:off x="2014299" y="4483566"/>
                <a:ext cx="681351" cy="681351"/>
                <a:chOff x="2014299" y="4483566"/>
                <a:chExt cx="681351" cy="681351"/>
              </a:xfrm>
            </p:grpSpPr>
            <p:sp>
              <p:nvSpPr>
                <p:cNvPr id="60" name="椭圆 59"/>
                <p:cNvSpPr/>
                <p:nvPr/>
              </p:nvSpPr>
              <p:spPr>
                <a:xfrm>
                  <a:off x="2014299" y="4483566"/>
                  <a:ext cx="681351" cy="681351"/>
                </a:xfrm>
                <a:prstGeom prst="ellipse">
                  <a:avLst/>
                </a:prstGeom>
                <a:noFill/>
                <a:ln w="571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HK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HK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/>
                <p:cNvSpPr/>
                <p:nvPr/>
              </p:nvSpPr>
              <p:spPr>
                <a:xfrm>
                  <a:off x="2193732" y="4663223"/>
                  <a:ext cx="322486" cy="322036"/>
                </a:xfrm>
                <a:custGeom>
                  <a:avLst/>
                  <a:gdLst>
                    <a:gd name="connsiteX0" fmla="*/ 366373 w 606933"/>
                    <a:gd name="connsiteY0" fmla="*/ 246979 h 606087"/>
                    <a:gd name="connsiteX1" fmla="*/ 422546 w 606933"/>
                    <a:gd name="connsiteY1" fmla="*/ 303021 h 606087"/>
                    <a:gd name="connsiteX2" fmla="*/ 366373 w 606933"/>
                    <a:gd name="connsiteY2" fmla="*/ 358966 h 606087"/>
                    <a:gd name="connsiteX3" fmla="*/ 348452 w 606933"/>
                    <a:gd name="connsiteY3" fmla="*/ 341183 h 606087"/>
                    <a:gd name="connsiteX4" fmla="*/ 386703 w 606933"/>
                    <a:gd name="connsiteY4" fmla="*/ 303021 h 606087"/>
                    <a:gd name="connsiteX5" fmla="*/ 348452 w 606933"/>
                    <a:gd name="connsiteY5" fmla="*/ 264763 h 606087"/>
                    <a:gd name="connsiteX6" fmla="*/ 240597 w 606933"/>
                    <a:gd name="connsiteY6" fmla="*/ 246979 h 606087"/>
                    <a:gd name="connsiteX7" fmla="*/ 258411 w 606933"/>
                    <a:gd name="connsiteY7" fmla="*/ 264763 h 606087"/>
                    <a:gd name="connsiteX8" fmla="*/ 220183 w 606933"/>
                    <a:gd name="connsiteY8" fmla="*/ 303021 h 606087"/>
                    <a:gd name="connsiteX9" fmla="*/ 258411 w 606933"/>
                    <a:gd name="connsiteY9" fmla="*/ 341183 h 606087"/>
                    <a:gd name="connsiteX10" fmla="*/ 240597 w 606933"/>
                    <a:gd name="connsiteY10" fmla="*/ 358966 h 606087"/>
                    <a:gd name="connsiteX11" fmla="*/ 184458 w 606933"/>
                    <a:gd name="connsiteY11" fmla="*/ 303021 h 606087"/>
                    <a:gd name="connsiteX12" fmla="*/ 318612 w 606933"/>
                    <a:gd name="connsiteY12" fmla="*/ 231314 h 606087"/>
                    <a:gd name="connsiteX13" fmla="*/ 342313 w 606933"/>
                    <a:gd name="connsiteY13" fmla="*/ 239968 h 606087"/>
                    <a:gd name="connsiteX14" fmla="*/ 287686 w 606933"/>
                    <a:gd name="connsiteY14" fmla="*/ 389875 h 606087"/>
                    <a:gd name="connsiteX15" fmla="*/ 263985 w 606933"/>
                    <a:gd name="connsiteY15" fmla="*/ 381317 h 606087"/>
                    <a:gd name="connsiteX16" fmla="*/ 303467 w 606933"/>
                    <a:gd name="connsiteY16" fmla="*/ 138875 h 606087"/>
                    <a:gd name="connsiteX17" fmla="*/ 139069 w 606933"/>
                    <a:gd name="connsiteY17" fmla="*/ 303044 h 606087"/>
                    <a:gd name="connsiteX18" fmla="*/ 303467 w 606933"/>
                    <a:gd name="connsiteY18" fmla="*/ 467116 h 606087"/>
                    <a:gd name="connsiteX19" fmla="*/ 467768 w 606933"/>
                    <a:gd name="connsiteY19" fmla="*/ 303044 h 606087"/>
                    <a:gd name="connsiteX20" fmla="*/ 303467 w 606933"/>
                    <a:gd name="connsiteY20" fmla="*/ 138875 h 606087"/>
                    <a:gd name="connsiteX21" fmla="*/ 254735 w 606933"/>
                    <a:gd name="connsiteY21" fmla="*/ 0 h 606087"/>
                    <a:gd name="connsiteX22" fmla="*/ 352102 w 606933"/>
                    <a:gd name="connsiteY22" fmla="*/ 0 h 606087"/>
                    <a:gd name="connsiteX23" fmla="*/ 363852 w 606933"/>
                    <a:gd name="connsiteY23" fmla="*/ 70976 h 606087"/>
                    <a:gd name="connsiteX24" fmla="*/ 424911 w 606933"/>
                    <a:gd name="connsiteY24" fmla="*/ 96174 h 606087"/>
                    <a:gd name="connsiteX25" fmla="*/ 483659 w 606933"/>
                    <a:gd name="connsiteY25" fmla="*/ 54435 h 606087"/>
                    <a:gd name="connsiteX26" fmla="*/ 552423 w 606933"/>
                    <a:gd name="connsiteY26" fmla="*/ 123103 h 606087"/>
                    <a:gd name="connsiteX27" fmla="*/ 510529 w 606933"/>
                    <a:gd name="connsiteY27" fmla="*/ 181672 h 606087"/>
                    <a:gd name="connsiteX28" fmla="*/ 535858 w 606933"/>
                    <a:gd name="connsiteY28" fmla="*/ 242550 h 606087"/>
                    <a:gd name="connsiteX29" fmla="*/ 606933 w 606933"/>
                    <a:gd name="connsiteY29" fmla="*/ 254380 h 606087"/>
                    <a:gd name="connsiteX30" fmla="*/ 606933 w 606933"/>
                    <a:gd name="connsiteY30" fmla="*/ 351515 h 606087"/>
                    <a:gd name="connsiteX31" fmla="*/ 535858 w 606933"/>
                    <a:gd name="connsiteY31" fmla="*/ 363345 h 606087"/>
                    <a:gd name="connsiteX32" fmla="*/ 510529 w 606933"/>
                    <a:gd name="connsiteY32" fmla="*/ 424319 h 606087"/>
                    <a:gd name="connsiteX33" fmla="*/ 552423 w 606933"/>
                    <a:gd name="connsiteY33" fmla="*/ 482985 h 606087"/>
                    <a:gd name="connsiteX34" fmla="*/ 483659 w 606933"/>
                    <a:gd name="connsiteY34" fmla="*/ 551653 h 606087"/>
                    <a:gd name="connsiteX35" fmla="*/ 424911 w 606933"/>
                    <a:gd name="connsiteY35" fmla="*/ 509721 h 606087"/>
                    <a:gd name="connsiteX36" fmla="*/ 363852 w 606933"/>
                    <a:gd name="connsiteY36" fmla="*/ 535111 h 606087"/>
                    <a:gd name="connsiteX37" fmla="*/ 352102 w 606933"/>
                    <a:gd name="connsiteY37" fmla="*/ 606087 h 606087"/>
                    <a:gd name="connsiteX38" fmla="*/ 254735 w 606933"/>
                    <a:gd name="connsiteY38" fmla="*/ 606087 h 606087"/>
                    <a:gd name="connsiteX39" fmla="*/ 242985 w 606933"/>
                    <a:gd name="connsiteY39" fmla="*/ 535111 h 606087"/>
                    <a:gd name="connsiteX40" fmla="*/ 181926 w 606933"/>
                    <a:gd name="connsiteY40" fmla="*/ 509721 h 606087"/>
                    <a:gd name="connsiteX41" fmla="*/ 123274 w 606933"/>
                    <a:gd name="connsiteY41" fmla="*/ 551653 h 606087"/>
                    <a:gd name="connsiteX42" fmla="*/ 54510 w 606933"/>
                    <a:gd name="connsiteY42" fmla="*/ 482985 h 606087"/>
                    <a:gd name="connsiteX43" fmla="*/ 96308 w 606933"/>
                    <a:gd name="connsiteY43" fmla="*/ 424319 h 606087"/>
                    <a:gd name="connsiteX44" fmla="*/ 71075 w 606933"/>
                    <a:gd name="connsiteY44" fmla="*/ 363345 h 606087"/>
                    <a:gd name="connsiteX45" fmla="*/ 0 w 606933"/>
                    <a:gd name="connsiteY45" fmla="*/ 351515 h 606087"/>
                    <a:gd name="connsiteX46" fmla="*/ 0 w 606933"/>
                    <a:gd name="connsiteY46" fmla="*/ 254380 h 606087"/>
                    <a:gd name="connsiteX47" fmla="*/ 71075 w 606933"/>
                    <a:gd name="connsiteY47" fmla="*/ 242550 h 606087"/>
                    <a:gd name="connsiteX48" fmla="*/ 96308 w 606933"/>
                    <a:gd name="connsiteY48" fmla="*/ 181672 h 606087"/>
                    <a:gd name="connsiteX49" fmla="*/ 54510 w 606933"/>
                    <a:gd name="connsiteY49" fmla="*/ 123103 h 606087"/>
                    <a:gd name="connsiteX50" fmla="*/ 123274 w 606933"/>
                    <a:gd name="connsiteY50" fmla="*/ 54435 h 606087"/>
                    <a:gd name="connsiteX51" fmla="*/ 181926 w 606933"/>
                    <a:gd name="connsiteY51" fmla="*/ 96174 h 606087"/>
                    <a:gd name="connsiteX52" fmla="*/ 242985 w 606933"/>
                    <a:gd name="connsiteY52" fmla="*/ 70976 h 606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606933" h="606087">
                      <a:moveTo>
                        <a:pt x="366373" y="246979"/>
                      </a:moveTo>
                      <a:lnTo>
                        <a:pt x="422546" y="303021"/>
                      </a:lnTo>
                      <a:lnTo>
                        <a:pt x="366373" y="358966"/>
                      </a:lnTo>
                      <a:lnTo>
                        <a:pt x="348452" y="341183"/>
                      </a:lnTo>
                      <a:lnTo>
                        <a:pt x="386703" y="303021"/>
                      </a:lnTo>
                      <a:lnTo>
                        <a:pt x="348452" y="264763"/>
                      </a:lnTo>
                      <a:close/>
                      <a:moveTo>
                        <a:pt x="240597" y="246979"/>
                      </a:moveTo>
                      <a:lnTo>
                        <a:pt x="258411" y="264763"/>
                      </a:lnTo>
                      <a:lnTo>
                        <a:pt x="220183" y="303021"/>
                      </a:lnTo>
                      <a:lnTo>
                        <a:pt x="258411" y="341183"/>
                      </a:lnTo>
                      <a:lnTo>
                        <a:pt x="240597" y="358966"/>
                      </a:lnTo>
                      <a:lnTo>
                        <a:pt x="184458" y="303021"/>
                      </a:lnTo>
                      <a:close/>
                      <a:moveTo>
                        <a:pt x="318612" y="231314"/>
                      </a:moveTo>
                      <a:lnTo>
                        <a:pt x="342313" y="239968"/>
                      </a:lnTo>
                      <a:lnTo>
                        <a:pt x="287686" y="389875"/>
                      </a:lnTo>
                      <a:lnTo>
                        <a:pt x="263985" y="381317"/>
                      </a:lnTo>
                      <a:close/>
                      <a:moveTo>
                        <a:pt x="303467" y="138875"/>
                      </a:moveTo>
                      <a:cubicBezTo>
                        <a:pt x="212841" y="138875"/>
                        <a:pt x="139069" y="212544"/>
                        <a:pt x="139069" y="303044"/>
                      </a:cubicBezTo>
                      <a:cubicBezTo>
                        <a:pt x="139069" y="393543"/>
                        <a:pt x="212841" y="467116"/>
                        <a:pt x="303467" y="467116"/>
                      </a:cubicBezTo>
                      <a:cubicBezTo>
                        <a:pt x="394092" y="467116"/>
                        <a:pt x="467768" y="393543"/>
                        <a:pt x="467768" y="303044"/>
                      </a:cubicBezTo>
                      <a:cubicBezTo>
                        <a:pt x="467768" y="212544"/>
                        <a:pt x="394092" y="138875"/>
                        <a:pt x="303467" y="138875"/>
                      </a:cubicBezTo>
                      <a:close/>
                      <a:moveTo>
                        <a:pt x="254735" y="0"/>
                      </a:moveTo>
                      <a:lnTo>
                        <a:pt x="352102" y="0"/>
                      </a:lnTo>
                      <a:lnTo>
                        <a:pt x="363852" y="70976"/>
                      </a:lnTo>
                      <a:cubicBezTo>
                        <a:pt x="385232" y="76555"/>
                        <a:pt x="405746" y="85018"/>
                        <a:pt x="424911" y="96174"/>
                      </a:cubicBezTo>
                      <a:lnTo>
                        <a:pt x="483659" y="54435"/>
                      </a:lnTo>
                      <a:lnTo>
                        <a:pt x="552423" y="123103"/>
                      </a:lnTo>
                      <a:lnTo>
                        <a:pt x="510529" y="181672"/>
                      </a:lnTo>
                      <a:cubicBezTo>
                        <a:pt x="521797" y="200907"/>
                        <a:pt x="530272" y="221200"/>
                        <a:pt x="535858" y="242550"/>
                      </a:cubicBezTo>
                      <a:lnTo>
                        <a:pt x="606933" y="254380"/>
                      </a:lnTo>
                      <a:lnTo>
                        <a:pt x="606933" y="351515"/>
                      </a:lnTo>
                      <a:lnTo>
                        <a:pt x="535858" y="363345"/>
                      </a:lnTo>
                      <a:cubicBezTo>
                        <a:pt x="530272" y="384695"/>
                        <a:pt x="521797" y="405180"/>
                        <a:pt x="510529" y="424319"/>
                      </a:cubicBezTo>
                      <a:lnTo>
                        <a:pt x="552423" y="482985"/>
                      </a:lnTo>
                      <a:lnTo>
                        <a:pt x="483659" y="551653"/>
                      </a:lnTo>
                      <a:lnTo>
                        <a:pt x="424911" y="509721"/>
                      </a:lnTo>
                      <a:cubicBezTo>
                        <a:pt x="405746" y="521070"/>
                        <a:pt x="385232" y="529533"/>
                        <a:pt x="363852" y="535111"/>
                      </a:cubicBezTo>
                      <a:lnTo>
                        <a:pt x="352102" y="606087"/>
                      </a:lnTo>
                      <a:lnTo>
                        <a:pt x="254735" y="606087"/>
                      </a:lnTo>
                      <a:lnTo>
                        <a:pt x="242985" y="535111"/>
                      </a:lnTo>
                      <a:cubicBezTo>
                        <a:pt x="221605" y="529533"/>
                        <a:pt x="201187" y="521070"/>
                        <a:pt x="181926" y="509721"/>
                      </a:cubicBezTo>
                      <a:lnTo>
                        <a:pt x="123274" y="551653"/>
                      </a:lnTo>
                      <a:lnTo>
                        <a:pt x="54510" y="482985"/>
                      </a:lnTo>
                      <a:lnTo>
                        <a:pt x="96308" y="424319"/>
                      </a:lnTo>
                      <a:cubicBezTo>
                        <a:pt x="85136" y="405180"/>
                        <a:pt x="76661" y="384695"/>
                        <a:pt x="71075" y="363345"/>
                      </a:cubicBezTo>
                      <a:lnTo>
                        <a:pt x="0" y="351515"/>
                      </a:lnTo>
                      <a:lnTo>
                        <a:pt x="0" y="254380"/>
                      </a:lnTo>
                      <a:lnTo>
                        <a:pt x="71075" y="242550"/>
                      </a:lnTo>
                      <a:cubicBezTo>
                        <a:pt x="76661" y="221200"/>
                        <a:pt x="85136" y="200907"/>
                        <a:pt x="96308" y="181672"/>
                      </a:cubicBezTo>
                      <a:lnTo>
                        <a:pt x="54510" y="123103"/>
                      </a:lnTo>
                      <a:lnTo>
                        <a:pt x="123274" y="54435"/>
                      </a:lnTo>
                      <a:lnTo>
                        <a:pt x="181926" y="96174"/>
                      </a:lnTo>
                      <a:cubicBezTo>
                        <a:pt x="201187" y="85018"/>
                        <a:pt x="221605" y="76555"/>
                        <a:pt x="242985" y="709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5" name="组合 44"/>
              <p:cNvGrpSpPr/>
              <p:nvPr/>
            </p:nvGrpSpPr>
            <p:grpSpPr>
              <a:xfrm>
                <a:off x="3618764" y="3483519"/>
                <a:ext cx="681351" cy="681351"/>
                <a:chOff x="3618764" y="3483519"/>
                <a:chExt cx="681351" cy="681351"/>
              </a:xfrm>
            </p:grpSpPr>
            <p:sp>
              <p:nvSpPr>
                <p:cNvPr id="58" name="椭圆 57"/>
                <p:cNvSpPr/>
                <p:nvPr/>
              </p:nvSpPr>
              <p:spPr>
                <a:xfrm>
                  <a:off x="3618764" y="3483519"/>
                  <a:ext cx="681351" cy="681351"/>
                </a:xfrm>
                <a:prstGeom prst="ellipse">
                  <a:avLst/>
                </a:prstGeom>
                <a:noFill/>
                <a:ln w="571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HK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HK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9" name="任意多边形: 形状 58"/>
                <p:cNvSpPr/>
                <p:nvPr/>
              </p:nvSpPr>
              <p:spPr>
                <a:xfrm>
                  <a:off x="3798197" y="3663175"/>
                  <a:ext cx="322486" cy="322036"/>
                </a:xfrm>
                <a:custGeom>
                  <a:avLst/>
                  <a:gdLst>
                    <a:gd name="connsiteX0" fmla="*/ 366373 w 606933"/>
                    <a:gd name="connsiteY0" fmla="*/ 246979 h 606087"/>
                    <a:gd name="connsiteX1" fmla="*/ 422546 w 606933"/>
                    <a:gd name="connsiteY1" fmla="*/ 303021 h 606087"/>
                    <a:gd name="connsiteX2" fmla="*/ 366373 w 606933"/>
                    <a:gd name="connsiteY2" fmla="*/ 358966 h 606087"/>
                    <a:gd name="connsiteX3" fmla="*/ 348452 w 606933"/>
                    <a:gd name="connsiteY3" fmla="*/ 341183 h 606087"/>
                    <a:gd name="connsiteX4" fmla="*/ 386703 w 606933"/>
                    <a:gd name="connsiteY4" fmla="*/ 303021 h 606087"/>
                    <a:gd name="connsiteX5" fmla="*/ 348452 w 606933"/>
                    <a:gd name="connsiteY5" fmla="*/ 264763 h 606087"/>
                    <a:gd name="connsiteX6" fmla="*/ 240597 w 606933"/>
                    <a:gd name="connsiteY6" fmla="*/ 246979 h 606087"/>
                    <a:gd name="connsiteX7" fmla="*/ 258411 w 606933"/>
                    <a:gd name="connsiteY7" fmla="*/ 264763 h 606087"/>
                    <a:gd name="connsiteX8" fmla="*/ 220183 w 606933"/>
                    <a:gd name="connsiteY8" fmla="*/ 303021 h 606087"/>
                    <a:gd name="connsiteX9" fmla="*/ 258411 w 606933"/>
                    <a:gd name="connsiteY9" fmla="*/ 341183 h 606087"/>
                    <a:gd name="connsiteX10" fmla="*/ 240597 w 606933"/>
                    <a:gd name="connsiteY10" fmla="*/ 358966 h 606087"/>
                    <a:gd name="connsiteX11" fmla="*/ 184458 w 606933"/>
                    <a:gd name="connsiteY11" fmla="*/ 303021 h 606087"/>
                    <a:gd name="connsiteX12" fmla="*/ 318612 w 606933"/>
                    <a:gd name="connsiteY12" fmla="*/ 231314 h 606087"/>
                    <a:gd name="connsiteX13" fmla="*/ 342313 w 606933"/>
                    <a:gd name="connsiteY13" fmla="*/ 239968 h 606087"/>
                    <a:gd name="connsiteX14" fmla="*/ 287686 w 606933"/>
                    <a:gd name="connsiteY14" fmla="*/ 389875 h 606087"/>
                    <a:gd name="connsiteX15" fmla="*/ 263985 w 606933"/>
                    <a:gd name="connsiteY15" fmla="*/ 381317 h 606087"/>
                    <a:gd name="connsiteX16" fmla="*/ 303467 w 606933"/>
                    <a:gd name="connsiteY16" fmla="*/ 138875 h 606087"/>
                    <a:gd name="connsiteX17" fmla="*/ 139069 w 606933"/>
                    <a:gd name="connsiteY17" fmla="*/ 303044 h 606087"/>
                    <a:gd name="connsiteX18" fmla="*/ 303467 w 606933"/>
                    <a:gd name="connsiteY18" fmla="*/ 467116 h 606087"/>
                    <a:gd name="connsiteX19" fmla="*/ 467768 w 606933"/>
                    <a:gd name="connsiteY19" fmla="*/ 303044 h 606087"/>
                    <a:gd name="connsiteX20" fmla="*/ 303467 w 606933"/>
                    <a:gd name="connsiteY20" fmla="*/ 138875 h 606087"/>
                    <a:gd name="connsiteX21" fmla="*/ 254735 w 606933"/>
                    <a:gd name="connsiteY21" fmla="*/ 0 h 606087"/>
                    <a:gd name="connsiteX22" fmla="*/ 352102 w 606933"/>
                    <a:gd name="connsiteY22" fmla="*/ 0 h 606087"/>
                    <a:gd name="connsiteX23" fmla="*/ 363852 w 606933"/>
                    <a:gd name="connsiteY23" fmla="*/ 70976 h 606087"/>
                    <a:gd name="connsiteX24" fmla="*/ 424911 w 606933"/>
                    <a:gd name="connsiteY24" fmla="*/ 96174 h 606087"/>
                    <a:gd name="connsiteX25" fmla="*/ 483659 w 606933"/>
                    <a:gd name="connsiteY25" fmla="*/ 54435 h 606087"/>
                    <a:gd name="connsiteX26" fmla="*/ 552423 w 606933"/>
                    <a:gd name="connsiteY26" fmla="*/ 123103 h 606087"/>
                    <a:gd name="connsiteX27" fmla="*/ 510529 w 606933"/>
                    <a:gd name="connsiteY27" fmla="*/ 181672 h 606087"/>
                    <a:gd name="connsiteX28" fmla="*/ 535858 w 606933"/>
                    <a:gd name="connsiteY28" fmla="*/ 242550 h 606087"/>
                    <a:gd name="connsiteX29" fmla="*/ 606933 w 606933"/>
                    <a:gd name="connsiteY29" fmla="*/ 254380 h 606087"/>
                    <a:gd name="connsiteX30" fmla="*/ 606933 w 606933"/>
                    <a:gd name="connsiteY30" fmla="*/ 351515 h 606087"/>
                    <a:gd name="connsiteX31" fmla="*/ 535858 w 606933"/>
                    <a:gd name="connsiteY31" fmla="*/ 363345 h 606087"/>
                    <a:gd name="connsiteX32" fmla="*/ 510529 w 606933"/>
                    <a:gd name="connsiteY32" fmla="*/ 424319 h 606087"/>
                    <a:gd name="connsiteX33" fmla="*/ 552423 w 606933"/>
                    <a:gd name="connsiteY33" fmla="*/ 482985 h 606087"/>
                    <a:gd name="connsiteX34" fmla="*/ 483659 w 606933"/>
                    <a:gd name="connsiteY34" fmla="*/ 551653 h 606087"/>
                    <a:gd name="connsiteX35" fmla="*/ 424911 w 606933"/>
                    <a:gd name="connsiteY35" fmla="*/ 509721 h 606087"/>
                    <a:gd name="connsiteX36" fmla="*/ 363852 w 606933"/>
                    <a:gd name="connsiteY36" fmla="*/ 535111 h 606087"/>
                    <a:gd name="connsiteX37" fmla="*/ 352102 w 606933"/>
                    <a:gd name="connsiteY37" fmla="*/ 606087 h 606087"/>
                    <a:gd name="connsiteX38" fmla="*/ 254735 w 606933"/>
                    <a:gd name="connsiteY38" fmla="*/ 606087 h 606087"/>
                    <a:gd name="connsiteX39" fmla="*/ 242985 w 606933"/>
                    <a:gd name="connsiteY39" fmla="*/ 535111 h 606087"/>
                    <a:gd name="connsiteX40" fmla="*/ 181926 w 606933"/>
                    <a:gd name="connsiteY40" fmla="*/ 509721 h 606087"/>
                    <a:gd name="connsiteX41" fmla="*/ 123274 w 606933"/>
                    <a:gd name="connsiteY41" fmla="*/ 551653 h 606087"/>
                    <a:gd name="connsiteX42" fmla="*/ 54510 w 606933"/>
                    <a:gd name="connsiteY42" fmla="*/ 482985 h 606087"/>
                    <a:gd name="connsiteX43" fmla="*/ 96308 w 606933"/>
                    <a:gd name="connsiteY43" fmla="*/ 424319 h 606087"/>
                    <a:gd name="connsiteX44" fmla="*/ 71075 w 606933"/>
                    <a:gd name="connsiteY44" fmla="*/ 363345 h 606087"/>
                    <a:gd name="connsiteX45" fmla="*/ 0 w 606933"/>
                    <a:gd name="connsiteY45" fmla="*/ 351515 h 606087"/>
                    <a:gd name="connsiteX46" fmla="*/ 0 w 606933"/>
                    <a:gd name="connsiteY46" fmla="*/ 254380 h 606087"/>
                    <a:gd name="connsiteX47" fmla="*/ 71075 w 606933"/>
                    <a:gd name="connsiteY47" fmla="*/ 242550 h 606087"/>
                    <a:gd name="connsiteX48" fmla="*/ 96308 w 606933"/>
                    <a:gd name="connsiteY48" fmla="*/ 181672 h 606087"/>
                    <a:gd name="connsiteX49" fmla="*/ 54510 w 606933"/>
                    <a:gd name="connsiteY49" fmla="*/ 123103 h 606087"/>
                    <a:gd name="connsiteX50" fmla="*/ 123274 w 606933"/>
                    <a:gd name="connsiteY50" fmla="*/ 54435 h 606087"/>
                    <a:gd name="connsiteX51" fmla="*/ 181926 w 606933"/>
                    <a:gd name="connsiteY51" fmla="*/ 96174 h 606087"/>
                    <a:gd name="connsiteX52" fmla="*/ 242985 w 606933"/>
                    <a:gd name="connsiteY52" fmla="*/ 70976 h 606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606933" h="606087">
                      <a:moveTo>
                        <a:pt x="366373" y="246979"/>
                      </a:moveTo>
                      <a:lnTo>
                        <a:pt x="422546" y="303021"/>
                      </a:lnTo>
                      <a:lnTo>
                        <a:pt x="366373" y="358966"/>
                      </a:lnTo>
                      <a:lnTo>
                        <a:pt x="348452" y="341183"/>
                      </a:lnTo>
                      <a:lnTo>
                        <a:pt x="386703" y="303021"/>
                      </a:lnTo>
                      <a:lnTo>
                        <a:pt x="348452" y="264763"/>
                      </a:lnTo>
                      <a:close/>
                      <a:moveTo>
                        <a:pt x="240597" y="246979"/>
                      </a:moveTo>
                      <a:lnTo>
                        <a:pt x="258411" y="264763"/>
                      </a:lnTo>
                      <a:lnTo>
                        <a:pt x="220183" y="303021"/>
                      </a:lnTo>
                      <a:lnTo>
                        <a:pt x="258411" y="341183"/>
                      </a:lnTo>
                      <a:lnTo>
                        <a:pt x="240597" y="358966"/>
                      </a:lnTo>
                      <a:lnTo>
                        <a:pt x="184458" y="303021"/>
                      </a:lnTo>
                      <a:close/>
                      <a:moveTo>
                        <a:pt x="318612" y="231314"/>
                      </a:moveTo>
                      <a:lnTo>
                        <a:pt x="342313" y="239968"/>
                      </a:lnTo>
                      <a:lnTo>
                        <a:pt x="287686" y="389875"/>
                      </a:lnTo>
                      <a:lnTo>
                        <a:pt x="263985" y="381317"/>
                      </a:lnTo>
                      <a:close/>
                      <a:moveTo>
                        <a:pt x="303467" y="138875"/>
                      </a:moveTo>
                      <a:cubicBezTo>
                        <a:pt x="212841" y="138875"/>
                        <a:pt x="139069" y="212544"/>
                        <a:pt x="139069" y="303044"/>
                      </a:cubicBezTo>
                      <a:cubicBezTo>
                        <a:pt x="139069" y="393543"/>
                        <a:pt x="212841" y="467116"/>
                        <a:pt x="303467" y="467116"/>
                      </a:cubicBezTo>
                      <a:cubicBezTo>
                        <a:pt x="394092" y="467116"/>
                        <a:pt x="467768" y="393543"/>
                        <a:pt x="467768" y="303044"/>
                      </a:cubicBezTo>
                      <a:cubicBezTo>
                        <a:pt x="467768" y="212544"/>
                        <a:pt x="394092" y="138875"/>
                        <a:pt x="303467" y="138875"/>
                      </a:cubicBezTo>
                      <a:close/>
                      <a:moveTo>
                        <a:pt x="254735" y="0"/>
                      </a:moveTo>
                      <a:lnTo>
                        <a:pt x="352102" y="0"/>
                      </a:lnTo>
                      <a:lnTo>
                        <a:pt x="363852" y="70976"/>
                      </a:lnTo>
                      <a:cubicBezTo>
                        <a:pt x="385232" y="76555"/>
                        <a:pt x="405746" y="85018"/>
                        <a:pt x="424911" y="96174"/>
                      </a:cubicBezTo>
                      <a:lnTo>
                        <a:pt x="483659" y="54435"/>
                      </a:lnTo>
                      <a:lnTo>
                        <a:pt x="552423" y="123103"/>
                      </a:lnTo>
                      <a:lnTo>
                        <a:pt x="510529" y="181672"/>
                      </a:lnTo>
                      <a:cubicBezTo>
                        <a:pt x="521797" y="200907"/>
                        <a:pt x="530272" y="221200"/>
                        <a:pt x="535858" y="242550"/>
                      </a:cubicBezTo>
                      <a:lnTo>
                        <a:pt x="606933" y="254380"/>
                      </a:lnTo>
                      <a:lnTo>
                        <a:pt x="606933" y="351515"/>
                      </a:lnTo>
                      <a:lnTo>
                        <a:pt x="535858" y="363345"/>
                      </a:lnTo>
                      <a:cubicBezTo>
                        <a:pt x="530272" y="384695"/>
                        <a:pt x="521797" y="405180"/>
                        <a:pt x="510529" y="424319"/>
                      </a:cubicBezTo>
                      <a:lnTo>
                        <a:pt x="552423" y="482985"/>
                      </a:lnTo>
                      <a:lnTo>
                        <a:pt x="483659" y="551653"/>
                      </a:lnTo>
                      <a:lnTo>
                        <a:pt x="424911" y="509721"/>
                      </a:lnTo>
                      <a:cubicBezTo>
                        <a:pt x="405746" y="521070"/>
                        <a:pt x="385232" y="529533"/>
                        <a:pt x="363852" y="535111"/>
                      </a:cubicBezTo>
                      <a:lnTo>
                        <a:pt x="352102" y="606087"/>
                      </a:lnTo>
                      <a:lnTo>
                        <a:pt x="254735" y="606087"/>
                      </a:lnTo>
                      <a:lnTo>
                        <a:pt x="242985" y="535111"/>
                      </a:lnTo>
                      <a:cubicBezTo>
                        <a:pt x="221605" y="529533"/>
                        <a:pt x="201187" y="521070"/>
                        <a:pt x="181926" y="509721"/>
                      </a:cubicBezTo>
                      <a:lnTo>
                        <a:pt x="123274" y="551653"/>
                      </a:lnTo>
                      <a:lnTo>
                        <a:pt x="54510" y="482985"/>
                      </a:lnTo>
                      <a:lnTo>
                        <a:pt x="96308" y="424319"/>
                      </a:lnTo>
                      <a:cubicBezTo>
                        <a:pt x="85136" y="405180"/>
                        <a:pt x="76661" y="384695"/>
                        <a:pt x="71075" y="363345"/>
                      </a:cubicBezTo>
                      <a:lnTo>
                        <a:pt x="0" y="351515"/>
                      </a:lnTo>
                      <a:lnTo>
                        <a:pt x="0" y="254380"/>
                      </a:lnTo>
                      <a:lnTo>
                        <a:pt x="71075" y="242550"/>
                      </a:lnTo>
                      <a:cubicBezTo>
                        <a:pt x="76661" y="221200"/>
                        <a:pt x="85136" y="200907"/>
                        <a:pt x="96308" y="181672"/>
                      </a:cubicBezTo>
                      <a:lnTo>
                        <a:pt x="54510" y="123103"/>
                      </a:lnTo>
                      <a:lnTo>
                        <a:pt x="123274" y="54435"/>
                      </a:lnTo>
                      <a:lnTo>
                        <a:pt x="181926" y="96174"/>
                      </a:lnTo>
                      <a:cubicBezTo>
                        <a:pt x="201187" y="85018"/>
                        <a:pt x="221605" y="76555"/>
                        <a:pt x="242985" y="709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6" name="组合 45"/>
              <p:cNvGrpSpPr/>
              <p:nvPr/>
            </p:nvGrpSpPr>
            <p:grpSpPr>
              <a:xfrm>
                <a:off x="5563903" y="4129154"/>
                <a:ext cx="681351" cy="681351"/>
                <a:chOff x="5563903" y="4129154"/>
                <a:chExt cx="681351" cy="681351"/>
              </a:xfrm>
            </p:grpSpPr>
            <p:sp>
              <p:nvSpPr>
                <p:cNvPr id="56" name="椭圆 55"/>
                <p:cNvSpPr/>
                <p:nvPr/>
              </p:nvSpPr>
              <p:spPr>
                <a:xfrm>
                  <a:off x="5563903" y="4129154"/>
                  <a:ext cx="681351" cy="681351"/>
                </a:xfrm>
                <a:prstGeom prst="ellipse">
                  <a:avLst/>
                </a:prstGeom>
                <a:noFill/>
                <a:ln w="571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HK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HK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7" name="任意多边形: 形状 56"/>
                <p:cNvSpPr/>
                <p:nvPr/>
              </p:nvSpPr>
              <p:spPr>
                <a:xfrm>
                  <a:off x="5743336" y="4308810"/>
                  <a:ext cx="322486" cy="322036"/>
                </a:xfrm>
                <a:custGeom>
                  <a:avLst/>
                  <a:gdLst>
                    <a:gd name="connsiteX0" fmla="*/ 366373 w 606933"/>
                    <a:gd name="connsiteY0" fmla="*/ 246979 h 606087"/>
                    <a:gd name="connsiteX1" fmla="*/ 422546 w 606933"/>
                    <a:gd name="connsiteY1" fmla="*/ 303021 h 606087"/>
                    <a:gd name="connsiteX2" fmla="*/ 366373 w 606933"/>
                    <a:gd name="connsiteY2" fmla="*/ 358966 h 606087"/>
                    <a:gd name="connsiteX3" fmla="*/ 348452 w 606933"/>
                    <a:gd name="connsiteY3" fmla="*/ 341183 h 606087"/>
                    <a:gd name="connsiteX4" fmla="*/ 386703 w 606933"/>
                    <a:gd name="connsiteY4" fmla="*/ 303021 h 606087"/>
                    <a:gd name="connsiteX5" fmla="*/ 348452 w 606933"/>
                    <a:gd name="connsiteY5" fmla="*/ 264763 h 606087"/>
                    <a:gd name="connsiteX6" fmla="*/ 240597 w 606933"/>
                    <a:gd name="connsiteY6" fmla="*/ 246979 h 606087"/>
                    <a:gd name="connsiteX7" fmla="*/ 258411 w 606933"/>
                    <a:gd name="connsiteY7" fmla="*/ 264763 h 606087"/>
                    <a:gd name="connsiteX8" fmla="*/ 220183 w 606933"/>
                    <a:gd name="connsiteY8" fmla="*/ 303021 h 606087"/>
                    <a:gd name="connsiteX9" fmla="*/ 258411 w 606933"/>
                    <a:gd name="connsiteY9" fmla="*/ 341183 h 606087"/>
                    <a:gd name="connsiteX10" fmla="*/ 240597 w 606933"/>
                    <a:gd name="connsiteY10" fmla="*/ 358966 h 606087"/>
                    <a:gd name="connsiteX11" fmla="*/ 184458 w 606933"/>
                    <a:gd name="connsiteY11" fmla="*/ 303021 h 606087"/>
                    <a:gd name="connsiteX12" fmla="*/ 318612 w 606933"/>
                    <a:gd name="connsiteY12" fmla="*/ 231314 h 606087"/>
                    <a:gd name="connsiteX13" fmla="*/ 342313 w 606933"/>
                    <a:gd name="connsiteY13" fmla="*/ 239968 h 606087"/>
                    <a:gd name="connsiteX14" fmla="*/ 287686 w 606933"/>
                    <a:gd name="connsiteY14" fmla="*/ 389875 h 606087"/>
                    <a:gd name="connsiteX15" fmla="*/ 263985 w 606933"/>
                    <a:gd name="connsiteY15" fmla="*/ 381317 h 606087"/>
                    <a:gd name="connsiteX16" fmla="*/ 303467 w 606933"/>
                    <a:gd name="connsiteY16" fmla="*/ 138875 h 606087"/>
                    <a:gd name="connsiteX17" fmla="*/ 139069 w 606933"/>
                    <a:gd name="connsiteY17" fmla="*/ 303044 h 606087"/>
                    <a:gd name="connsiteX18" fmla="*/ 303467 w 606933"/>
                    <a:gd name="connsiteY18" fmla="*/ 467116 h 606087"/>
                    <a:gd name="connsiteX19" fmla="*/ 467768 w 606933"/>
                    <a:gd name="connsiteY19" fmla="*/ 303044 h 606087"/>
                    <a:gd name="connsiteX20" fmla="*/ 303467 w 606933"/>
                    <a:gd name="connsiteY20" fmla="*/ 138875 h 606087"/>
                    <a:gd name="connsiteX21" fmla="*/ 254735 w 606933"/>
                    <a:gd name="connsiteY21" fmla="*/ 0 h 606087"/>
                    <a:gd name="connsiteX22" fmla="*/ 352102 w 606933"/>
                    <a:gd name="connsiteY22" fmla="*/ 0 h 606087"/>
                    <a:gd name="connsiteX23" fmla="*/ 363852 w 606933"/>
                    <a:gd name="connsiteY23" fmla="*/ 70976 h 606087"/>
                    <a:gd name="connsiteX24" fmla="*/ 424911 w 606933"/>
                    <a:gd name="connsiteY24" fmla="*/ 96174 h 606087"/>
                    <a:gd name="connsiteX25" fmla="*/ 483659 w 606933"/>
                    <a:gd name="connsiteY25" fmla="*/ 54435 h 606087"/>
                    <a:gd name="connsiteX26" fmla="*/ 552423 w 606933"/>
                    <a:gd name="connsiteY26" fmla="*/ 123103 h 606087"/>
                    <a:gd name="connsiteX27" fmla="*/ 510529 w 606933"/>
                    <a:gd name="connsiteY27" fmla="*/ 181672 h 606087"/>
                    <a:gd name="connsiteX28" fmla="*/ 535858 w 606933"/>
                    <a:gd name="connsiteY28" fmla="*/ 242550 h 606087"/>
                    <a:gd name="connsiteX29" fmla="*/ 606933 w 606933"/>
                    <a:gd name="connsiteY29" fmla="*/ 254380 h 606087"/>
                    <a:gd name="connsiteX30" fmla="*/ 606933 w 606933"/>
                    <a:gd name="connsiteY30" fmla="*/ 351515 h 606087"/>
                    <a:gd name="connsiteX31" fmla="*/ 535858 w 606933"/>
                    <a:gd name="connsiteY31" fmla="*/ 363345 h 606087"/>
                    <a:gd name="connsiteX32" fmla="*/ 510529 w 606933"/>
                    <a:gd name="connsiteY32" fmla="*/ 424319 h 606087"/>
                    <a:gd name="connsiteX33" fmla="*/ 552423 w 606933"/>
                    <a:gd name="connsiteY33" fmla="*/ 482985 h 606087"/>
                    <a:gd name="connsiteX34" fmla="*/ 483659 w 606933"/>
                    <a:gd name="connsiteY34" fmla="*/ 551653 h 606087"/>
                    <a:gd name="connsiteX35" fmla="*/ 424911 w 606933"/>
                    <a:gd name="connsiteY35" fmla="*/ 509721 h 606087"/>
                    <a:gd name="connsiteX36" fmla="*/ 363852 w 606933"/>
                    <a:gd name="connsiteY36" fmla="*/ 535111 h 606087"/>
                    <a:gd name="connsiteX37" fmla="*/ 352102 w 606933"/>
                    <a:gd name="connsiteY37" fmla="*/ 606087 h 606087"/>
                    <a:gd name="connsiteX38" fmla="*/ 254735 w 606933"/>
                    <a:gd name="connsiteY38" fmla="*/ 606087 h 606087"/>
                    <a:gd name="connsiteX39" fmla="*/ 242985 w 606933"/>
                    <a:gd name="connsiteY39" fmla="*/ 535111 h 606087"/>
                    <a:gd name="connsiteX40" fmla="*/ 181926 w 606933"/>
                    <a:gd name="connsiteY40" fmla="*/ 509721 h 606087"/>
                    <a:gd name="connsiteX41" fmla="*/ 123274 w 606933"/>
                    <a:gd name="connsiteY41" fmla="*/ 551653 h 606087"/>
                    <a:gd name="connsiteX42" fmla="*/ 54510 w 606933"/>
                    <a:gd name="connsiteY42" fmla="*/ 482985 h 606087"/>
                    <a:gd name="connsiteX43" fmla="*/ 96308 w 606933"/>
                    <a:gd name="connsiteY43" fmla="*/ 424319 h 606087"/>
                    <a:gd name="connsiteX44" fmla="*/ 71075 w 606933"/>
                    <a:gd name="connsiteY44" fmla="*/ 363345 h 606087"/>
                    <a:gd name="connsiteX45" fmla="*/ 0 w 606933"/>
                    <a:gd name="connsiteY45" fmla="*/ 351515 h 606087"/>
                    <a:gd name="connsiteX46" fmla="*/ 0 w 606933"/>
                    <a:gd name="connsiteY46" fmla="*/ 254380 h 606087"/>
                    <a:gd name="connsiteX47" fmla="*/ 71075 w 606933"/>
                    <a:gd name="connsiteY47" fmla="*/ 242550 h 606087"/>
                    <a:gd name="connsiteX48" fmla="*/ 96308 w 606933"/>
                    <a:gd name="connsiteY48" fmla="*/ 181672 h 606087"/>
                    <a:gd name="connsiteX49" fmla="*/ 54510 w 606933"/>
                    <a:gd name="connsiteY49" fmla="*/ 123103 h 606087"/>
                    <a:gd name="connsiteX50" fmla="*/ 123274 w 606933"/>
                    <a:gd name="connsiteY50" fmla="*/ 54435 h 606087"/>
                    <a:gd name="connsiteX51" fmla="*/ 181926 w 606933"/>
                    <a:gd name="connsiteY51" fmla="*/ 96174 h 606087"/>
                    <a:gd name="connsiteX52" fmla="*/ 242985 w 606933"/>
                    <a:gd name="connsiteY52" fmla="*/ 70976 h 606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606933" h="606087">
                      <a:moveTo>
                        <a:pt x="366373" y="246979"/>
                      </a:moveTo>
                      <a:lnTo>
                        <a:pt x="422546" y="303021"/>
                      </a:lnTo>
                      <a:lnTo>
                        <a:pt x="366373" y="358966"/>
                      </a:lnTo>
                      <a:lnTo>
                        <a:pt x="348452" y="341183"/>
                      </a:lnTo>
                      <a:lnTo>
                        <a:pt x="386703" y="303021"/>
                      </a:lnTo>
                      <a:lnTo>
                        <a:pt x="348452" y="264763"/>
                      </a:lnTo>
                      <a:close/>
                      <a:moveTo>
                        <a:pt x="240597" y="246979"/>
                      </a:moveTo>
                      <a:lnTo>
                        <a:pt x="258411" y="264763"/>
                      </a:lnTo>
                      <a:lnTo>
                        <a:pt x="220183" y="303021"/>
                      </a:lnTo>
                      <a:lnTo>
                        <a:pt x="258411" y="341183"/>
                      </a:lnTo>
                      <a:lnTo>
                        <a:pt x="240597" y="358966"/>
                      </a:lnTo>
                      <a:lnTo>
                        <a:pt x="184458" y="303021"/>
                      </a:lnTo>
                      <a:close/>
                      <a:moveTo>
                        <a:pt x="318612" y="231314"/>
                      </a:moveTo>
                      <a:lnTo>
                        <a:pt x="342313" y="239968"/>
                      </a:lnTo>
                      <a:lnTo>
                        <a:pt x="287686" y="389875"/>
                      </a:lnTo>
                      <a:lnTo>
                        <a:pt x="263985" y="381317"/>
                      </a:lnTo>
                      <a:close/>
                      <a:moveTo>
                        <a:pt x="303467" y="138875"/>
                      </a:moveTo>
                      <a:cubicBezTo>
                        <a:pt x="212841" y="138875"/>
                        <a:pt x="139069" y="212544"/>
                        <a:pt x="139069" y="303044"/>
                      </a:cubicBezTo>
                      <a:cubicBezTo>
                        <a:pt x="139069" y="393543"/>
                        <a:pt x="212841" y="467116"/>
                        <a:pt x="303467" y="467116"/>
                      </a:cubicBezTo>
                      <a:cubicBezTo>
                        <a:pt x="394092" y="467116"/>
                        <a:pt x="467768" y="393543"/>
                        <a:pt x="467768" y="303044"/>
                      </a:cubicBezTo>
                      <a:cubicBezTo>
                        <a:pt x="467768" y="212544"/>
                        <a:pt x="394092" y="138875"/>
                        <a:pt x="303467" y="138875"/>
                      </a:cubicBezTo>
                      <a:close/>
                      <a:moveTo>
                        <a:pt x="254735" y="0"/>
                      </a:moveTo>
                      <a:lnTo>
                        <a:pt x="352102" y="0"/>
                      </a:lnTo>
                      <a:lnTo>
                        <a:pt x="363852" y="70976"/>
                      </a:lnTo>
                      <a:cubicBezTo>
                        <a:pt x="385232" y="76555"/>
                        <a:pt x="405746" y="85018"/>
                        <a:pt x="424911" y="96174"/>
                      </a:cubicBezTo>
                      <a:lnTo>
                        <a:pt x="483659" y="54435"/>
                      </a:lnTo>
                      <a:lnTo>
                        <a:pt x="552423" y="123103"/>
                      </a:lnTo>
                      <a:lnTo>
                        <a:pt x="510529" y="181672"/>
                      </a:lnTo>
                      <a:cubicBezTo>
                        <a:pt x="521797" y="200907"/>
                        <a:pt x="530272" y="221200"/>
                        <a:pt x="535858" y="242550"/>
                      </a:cubicBezTo>
                      <a:lnTo>
                        <a:pt x="606933" y="254380"/>
                      </a:lnTo>
                      <a:lnTo>
                        <a:pt x="606933" y="351515"/>
                      </a:lnTo>
                      <a:lnTo>
                        <a:pt x="535858" y="363345"/>
                      </a:lnTo>
                      <a:cubicBezTo>
                        <a:pt x="530272" y="384695"/>
                        <a:pt x="521797" y="405180"/>
                        <a:pt x="510529" y="424319"/>
                      </a:cubicBezTo>
                      <a:lnTo>
                        <a:pt x="552423" y="482985"/>
                      </a:lnTo>
                      <a:lnTo>
                        <a:pt x="483659" y="551653"/>
                      </a:lnTo>
                      <a:lnTo>
                        <a:pt x="424911" y="509721"/>
                      </a:lnTo>
                      <a:cubicBezTo>
                        <a:pt x="405746" y="521070"/>
                        <a:pt x="385232" y="529533"/>
                        <a:pt x="363852" y="535111"/>
                      </a:cubicBezTo>
                      <a:lnTo>
                        <a:pt x="352102" y="606087"/>
                      </a:lnTo>
                      <a:lnTo>
                        <a:pt x="254735" y="606087"/>
                      </a:lnTo>
                      <a:lnTo>
                        <a:pt x="242985" y="535111"/>
                      </a:lnTo>
                      <a:cubicBezTo>
                        <a:pt x="221605" y="529533"/>
                        <a:pt x="201187" y="521070"/>
                        <a:pt x="181926" y="509721"/>
                      </a:cubicBezTo>
                      <a:lnTo>
                        <a:pt x="123274" y="551653"/>
                      </a:lnTo>
                      <a:lnTo>
                        <a:pt x="54510" y="482985"/>
                      </a:lnTo>
                      <a:lnTo>
                        <a:pt x="96308" y="424319"/>
                      </a:lnTo>
                      <a:cubicBezTo>
                        <a:pt x="85136" y="405180"/>
                        <a:pt x="76661" y="384695"/>
                        <a:pt x="71075" y="363345"/>
                      </a:cubicBezTo>
                      <a:lnTo>
                        <a:pt x="0" y="351515"/>
                      </a:lnTo>
                      <a:lnTo>
                        <a:pt x="0" y="254380"/>
                      </a:lnTo>
                      <a:lnTo>
                        <a:pt x="71075" y="242550"/>
                      </a:lnTo>
                      <a:cubicBezTo>
                        <a:pt x="76661" y="221200"/>
                        <a:pt x="85136" y="200907"/>
                        <a:pt x="96308" y="181672"/>
                      </a:cubicBezTo>
                      <a:lnTo>
                        <a:pt x="54510" y="123103"/>
                      </a:lnTo>
                      <a:lnTo>
                        <a:pt x="123274" y="54435"/>
                      </a:lnTo>
                      <a:lnTo>
                        <a:pt x="181926" y="96174"/>
                      </a:lnTo>
                      <a:cubicBezTo>
                        <a:pt x="201187" y="85018"/>
                        <a:pt x="221605" y="76555"/>
                        <a:pt x="242985" y="709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7" name="组合 46"/>
              <p:cNvGrpSpPr/>
              <p:nvPr/>
            </p:nvGrpSpPr>
            <p:grpSpPr>
              <a:xfrm>
                <a:off x="6937590" y="3142843"/>
                <a:ext cx="681351" cy="681351"/>
                <a:chOff x="6937590" y="3142843"/>
                <a:chExt cx="681351" cy="681351"/>
              </a:xfrm>
            </p:grpSpPr>
            <p:sp>
              <p:nvSpPr>
                <p:cNvPr id="54" name="椭圆 53"/>
                <p:cNvSpPr/>
                <p:nvPr/>
              </p:nvSpPr>
              <p:spPr>
                <a:xfrm>
                  <a:off x="6937590" y="3142843"/>
                  <a:ext cx="681351" cy="681351"/>
                </a:xfrm>
                <a:prstGeom prst="ellipse">
                  <a:avLst/>
                </a:prstGeom>
                <a:noFill/>
                <a:ln w="571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HK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HK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5" name="任意多边形: 形状 54"/>
                <p:cNvSpPr/>
                <p:nvPr/>
              </p:nvSpPr>
              <p:spPr>
                <a:xfrm>
                  <a:off x="7117023" y="3322500"/>
                  <a:ext cx="322486" cy="322036"/>
                </a:xfrm>
                <a:custGeom>
                  <a:avLst/>
                  <a:gdLst>
                    <a:gd name="connsiteX0" fmla="*/ 366373 w 606933"/>
                    <a:gd name="connsiteY0" fmla="*/ 246979 h 606087"/>
                    <a:gd name="connsiteX1" fmla="*/ 422546 w 606933"/>
                    <a:gd name="connsiteY1" fmla="*/ 303021 h 606087"/>
                    <a:gd name="connsiteX2" fmla="*/ 366373 w 606933"/>
                    <a:gd name="connsiteY2" fmla="*/ 358966 h 606087"/>
                    <a:gd name="connsiteX3" fmla="*/ 348452 w 606933"/>
                    <a:gd name="connsiteY3" fmla="*/ 341183 h 606087"/>
                    <a:gd name="connsiteX4" fmla="*/ 386703 w 606933"/>
                    <a:gd name="connsiteY4" fmla="*/ 303021 h 606087"/>
                    <a:gd name="connsiteX5" fmla="*/ 348452 w 606933"/>
                    <a:gd name="connsiteY5" fmla="*/ 264763 h 606087"/>
                    <a:gd name="connsiteX6" fmla="*/ 240597 w 606933"/>
                    <a:gd name="connsiteY6" fmla="*/ 246979 h 606087"/>
                    <a:gd name="connsiteX7" fmla="*/ 258411 w 606933"/>
                    <a:gd name="connsiteY7" fmla="*/ 264763 h 606087"/>
                    <a:gd name="connsiteX8" fmla="*/ 220183 w 606933"/>
                    <a:gd name="connsiteY8" fmla="*/ 303021 h 606087"/>
                    <a:gd name="connsiteX9" fmla="*/ 258411 w 606933"/>
                    <a:gd name="connsiteY9" fmla="*/ 341183 h 606087"/>
                    <a:gd name="connsiteX10" fmla="*/ 240597 w 606933"/>
                    <a:gd name="connsiteY10" fmla="*/ 358966 h 606087"/>
                    <a:gd name="connsiteX11" fmla="*/ 184458 w 606933"/>
                    <a:gd name="connsiteY11" fmla="*/ 303021 h 606087"/>
                    <a:gd name="connsiteX12" fmla="*/ 318612 w 606933"/>
                    <a:gd name="connsiteY12" fmla="*/ 231314 h 606087"/>
                    <a:gd name="connsiteX13" fmla="*/ 342313 w 606933"/>
                    <a:gd name="connsiteY13" fmla="*/ 239968 h 606087"/>
                    <a:gd name="connsiteX14" fmla="*/ 287686 w 606933"/>
                    <a:gd name="connsiteY14" fmla="*/ 389875 h 606087"/>
                    <a:gd name="connsiteX15" fmla="*/ 263985 w 606933"/>
                    <a:gd name="connsiteY15" fmla="*/ 381317 h 606087"/>
                    <a:gd name="connsiteX16" fmla="*/ 303467 w 606933"/>
                    <a:gd name="connsiteY16" fmla="*/ 138875 h 606087"/>
                    <a:gd name="connsiteX17" fmla="*/ 139069 w 606933"/>
                    <a:gd name="connsiteY17" fmla="*/ 303044 h 606087"/>
                    <a:gd name="connsiteX18" fmla="*/ 303467 w 606933"/>
                    <a:gd name="connsiteY18" fmla="*/ 467116 h 606087"/>
                    <a:gd name="connsiteX19" fmla="*/ 467768 w 606933"/>
                    <a:gd name="connsiteY19" fmla="*/ 303044 h 606087"/>
                    <a:gd name="connsiteX20" fmla="*/ 303467 w 606933"/>
                    <a:gd name="connsiteY20" fmla="*/ 138875 h 606087"/>
                    <a:gd name="connsiteX21" fmla="*/ 254735 w 606933"/>
                    <a:gd name="connsiteY21" fmla="*/ 0 h 606087"/>
                    <a:gd name="connsiteX22" fmla="*/ 352102 w 606933"/>
                    <a:gd name="connsiteY22" fmla="*/ 0 h 606087"/>
                    <a:gd name="connsiteX23" fmla="*/ 363852 w 606933"/>
                    <a:gd name="connsiteY23" fmla="*/ 70976 h 606087"/>
                    <a:gd name="connsiteX24" fmla="*/ 424911 w 606933"/>
                    <a:gd name="connsiteY24" fmla="*/ 96174 h 606087"/>
                    <a:gd name="connsiteX25" fmla="*/ 483659 w 606933"/>
                    <a:gd name="connsiteY25" fmla="*/ 54435 h 606087"/>
                    <a:gd name="connsiteX26" fmla="*/ 552423 w 606933"/>
                    <a:gd name="connsiteY26" fmla="*/ 123103 h 606087"/>
                    <a:gd name="connsiteX27" fmla="*/ 510529 w 606933"/>
                    <a:gd name="connsiteY27" fmla="*/ 181672 h 606087"/>
                    <a:gd name="connsiteX28" fmla="*/ 535858 w 606933"/>
                    <a:gd name="connsiteY28" fmla="*/ 242550 h 606087"/>
                    <a:gd name="connsiteX29" fmla="*/ 606933 w 606933"/>
                    <a:gd name="connsiteY29" fmla="*/ 254380 h 606087"/>
                    <a:gd name="connsiteX30" fmla="*/ 606933 w 606933"/>
                    <a:gd name="connsiteY30" fmla="*/ 351515 h 606087"/>
                    <a:gd name="connsiteX31" fmla="*/ 535858 w 606933"/>
                    <a:gd name="connsiteY31" fmla="*/ 363345 h 606087"/>
                    <a:gd name="connsiteX32" fmla="*/ 510529 w 606933"/>
                    <a:gd name="connsiteY32" fmla="*/ 424319 h 606087"/>
                    <a:gd name="connsiteX33" fmla="*/ 552423 w 606933"/>
                    <a:gd name="connsiteY33" fmla="*/ 482985 h 606087"/>
                    <a:gd name="connsiteX34" fmla="*/ 483659 w 606933"/>
                    <a:gd name="connsiteY34" fmla="*/ 551653 h 606087"/>
                    <a:gd name="connsiteX35" fmla="*/ 424911 w 606933"/>
                    <a:gd name="connsiteY35" fmla="*/ 509721 h 606087"/>
                    <a:gd name="connsiteX36" fmla="*/ 363852 w 606933"/>
                    <a:gd name="connsiteY36" fmla="*/ 535111 h 606087"/>
                    <a:gd name="connsiteX37" fmla="*/ 352102 w 606933"/>
                    <a:gd name="connsiteY37" fmla="*/ 606087 h 606087"/>
                    <a:gd name="connsiteX38" fmla="*/ 254735 w 606933"/>
                    <a:gd name="connsiteY38" fmla="*/ 606087 h 606087"/>
                    <a:gd name="connsiteX39" fmla="*/ 242985 w 606933"/>
                    <a:gd name="connsiteY39" fmla="*/ 535111 h 606087"/>
                    <a:gd name="connsiteX40" fmla="*/ 181926 w 606933"/>
                    <a:gd name="connsiteY40" fmla="*/ 509721 h 606087"/>
                    <a:gd name="connsiteX41" fmla="*/ 123274 w 606933"/>
                    <a:gd name="connsiteY41" fmla="*/ 551653 h 606087"/>
                    <a:gd name="connsiteX42" fmla="*/ 54510 w 606933"/>
                    <a:gd name="connsiteY42" fmla="*/ 482985 h 606087"/>
                    <a:gd name="connsiteX43" fmla="*/ 96308 w 606933"/>
                    <a:gd name="connsiteY43" fmla="*/ 424319 h 606087"/>
                    <a:gd name="connsiteX44" fmla="*/ 71075 w 606933"/>
                    <a:gd name="connsiteY44" fmla="*/ 363345 h 606087"/>
                    <a:gd name="connsiteX45" fmla="*/ 0 w 606933"/>
                    <a:gd name="connsiteY45" fmla="*/ 351515 h 606087"/>
                    <a:gd name="connsiteX46" fmla="*/ 0 w 606933"/>
                    <a:gd name="connsiteY46" fmla="*/ 254380 h 606087"/>
                    <a:gd name="connsiteX47" fmla="*/ 71075 w 606933"/>
                    <a:gd name="connsiteY47" fmla="*/ 242550 h 606087"/>
                    <a:gd name="connsiteX48" fmla="*/ 96308 w 606933"/>
                    <a:gd name="connsiteY48" fmla="*/ 181672 h 606087"/>
                    <a:gd name="connsiteX49" fmla="*/ 54510 w 606933"/>
                    <a:gd name="connsiteY49" fmla="*/ 123103 h 606087"/>
                    <a:gd name="connsiteX50" fmla="*/ 123274 w 606933"/>
                    <a:gd name="connsiteY50" fmla="*/ 54435 h 606087"/>
                    <a:gd name="connsiteX51" fmla="*/ 181926 w 606933"/>
                    <a:gd name="connsiteY51" fmla="*/ 96174 h 606087"/>
                    <a:gd name="connsiteX52" fmla="*/ 242985 w 606933"/>
                    <a:gd name="connsiteY52" fmla="*/ 70976 h 606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606933" h="606087">
                      <a:moveTo>
                        <a:pt x="366373" y="246979"/>
                      </a:moveTo>
                      <a:lnTo>
                        <a:pt x="422546" y="303021"/>
                      </a:lnTo>
                      <a:lnTo>
                        <a:pt x="366373" y="358966"/>
                      </a:lnTo>
                      <a:lnTo>
                        <a:pt x="348452" y="341183"/>
                      </a:lnTo>
                      <a:lnTo>
                        <a:pt x="386703" y="303021"/>
                      </a:lnTo>
                      <a:lnTo>
                        <a:pt x="348452" y="264763"/>
                      </a:lnTo>
                      <a:close/>
                      <a:moveTo>
                        <a:pt x="240597" y="246979"/>
                      </a:moveTo>
                      <a:lnTo>
                        <a:pt x="258411" y="264763"/>
                      </a:lnTo>
                      <a:lnTo>
                        <a:pt x="220183" y="303021"/>
                      </a:lnTo>
                      <a:lnTo>
                        <a:pt x="258411" y="341183"/>
                      </a:lnTo>
                      <a:lnTo>
                        <a:pt x="240597" y="358966"/>
                      </a:lnTo>
                      <a:lnTo>
                        <a:pt x="184458" y="303021"/>
                      </a:lnTo>
                      <a:close/>
                      <a:moveTo>
                        <a:pt x="318612" y="231314"/>
                      </a:moveTo>
                      <a:lnTo>
                        <a:pt x="342313" y="239968"/>
                      </a:lnTo>
                      <a:lnTo>
                        <a:pt x="287686" y="389875"/>
                      </a:lnTo>
                      <a:lnTo>
                        <a:pt x="263985" y="381317"/>
                      </a:lnTo>
                      <a:close/>
                      <a:moveTo>
                        <a:pt x="303467" y="138875"/>
                      </a:moveTo>
                      <a:cubicBezTo>
                        <a:pt x="212841" y="138875"/>
                        <a:pt x="139069" y="212544"/>
                        <a:pt x="139069" y="303044"/>
                      </a:cubicBezTo>
                      <a:cubicBezTo>
                        <a:pt x="139069" y="393543"/>
                        <a:pt x="212841" y="467116"/>
                        <a:pt x="303467" y="467116"/>
                      </a:cubicBezTo>
                      <a:cubicBezTo>
                        <a:pt x="394092" y="467116"/>
                        <a:pt x="467768" y="393543"/>
                        <a:pt x="467768" y="303044"/>
                      </a:cubicBezTo>
                      <a:cubicBezTo>
                        <a:pt x="467768" y="212544"/>
                        <a:pt x="394092" y="138875"/>
                        <a:pt x="303467" y="138875"/>
                      </a:cubicBezTo>
                      <a:close/>
                      <a:moveTo>
                        <a:pt x="254735" y="0"/>
                      </a:moveTo>
                      <a:lnTo>
                        <a:pt x="352102" y="0"/>
                      </a:lnTo>
                      <a:lnTo>
                        <a:pt x="363852" y="70976"/>
                      </a:lnTo>
                      <a:cubicBezTo>
                        <a:pt x="385232" y="76555"/>
                        <a:pt x="405746" y="85018"/>
                        <a:pt x="424911" y="96174"/>
                      </a:cubicBezTo>
                      <a:lnTo>
                        <a:pt x="483659" y="54435"/>
                      </a:lnTo>
                      <a:lnTo>
                        <a:pt x="552423" y="123103"/>
                      </a:lnTo>
                      <a:lnTo>
                        <a:pt x="510529" y="181672"/>
                      </a:lnTo>
                      <a:cubicBezTo>
                        <a:pt x="521797" y="200907"/>
                        <a:pt x="530272" y="221200"/>
                        <a:pt x="535858" y="242550"/>
                      </a:cubicBezTo>
                      <a:lnTo>
                        <a:pt x="606933" y="254380"/>
                      </a:lnTo>
                      <a:lnTo>
                        <a:pt x="606933" y="351515"/>
                      </a:lnTo>
                      <a:lnTo>
                        <a:pt x="535858" y="363345"/>
                      </a:lnTo>
                      <a:cubicBezTo>
                        <a:pt x="530272" y="384695"/>
                        <a:pt x="521797" y="405180"/>
                        <a:pt x="510529" y="424319"/>
                      </a:cubicBezTo>
                      <a:lnTo>
                        <a:pt x="552423" y="482985"/>
                      </a:lnTo>
                      <a:lnTo>
                        <a:pt x="483659" y="551653"/>
                      </a:lnTo>
                      <a:lnTo>
                        <a:pt x="424911" y="509721"/>
                      </a:lnTo>
                      <a:cubicBezTo>
                        <a:pt x="405746" y="521070"/>
                        <a:pt x="385232" y="529533"/>
                        <a:pt x="363852" y="535111"/>
                      </a:cubicBezTo>
                      <a:lnTo>
                        <a:pt x="352102" y="606087"/>
                      </a:lnTo>
                      <a:lnTo>
                        <a:pt x="254735" y="606087"/>
                      </a:lnTo>
                      <a:lnTo>
                        <a:pt x="242985" y="535111"/>
                      </a:lnTo>
                      <a:cubicBezTo>
                        <a:pt x="221605" y="529533"/>
                        <a:pt x="201187" y="521070"/>
                        <a:pt x="181926" y="509721"/>
                      </a:cubicBezTo>
                      <a:lnTo>
                        <a:pt x="123274" y="551653"/>
                      </a:lnTo>
                      <a:lnTo>
                        <a:pt x="54510" y="482985"/>
                      </a:lnTo>
                      <a:lnTo>
                        <a:pt x="96308" y="424319"/>
                      </a:lnTo>
                      <a:cubicBezTo>
                        <a:pt x="85136" y="405180"/>
                        <a:pt x="76661" y="384695"/>
                        <a:pt x="71075" y="363345"/>
                      </a:cubicBezTo>
                      <a:lnTo>
                        <a:pt x="0" y="351515"/>
                      </a:lnTo>
                      <a:lnTo>
                        <a:pt x="0" y="254380"/>
                      </a:lnTo>
                      <a:lnTo>
                        <a:pt x="71075" y="242550"/>
                      </a:lnTo>
                      <a:cubicBezTo>
                        <a:pt x="76661" y="221200"/>
                        <a:pt x="85136" y="200907"/>
                        <a:pt x="96308" y="181672"/>
                      </a:cubicBezTo>
                      <a:lnTo>
                        <a:pt x="54510" y="123103"/>
                      </a:lnTo>
                      <a:lnTo>
                        <a:pt x="123274" y="54435"/>
                      </a:lnTo>
                      <a:lnTo>
                        <a:pt x="181926" y="96174"/>
                      </a:lnTo>
                      <a:cubicBezTo>
                        <a:pt x="201187" y="85018"/>
                        <a:pt x="221605" y="76555"/>
                        <a:pt x="242985" y="709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8" name="组合 47"/>
              <p:cNvGrpSpPr/>
              <p:nvPr/>
            </p:nvGrpSpPr>
            <p:grpSpPr>
              <a:xfrm>
                <a:off x="8289297" y="4318722"/>
                <a:ext cx="681351" cy="681351"/>
                <a:chOff x="8289297" y="4318722"/>
                <a:chExt cx="681351" cy="681351"/>
              </a:xfrm>
            </p:grpSpPr>
            <p:sp>
              <p:nvSpPr>
                <p:cNvPr id="52" name="椭圆 51"/>
                <p:cNvSpPr/>
                <p:nvPr/>
              </p:nvSpPr>
              <p:spPr>
                <a:xfrm>
                  <a:off x="8289297" y="4318722"/>
                  <a:ext cx="681351" cy="681351"/>
                </a:xfrm>
                <a:prstGeom prst="ellipse">
                  <a:avLst/>
                </a:prstGeom>
                <a:noFill/>
                <a:ln w="571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HK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HK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3" name="任意多边形: 形状 52"/>
                <p:cNvSpPr/>
                <p:nvPr/>
              </p:nvSpPr>
              <p:spPr>
                <a:xfrm>
                  <a:off x="8468730" y="4498379"/>
                  <a:ext cx="322486" cy="322036"/>
                </a:xfrm>
                <a:custGeom>
                  <a:avLst/>
                  <a:gdLst>
                    <a:gd name="connsiteX0" fmla="*/ 366373 w 606933"/>
                    <a:gd name="connsiteY0" fmla="*/ 246979 h 606087"/>
                    <a:gd name="connsiteX1" fmla="*/ 422546 w 606933"/>
                    <a:gd name="connsiteY1" fmla="*/ 303021 h 606087"/>
                    <a:gd name="connsiteX2" fmla="*/ 366373 w 606933"/>
                    <a:gd name="connsiteY2" fmla="*/ 358966 h 606087"/>
                    <a:gd name="connsiteX3" fmla="*/ 348452 w 606933"/>
                    <a:gd name="connsiteY3" fmla="*/ 341183 h 606087"/>
                    <a:gd name="connsiteX4" fmla="*/ 386703 w 606933"/>
                    <a:gd name="connsiteY4" fmla="*/ 303021 h 606087"/>
                    <a:gd name="connsiteX5" fmla="*/ 348452 w 606933"/>
                    <a:gd name="connsiteY5" fmla="*/ 264763 h 606087"/>
                    <a:gd name="connsiteX6" fmla="*/ 240597 w 606933"/>
                    <a:gd name="connsiteY6" fmla="*/ 246979 h 606087"/>
                    <a:gd name="connsiteX7" fmla="*/ 258411 w 606933"/>
                    <a:gd name="connsiteY7" fmla="*/ 264763 h 606087"/>
                    <a:gd name="connsiteX8" fmla="*/ 220183 w 606933"/>
                    <a:gd name="connsiteY8" fmla="*/ 303021 h 606087"/>
                    <a:gd name="connsiteX9" fmla="*/ 258411 w 606933"/>
                    <a:gd name="connsiteY9" fmla="*/ 341183 h 606087"/>
                    <a:gd name="connsiteX10" fmla="*/ 240597 w 606933"/>
                    <a:gd name="connsiteY10" fmla="*/ 358966 h 606087"/>
                    <a:gd name="connsiteX11" fmla="*/ 184458 w 606933"/>
                    <a:gd name="connsiteY11" fmla="*/ 303021 h 606087"/>
                    <a:gd name="connsiteX12" fmla="*/ 318612 w 606933"/>
                    <a:gd name="connsiteY12" fmla="*/ 231314 h 606087"/>
                    <a:gd name="connsiteX13" fmla="*/ 342313 w 606933"/>
                    <a:gd name="connsiteY13" fmla="*/ 239968 h 606087"/>
                    <a:gd name="connsiteX14" fmla="*/ 287686 w 606933"/>
                    <a:gd name="connsiteY14" fmla="*/ 389875 h 606087"/>
                    <a:gd name="connsiteX15" fmla="*/ 263985 w 606933"/>
                    <a:gd name="connsiteY15" fmla="*/ 381317 h 606087"/>
                    <a:gd name="connsiteX16" fmla="*/ 303467 w 606933"/>
                    <a:gd name="connsiteY16" fmla="*/ 138875 h 606087"/>
                    <a:gd name="connsiteX17" fmla="*/ 139069 w 606933"/>
                    <a:gd name="connsiteY17" fmla="*/ 303044 h 606087"/>
                    <a:gd name="connsiteX18" fmla="*/ 303467 w 606933"/>
                    <a:gd name="connsiteY18" fmla="*/ 467116 h 606087"/>
                    <a:gd name="connsiteX19" fmla="*/ 467768 w 606933"/>
                    <a:gd name="connsiteY19" fmla="*/ 303044 h 606087"/>
                    <a:gd name="connsiteX20" fmla="*/ 303467 w 606933"/>
                    <a:gd name="connsiteY20" fmla="*/ 138875 h 606087"/>
                    <a:gd name="connsiteX21" fmla="*/ 254735 w 606933"/>
                    <a:gd name="connsiteY21" fmla="*/ 0 h 606087"/>
                    <a:gd name="connsiteX22" fmla="*/ 352102 w 606933"/>
                    <a:gd name="connsiteY22" fmla="*/ 0 h 606087"/>
                    <a:gd name="connsiteX23" fmla="*/ 363852 w 606933"/>
                    <a:gd name="connsiteY23" fmla="*/ 70976 h 606087"/>
                    <a:gd name="connsiteX24" fmla="*/ 424911 w 606933"/>
                    <a:gd name="connsiteY24" fmla="*/ 96174 h 606087"/>
                    <a:gd name="connsiteX25" fmla="*/ 483659 w 606933"/>
                    <a:gd name="connsiteY25" fmla="*/ 54435 h 606087"/>
                    <a:gd name="connsiteX26" fmla="*/ 552423 w 606933"/>
                    <a:gd name="connsiteY26" fmla="*/ 123103 h 606087"/>
                    <a:gd name="connsiteX27" fmla="*/ 510529 w 606933"/>
                    <a:gd name="connsiteY27" fmla="*/ 181672 h 606087"/>
                    <a:gd name="connsiteX28" fmla="*/ 535858 w 606933"/>
                    <a:gd name="connsiteY28" fmla="*/ 242550 h 606087"/>
                    <a:gd name="connsiteX29" fmla="*/ 606933 w 606933"/>
                    <a:gd name="connsiteY29" fmla="*/ 254380 h 606087"/>
                    <a:gd name="connsiteX30" fmla="*/ 606933 w 606933"/>
                    <a:gd name="connsiteY30" fmla="*/ 351515 h 606087"/>
                    <a:gd name="connsiteX31" fmla="*/ 535858 w 606933"/>
                    <a:gd name="connsiteY31" fmla="*/ 363345 h 606087"/>
                    <a:gd name="connsiteX32" fmla="*/ 510529 w 606933"/>
                    <a:gd name="connsiteY32" fmla="*/ 424319 h 606087"/>
                    <a:gd name="connsiteX33" fmla="*/ 552423 w 606933"/>
                    <a:gd name="connsiteY33" fmla="*/ 482985 h 606087"/>
                    <a:gd name="connsiteX34" fmla="*/ 483659 w 606933"/>
                    <a:gd name="connsiteY34" fmla="*/ 551653 h 606087"/>
                    <a:gd name="connsiteX35" fmla="*/ 424911 w 606933"/>
                    <a:gd name="connsiteY35" fmla="*/ 509721 h 606087"/>
                    <a:gd name="connsiteX36" fmla="*/ 363852 w 606933"/>
                    <a:gd name="connsiteY36" fmla="*/ 535111 h 606087"/>
                    <a:gd name="connsiteX37" fmla="*/ 352102 w 606933"/>
                    <a:gd name="connsiteY37" fmla="*/ 606087 h 606087"/>
                    <a:gd name="connsiteX38" fmla="*/ 254735 w 606933"/>
                    <a:gd name="connsiteY38" fmla="*/ 606087 h 606087"/>
                    <a:gd name="connsiteX39" fmla="*/ 242985 w 606933"/>
                    <a:gd name="connsiteY39" fmla="*/ 535111 h 606087"/>
                    <a:gd name="connsiteX40" fmla="*/ 181926 w 606933"/>
                    <a:gd name="connsiteY40" fmla="*/ 509721 h 606087"/>
                    <a:gd name="connsiteX41" fmla="*/ 123274 w 606933"/>
                    <a:gd name="connsiteY41" fmla="*/ 551653 h 606087"/>
                    <a:gd name="connsiteX42" fmla="*/ 54510 w 606933"/>
                    <a:gd name="connsiteY42" fmla="*/ 482985 h 606087"/>
                    <a:gd name="connsiteX43" fmla="*/ 96308 w 606933"/>
                    <a:gd name="connsiteY43" fmla="*/ 424319 h 606087"/>
                    <a:gd name="connsiteX44" fmla="*/ 71075 w 606933"/>
                    <a:gd name="connsiteY44" fmla="*/ 363345 h 606087"/>
                    <a:gd name="connsiteX45" fmla="*/ 0 w 606933"/>
                    <a:gd name="connsiteY45" fmla="*/ 351515 h 606087"/>
                    <a:gd name="connsiteX46" fmla="*/ 0 w 606933"/>
                    <a:gd name="connsiteY46" fmla="*/ 254380 h 606087"/>
                    <a:gd name="connsiteX47" fmla="*/ 71075 w 606933"/>
                    <a:gd name="connsiteY47" fmla="*/ 242550 h 606087"/>
                    <a:gd name="connsiteX48" fmla="*/ 96308 w 606933"/>
                    <a:gd name="connsiteY48" fmla="*/ 181672 h 606087"/>
                    <a:gd name="connsiteX49" fmla="*/ 54510 w 606933"/>
                    <a:gd name="connsiteY49" fmla="*/ 123103 h 606087"/>
                    <a:gd name="connsiteX50" fmla="*/ 123274 w 606933"/>
                    <a:gd name="connsiteY50" fmla="*/ 54435 h 606087"/>
                    <a:gd name="connsiteX51" fmla="*/ 181926 w 606933"/>
                    <a:gd name="connsiteY51" fmla="*/ 96174 h 606087"/>
                    <a:gd name="connsiteX52" fmla="*/ 242985 w 606933"/>
                    <a:gd name="connsiteY52" fmla="*/ 70976 h 606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606933" h="606087">
                      <a:moveTo>
                        <a:pt x="366373" y="246979"/>
                      </a:moveTo>
                      <a:lnTo>
                        <a:pt x="422546" y="303021"/>
                      </a:lnTo>
                      <a:lnTo>
                        <a:pt x="366373" y="358966"/>
                      </a:lnTo>
                      <a:lnTo>
                        <a:pt x="348452" y="341183"/>
                      </a:lnTo>
                      <a:lnTo>
                        <a:pt x="386703" y="303021"/>
                      </a:lnTo>
                      <a:lnTo>
                        <a:pt x="348452" y="264763"/>
                      </a:lnTo>
                      <a:close/>
                      <a:moveTo>
                        <a:pt x="240597" y="246979"/>
                      </a:moveTo>
                      <a:lnTo>
                        <a:pt x="258411" y="264763"/>
                      </a:lnTo>
                      <a:lnTo>
                        <a:pt x="220183" y="303021"/>
                      </a:lnTo>
                      <a:lnTo>
                        <a:pt x="258411" y="341183"/>
                      </a:lnTo>
                      <a:lnTo>
                        <a:pt x="240597" y="358966"/>
                      </a:lnTo>
                      <a:lnTo>
                        <a:pt x="184458" y="303021"/>
                      </a:lnTo>
                      <a:close/>
                      <a:moveTo>
                        <a:pt x="318612" y="231314"/>
                      </a:moveTo>
                      <a:lnTo>
                        <a:pt x="342313" y="239968"/>
                      </a:lnTo>
                      <a:lnTo>
                        <a:pt x="287686" y="389875"/>
                      </a:lnTo>
                      <a:lnTo>
                        <a:pt x="263985" y="381317"/>
                      </a:lnTo>
                      <a:close/>
                      <a:moveTo>
                        <a:pt x="303467" y="138875"/>
                      </a:moveTo>
                      <a:cubicBezTo>
                        <a:pt x="212841" y="138875"/>
                        <a:pt x="139069" y="212544"/>
                        <a:pt x="139069" y="303044"/>
                      </a:cubicBezTo>
                      <a:cubicBezTo>
                        <a:pt x="139069" y="393543"/>
                        <a:pt x="212841" y="467116"/>
                        <a:pt x="303467" y="467116"/>
                      </a:cubicBezTo>
                      <a:cubicBezTo>
                        <a:pt x="394092" y="467116"/>
                        <a:pt x="467768" y="393543"/>
                        <a:pt x="467768" y="303044"/>
                      </a:cubicBezTo>
                      <a:cubicBezTo>
                        <a:pt x="467768" y="212544"/>
                        <a:pt x="394092" y="138875"/>
                        <a:pt x="303467" y="138875"/>
                      </a:cubicBezTo>
                      <a:close/>
                      <a:moveTo>
                        <a:pt x="254735" y="0"/>
                      </a:moveTo>
                      <a:lnTo>
                        <a:pt x="352102" y="0"/>
                      </a:lnTo>
                      <a:lnTo>
                        <a:pt x="363852" y="70976"/>
                      </a:lnTo>
                      <a:cubicBezTo>
                        <a:pt x="385232" y="76555"/>
                        <a:pt x="405746" y="85018"/>
                        <a:pt x="424911" y="96174"/>
                      </a:cubicBezTo>
                      <a:lnTo>
                        <a:pt x="483659" y="54435"/>
                      </a:lnTo>
                      <a:lnTo>
                        <a:pt x="552423" y="123103"/>
                      </a:lnTo>
                      <a:lnTo>
                        <a:pt x="510529" y="181672"/>
                      </a:lnTo>
                      <a:cubicBezTo>
                        <a:pt x="521797" y="200907"/>
                        <a:pt x="530272" y="221200"/>
                        <a:pt x="535858" y="242550"/>
                      </a:cubicBezTo>
                      <a:lnTo>
                        <a:pt x="606933" y="254380"/>
                      </a:lnTo>
                      <a:lnTo>
                        <a:pt x="606933" y="351515"/>
                      </a:lnTo>
                      <a:lnTo>
                        <a:pt x="535858" y="363345"/>
                      </a:lnTo>
                      <a:cubicBezTo>
                        <a:pt x="530272" y="384695"/>
                        <a:pt x="521797" y="405180"/>
                        <a:pt x="510529" y="424319"/>
                      </a:cubicBezTo>
                      <a:lnTo>
                        <a:pt x="552423" y="482985"/>
                      </a:lnTo>
                      <a:lnTo>
                        <a:pt x="483659" y="551653"/>
                      </a:lnTo>
                      <a:lnTo>
                        <a:pt x="424911" y="509721"/>
                      </a:lnTo>
                      <a:cubicBezTo>
                        <a:pt x="405746" y="521070"/>
                        <a:pt x="385232" y="529533"/>
                        <a:pt x="363852" y="535111"/>
                      </a:cubicBezTo>
                      <a:lnTo>
                        <a:pt x="352102" y="606087"/>
                      </a:lnTo>
                      <a:lnTo>
                        <a:pt x="254735" y="606087"/>
                      </a:lnTo>
                      <a:lnTo>
                        <a:pt x="242985" y="535111"/>
                      </a:lnTo>
                      <a:cubicBezTo>
                        <a:pt x="221605" y="529533"/>
                        <a:pt x="201187" y="521070"/>
                        <a:pt x="181926" y="509721"/>
                      </a:cubicBezTo>
                      <a:lnTo>
                        <a:pt x="123274" y="551653"/>
                      </a:lnTo>
                      <a:lnTo>
                        <a:pt x="54510" y="482985"/>
                      </a:lnTo>
                      <a:lnTo>
                        <a:pt x="96308" y="424319"/>
                      </a:lnTo>
                      <a:cubicBezTo>
                        <a:pt x="85136" y="405180"/>
                        <a:pt x="76661" y="384695"/>
                        <a:pt x="71075" y="363345"/>
                      </a:cubicBezTo>
                      <a:lnTo>
                        <a:pt x="0" y="351515"/>
                      </a:lnTo>
                      <a:lnTo>
                        <a:pt x="0" y="254380"/>
                      </a:lnTo>
                      <a:lnTo>
                        <a:pt x="71075" y="242550"/>
                      </a:lnTo>
                      <a:cubicBezTo>
                        <a:pt x="76661" y="221200"/>
                        <a:pt x="85136" y="200907"/>
                        <a:pt x="96308" y="181672"/>
                      </a:cubicBezTo>
                      <a:lnTo>
                        <a:pt x="54510" y="123103"/>
                      </a:lnTo>
                      <a:lnTo>
                        <a:pt x="123274" y="54435"/>
                      </a:lnTo>
                      <a:lnTo>
                        <a:pt x="181926" y="96174"/>
                      </a:lnTo>
                      <a:cubicBezTo>
                        <a:pt x="201187" y="85018"/>
                        <a:pt x="221605" y="76555"/>
                        <a:pt x="242985" y="709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9" name="组合 48"/>
              <p:cNvGrpSpPr/>
              <p:nvPr/>
            </p:nvGrpSpPr>
            <p:grpSpPr>
              <a:xfrm>
                <a:off x="9610159" y="2382075"/>
                <a:ext cx="681351" cy="681351"/>
                <a:chOff x="9610159" y="2382075"/>
                <a:chExt cx="681351" cy="681351"/>
              </a:xfrm>
            </p:grpSpPr>
            <p:sp>
              <p:nvSpPr>
                <p:cNvPr id="50" name="椭圆 49"/>
                <p:cNvSpPr/>
                <p:nvPr/>
              </p:nvSpPr>
              <p:spPr>
                <a:xfrm>
                  <a:off x="9610159" y="2382075"/>
                  <a:ext cx="681351" cy="681351"/>
                </a:xfrm>
                <a:prstGeom prst="ellipse">
                  <a:avLst/>
                </a:prstGeom>
                <a:noFill/>
                <a:ln w="5715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HK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HK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1" name="任意多边形: 形状 50"/>
                <p:cNvSpPr/>
                <p:nvPr/>
              </p:nvSpPr>
              <p:spPr>
                <a:xfrm>
                  <a:off x="9789592" y="2561732"/>
                  <a:ext cx="322486" cy="322036"/>
                </a:xfrm>
                <a:custGeom>
                  <a:avLst/>
                  <a:gdLst>
                    <a:gd name="connsiteX0" fmla="*/ 366373 w 606933"/>
                    <a:gd name="connsiteY0" fmla="*/ 246979 h 606087"/>
                    <a:gd name="connsiteX1" fmla="*/ 422546 w 606933"/>
                    <a:gd name="connsiteY1" fmla="*/ 303021 h 606087"/>
                    <a:gd name="connsiteX2" fmla="*/ 366373 w 606933"/>
                    <a:gd name="connsiteY2" fmla="*/ 358966 h 606087"/>
                    <a:gd name="connsiteX3" fmla="*/ 348452 w 606933"/>
                    <a:gd name="connsiteY3" fmla="*/ 341183 h 606087"/>
                    <a:gd name="connsiteX4" fmla="*/ 386703 w 606933"/>
                    <a:gd name="connsiteY4" fmla="*/ 303021 h 606087"/>
                    <a:gd name="connsiteX5" fmla="*/ 348452 w 606933"/>
                    <a:gd name="connsiteY5" fmla="*/ 264763 h 606087"/>
                    <a:gd name="connsiteX6" fmla="*/ 240597 w 606933"/>
                    <a:gd name="connsiteY6" fmla="*/ 246979 h 606087"/>
                    <a:gd name="connsiteX7" fmla="*/ 258411 w 606933"/>
                    <a:gd name="connsiteY7" fmla="*/ 264763 h 606087"/>
                    <a:gd name="connsiteX8" fmla="*/ 220183 w 606933"/>
                    <a:gd name="connsiteY8" fmla="*/ 303021 h 606087"/>
                    <a:gd name="connsiteX9" fmla="*/ 258411 w 606933"/>
                    <a:gd name="connsiteY9" fmla="*/ 341183 h 606087"/>
                    <a:gd name="connsiteX10" fmla="*/ 240597 w 606933"/>
                    <a:gd name="connsiteY10" fmla="*/ 358966 h 606087"/>
                    <a:gd name="connsiteX11" fmla="*/ 184458 w 606933"/>
                    <a:gd name="connsiteY11" fmla="*/ 303021 h 606087"/>
                    <a:gd name="connsiteX12" fmla="*/ 318612 w 606933"/>
                    <a:gd name="connsiteY12" fmla="*/ 231314 h 606087"/>
                    <a:gd name="connsiteX13" fmla="*/ 342313 w 606933"/>
                    <a:gd name="connsiteY13" fmla="*/ 239968 h 606087"/>
                    <a:gd name="connsiteX14" fmla="*/ 287686 w 606933"/>
                    <a:gd name="connsiteY14" fmla="*/ 389875 h 606087"/>
                    <a:gd name="connsiteX15" fmla="*/ 263985 w 606933"/>
                    <a:gd name="connsiteY15" fmla="*/ 381317 h 606087"/>
                    <a:gd name="connsiteX16" fmla="*/ 303467 w 606933"/>
                    <a:gd name="connsiteY16" fmla="*/ 138875 h 606087"/>
                    <a:gd name="connsiteX17" fmla="*/ 139069 w 606933"/>
                    <a:gd name="connsiteY17" fmla="*/ 303044 h 606087"/>
                    <a:gd name="connsiteX18" fmla="*/ 303467 w 606933"/>
                    <a:gd name="connsiteY18" fmla="*/ 467116 h 606087"/>
                    <a:gd name="connsiteX19" fmla="*/ 467768 w 606933"/>
                    <a:gd name="connsiteY19" fmla="*/ 303044 h 606087"/>
                    <a:gd name="connsiteX20" fmla="*/ 303467 w 606933"/>
                    <a:gd name="connsiteY20" fmla="*/ 138875 h 606087"/>
                    <a:gd name="connsiteX21" fmla="*/ 254735 w 606933"/>
                    <a:gd name="connsiteY21" fmla="*/ 0 h 606087"/>
                    <a:gd name="connsiteX22" fmla="*/ 352102 w 606933"/>
                    <a:gd name="connsiteY22" fmla="*/ 0 h 606087"/>
                    <a:gd name="connsiteX23" fmla="*/ 363852 w 606933"/>
                    <a:gd name="connsiteY23" fmla="*/ 70976 h 606087"/>
                    <a:gd name="connsiteX24" fmla="*/ 424911 w 606933"/>
                    <a:gd name="connsiteY24" fmla="*/ 96174 h 606087"/>
                    <a:gd name="connsiteX25" fmla="*/ 483659 w 606933"/>
                    <a:gd name="connsiteY25" fmla="*/ 54435 h 606087"/>
                    <a:gd name="connsiteX26" fmla="*/ 552423 w 606933"/>
                    <a:gd name="connsiteY26" fmla="*/ 123103 h 606087"/>
                    <a:gd name="connsiteX27" fmla="*/ 510529 w 606933"/>
                    <a:gd name="connsiteY27" fmla="*/ 181672 h 606087"/>
                    <a:gd name="connsiteX28" fmla="*/ 535858 w 606933"/>
                    <a:gd name="connsiteY28" fmla="*/ 242550 h 606087"/>
                    <a:gd name="connsiteX29" fmla="*/ 606933 w 606933"/>
                    <a:gd name="connsiteY29" fmla="*/ 254380 h 606087"/>
                    <a:gd name="connsiteX30" fmla="*/ 606933 w 606933"/>
                    <a:gd name="connsiteY30" fmla="*/ 351515 h 606087"/>
                    <a:gd name="connsiteX31" fmla="*/ 535858 w 606933"/>
                    <a:gd name="connsiteY31" fmla="*/ 363345 h 606087"/>
                    <a:gd name="connsiteX32" fmla="*/ 510529 w 606933"/>
                    <a:gd name="connsiteY32" fmla="*/ 424319 h 606087"/>
                    <a:gd name="connsiteX33" fmla="*/ 552423 w 606933"/>
                    <a:gd name="connsiteY33" fmla="*/ 482985 h 606087"/>
                    <a:gd name="connsiteX34" fmla="*/ 483659 w 606933"/>
                    <a:gd name="connsiteY34" fmla="*/ 551653 h 606087"/>
                    <a:gd name="connsiteX35" fmla="*/ 424911 w 606933"/>
                    <a:gd name="connsiteY35" fmla="*/ 509721 h 606087"/>
                    <a:gd name="connsiteX36" fmla="*/ 363852 w 606933"/>
                    <a:gd name="connsiteY36" fmla="*/ 535111 h 606087"/>
                    <a:gd name="connsiteX37" fmla="*/ 352102 w 606933"/>
                    <a:gd name="connsiteY37" fmla="*/ 606087 h 606087"/>
                    <a:gd name="connsiteX38" fmla="*/ 254735 w 606933"/>
                    <a:gd name="connsiteY38" fmla="*/ 606087 h 606087"/>
                    <a:gd name="connsiteX39" fmla="*/ 242985 w 606933"/>
                    <a:gd name="connsiteY39" fmla="*/ 535111 h 606087"/>
                    <a:gd name="connsiteX40" fmla="*/ 181926 w 606933"/>
                    <a:gd name="connsiteY40" fmla="*/ 509721 h 606087"/>
                    <a:gd name="connsiteX41" fmla="*/ 123274 w 606933"/>
                    <a:gd name="connsiteY41" fmla="*/ 551653 h 606087"/>
                    <a:gd name="connsiteX42" fmla="*/ 54510 w 606933"/>
                    <a:gd name="connsiteY42" fmla="*/ 482985 h 606087"/>
                    <a:gd name="connsiteX43" fmla="*/ 96308 w 606933"/>
                    <a:gd name="connsiteY43" fmla="*/ 424319 h 606087"/>
                    <a:gd name="connsiteX44" fmla="*/ 71075 w 606933"/>
                    <a:gd name="connsiteY44" fmla="*/ 363345 h 606087"/>
                    <a:gd name="connsiteX45" fmla="*/ 0 w 606933"/>
                    <a:gd name="connsiteY45" fmla="*/ 351515 h 606087"/>
                    <a:gd name="connsiteX46" fmla="*/ 0 w 606933"/>
                    <a:gd name="connsiteY46" fmla="*/ 254380 h 606087"/>
                    <a:gd name="connsiteX47" fmla="*/ 71075 w 606933"/>
                    <a:gd name="connsiteY47" fmla="*/ 242550 h 606087"/>
                    <a:gd name="connsiteX48" fmla="*/ 96308 w 606933"/>
                    <a:gd name="connsiteY48" fmla="*/ 181672 h 606087"/>
                    <a:gd name="connsiteX49" fmla="*/ 54510 w 606933"/>
                    <a:gd name="connsiteY49" fmla="*/ 123103 h 606087"/>
                    <a:gd name="connsiteX50" fmla="*/ 123274 w 606933"/>
                    <a:gd name="connsiteY50" fmla="*/ 54435 h 606087"/>
                    <a:gd name="connsiteX51" fmla="*/ 181926 w 606933"/>
                    <a:gd name="connsiteY51" fmla="*/ 96174 h 606087"/>
                    <a:gd name="connsiteX52" fmla="*/ 242985 w 606933"/>
                    <a:gd name="connsiteY52" fmla="*/ 70976 h 606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606933" h="606087">
                      <a:moveTo>
                        <a:pt x="366373" y="246979"/>
                      </a:moveTo>
                      <a:lnTo>
                        <a:pt x="422546" y="303021"/>
                      </a:lnTo>
                      <a:lnTo>
                        <a:pt x="366373" y="358966"/>
                      </a:lnTo>
                      <a:lnTo>
                        <a:pt x="348452" y="341183"/>
                      </a:lnTo>
                      <a:lnTo>
                        <a:pt x="386703" y="303021"/>
                      </a:lnTo>
                      <a:lnTo>
                        <a:pt x="348452" y="264763"/>
                      </a:lnTo>
                      <a:close/>
                      <a:moveTo>
                        <a:pt x="240597" y="246979"/>
                      </a:moveTo>
                      <a:lnTo>
                        <a:pt x="258411" y="264763"/>
                      </a:lnTo>
                      <a:lnTo>
                        <a:pt x="220183" y="303021"/>
                      </a:lnTo>
                      <a:lnTo>
                        <a:pt x="258411" y="341183"/>
                      </a:lnTo>
                      <a:lnTo>
                        <a:pt x="240597" y="358966"/>
                      </a:lnTo>
                      <a:lnTo>
                        <a:pt x="184458" y="303021"/>
                      </a:lnTo>
                      <a:close/>
                      <a:moveTo>
                        <a:pt x="318612" y="231314"/>
                      </a:moveTo>
                      <a:lnTo>
                        <a:pt x="342313" y="239968"/>
                      </a:lnTo>
                      <a:lnTo>
                        <a:pt x="287686" y="389875"/>
                      </a:lnTo>
                      <a:lnTo>
                        <a:pt x="263985" y="381317"/>
                      </a:lnTo>
                      <a:close/>
                      <a:moveTo>
                        <a:pt x="303467" y="138875"/>
                      </a:moveTo>
                      <a:cubicBezTo>
                        <a:pt x="212841" y="138875"/>
                        <a:pt x="139069" y="212544"/>
                        <a:pt x="139069" y="303044"/>
                      </a:cubicBezTo>
                      <a:cubicBezTo>
                        <a:pt x="139069" y="393543"/>
                        <a:pt x="212841" y="467116"/>
                        <a:pt x="303467" y="467116"/>
                      </a:cubicBezTo>
                      <a:cubicBezTo>
                        <a:pt x="394092" y="467116"/>
                        <a:pt x="467768" y="393543"/>
                        <a:pt x="467768" y="303044"/>
                      </a:cubicBezTo>
                      <a:cubicBezTo>
                        <a:pt x="467768" y="212544"/>
                        <a:pt x="394092" y="138875"/>
                        <a:pt x="303467" y="138875"/>
                      </a:cubicBezTo>
                      <a:close/>
                      <a:moveTo>
                        <a:pt x="254735" y="0"/>
                      </a:moveTo>
                      <a:lnTo>
                        <a:pt x="352102" y="0"/>
                      </a:lnTo>
                      <a:lnTo>
                        <a:pt x="363852" y="70976"/>
                      </a:lnTo>
                      <a:cubicBezTo>
                        <a:pt x="385232" y="76555"/>
                        <a:pt x="405746" y="85018"/>
                        <a:pt x="424911" y="96174"/>
                      </a:cubicBezTo>
                      <a:lnTo>
                        <a:pt x="483659" y="54435"/>
                      </a:lnTo>
                      <a:lnTo>
                        <a:pt x="552423" y="123103"/>
                      </a:lnTo>
                      <a:lnTo>
                        <a:pt x="510529" y="181672"/>
                      </a:lnTo>
                      <a:cubicBezTo>
                        <a:pt x="521797" y="200907"/>
                        <a:pt x="530272" y="221200"/>
                        <a:pt x="535858" y="242550"/>
                      </a:cubicBezTo>
                      <a:lnTo>
                        <a:pt x="606933" y="254380"/>
                      </a:lnTo>
                      <a:lnTo>
                        <a:pt x="606933" y="351515"/>
                      </a:lnTo>
                      <a:lnTo>
                        <a:pt x="535858" y="363345"/>
                      </a:lnTo>
                      <a:cubicBezTo>
                        <a:pt x="530272" y="384695"/>
                        <a:pt x="521797" y="405180"/>
                        <a:pt x="510529" y="424319"/>
                      </a:cubicBezTo>
                      <a:lnTo>
                        <a:pt x="552423" y="482985"/>
                      </a:lnTo>
                      <a:lnTo>
                        <a:pt x="483659" y="551653"/>
                      </a:lnTo>
                      <a:lnTo>
                        <a:pt x="424911" y="509721"/>
                      </a:lnTo>
                      <a:cubicBezTo>
                        <a:pt x="405746" y="521070"/>
                        <a:pt x="385232" y="529533"/>
                        <a:pt x="363852" y="535111"/>
                      </a:cubicBezTo>
                      <a:lnTo>
                        <a:pt x="352102" y="606087"/>
                      </a:lnTo>
                      <a:lnTo>
                        <a:pt x="254735" y="606087"/>
                      </a:lnTo>
                      <a:lnTo>
                        <a:pt x="242985" y="535111"/>
                      </a:lnTo>
                      <a:cubicBezTo>
                        <a:pt x="221605" y="529533"/>
                        <a:pt x="201187" y="521070"/>
                        <a:pt x="181926" y="509721"/>
                      </a:cubicBezTo>
                      <a:lnTo>
                        <a:pt x="123274" y="551653"/>
                      </a:lnTo>
                      <a:lnTo>
                        <a:pt x="54510" y="482985"/>
                      </a:lnTo>
                      <a:lnTo>
                        <a:pt x="96308" y="424319"/>
                      </a:lnTo>
                      <a:cubicBezTo>
                        <a:pt x="85136" y="405180"/>
                        <a:pt x="76661" y="384695"/>
                        <a:pt x="71075" y="363345"/>
                      </a:cubicBezTo>
                      <a:lnTo>
                        <a:pt x="0" y="351515"/>
                      </a:lnTo>
                      <a:lnTo>
                        <a:pt x="0" y="254380"/>
                      </a:lnTo>
                      <a:lnTo>
                        <a:pt x="71075" y="242550"/>
                      </a:lnTo>
                      <a:cubicBezTo>
                        <a:pt x="76661" y="221200"/>
                        <a:pt x="85136" y="200907"/>
                        <a:pt x="96308" y="181672"/>
                      </a:cubicBezTo>
                      <a:lnTo>
                        <a:pt x="54510" y="123103"/>
                      </a:lnTo>
                      <a:lnTo>
                        <a:pt x="123274" y="54435"/>
                      </a:lnTo>
                      <a:lnTo>
                        <a:pt x="181926" y="96174"/>
                      </a:lnTo>
                      <a:cubicBezTo>
                        <a:pt x="201187" y="85018"/>
                        <a:pt x="221605" y="76555"/>
                        <a:pt x="242985" y="709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1269910" y="5159495"/>
              <a:ext cx="2170128" cy="974605"/>
              <a:chOff x="2193732" y="2099704"/>
              <a:chExt cx="2170128" cy="974605"/>
            </a:xfrm>
          </p:grpSpPr>
          <p:grpSp>
            <p:nvGrpSpPr>
              <p:cNvPr id="33" name="组合 32"/>
              <p:cNvGrpSpPr/>
              <p:nvPr/>
            </p:nvGrpSpPr>
            <p:grpSpPr>
              <a:xfrm>
                <a:off x="2768750" y="2099704"/>
                <a:ext cx="1595110" cy="974605"/>
                <a:chOff x="9272641" y="1448339"/>
                <a:chExt cx="1811159" cy="974605"/>
              </a:xfrm>
            </p:grpSpPr>
            <p:sp>
              <p:nvSpPr>
                <p:cNvPr id="35" name="矩形 34"/>
                <p:cNvSpPr/>
                <p:nvPr/>
              </p:nvSpPr>
              <p:spPr>
                <a:xfrm>
                  <a:off x="9272641" y="1448339"/>
                  <a:ext cx="1811159" cy="366573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b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过程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矩形 35"/>
                <p:cNvSpPr/>
                <p:nvPr/>
              </p:nvSpPr>
              <p:spPr bwMode="auto">
                <a:xfrm>
                  <a:off x="9272641" y="1814913"/>
                  <a:ext cx="1811159" cy="6080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4" name="文本框 33"/>
              <p:cNvSpPr txBox="1"/>
              <p:nvPr/>
            </p:nvSpPr>
            <p:spPr>
              <a:xfrm>
                <a:off x="2193732" y="2197500"/>
                <a:ext cx="550661" cy="5036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4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+mn-ea"/>
                    <a:sym typeface="+mn-lt"/>
                  </a:rPr>
                  <a:t>01</a:t>
                </a:r>
                <a:endParaRPr lang="id-ID" sz="2400" b="1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2874375" y="2231744"/>
              <a:ext cx="2170128" cy="974605"/>
              <a:chOff x="2193732" y="2099704"/>
              <a:chExt cx="2170128" cy="974605"/>
            </a:xfrm>
          </p:grpSpPr>
          <p:grpSp>
            <p:nvGrpSpPr>
              <p:cNvPr id="29" name="组合 28"/>
              <p:cNvGrpSpPr/>
              <p:nvPr/>
            </p:nvGrpSpPr>
            <p:grpSpPr>
              <a:xfrm>
                <a:off x="2768750" y="2099704"/>
                <a:ext cx="1595110" cy="974605"/>
                <a:chOff x="9272641" y="1448339"/>
                <a:chExt cx="1811159" cy="974605"/>
              </a:xfrm>
            </p:grpSpPr>
            <p:sp>
              <p:nvSpPr>
                <p:cNvPr id="31" name="矩形 30"/>
                <p:cNvSpPr/>
                <p:nvPr/>
              </p:nvSpPr>
              <p:spPr>
                <a:xfrm>
                  <a:off x="9272641" y="1448339"/>
                  <a:ext cx="1811159" cy="366573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b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过程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2" name="矩形 31"/>
                <p:cNvSpPr/>
                <p:nvPr/>
              </p:nvSpPr>
              <p:spPr bwMode="auto">
                <a:xfrm>
                  <a:off x="9272641" y="1814913"/>
                  <a:ext cx="1811159" cy="6080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0" name="文本框 29"/>
              <p:cNvSpPr txBox="1"/>
              <p:nvPr/>
            </p:nvSpPr>
            <p:spPr>
              <a:xfrm>
                <a:off x="2193732" y="2197500"/>
                <a:ext cx="550661" cy="5036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4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+mn-ea"/>
                    <a:sym typeface="+mn-lt"/>
                  </a:rPr>
                  <a:t>02</a:t>
                </a:r>
                <a:endParaRPr lang="id-ID" sz="2400" b="1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819514" y="4805083"/>
              <a:ext cx="2170128" cy="974605"/>
              <a:chOff x="2193732" y="2099704"/>
              <a:chExt cx="2170128" cy="974605"/>
            </a:xfrm>
          </p:grpSpPr>
          <p:grpSp>
            <p:nvGrpSpPr>
              <p:cNvPr id="25" name="组合 24"/>
              <p:cNvGrpSpPr/>
              <p:nvPr/>
            </p:nvGrpSpPr>
            <p:grpSpPr>
              <a:xfrm>
                <a:off x="2768750" y="2099704"/>
                <a:ext cx="1595110" cy="974605"/>
                <a:chOff x="9272641" y="1448339"/>
                <a:chExt cx="1811159" cy="974605"/>
              </a:xfrm>
            </p:grpSpPr>
            <p:sp>
              <p:nvSpPr>
                <p:cNvPr id="27" name="矩形 26"/>
                <p:cNvSpPr/>
                <p:nvPr/>
              </p:nvSpPr>
              <p:spPr>
                <a:xfrm>
                  <a:off x="9272641" y="1448339"/>
                  <a:ext cx="1811159" cy="366573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b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过程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矩形 27"/>
                <p:cNvSpPr/>
                <p:nvPr/>
              </p:nvSpPr>
              <p:spPr bwMode="auto">
                <a:xfrm>
                  <a:off x="9272641" y="1814913"/>
                  <a:ext cx="1811159" cy="6080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26" name="文本框 25"/>
              <p:cNvSpPr txBox="1"/>
              <p:nvPr/>
            </p:nvSpPr>
            <p:spPr>
              <a:xfrm>
                <a:off x="2193732" y="2197500"/>
                <a:ext cx="550661" cy="5036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4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+mn-ea"/>
                    <a:sym typeface="+mn-lt"/>
                  </a:rPr>
                  <a:t>03</a:t>
                </a:r>
                <a:endParaRPr lang="id-ID" sz="2400" b="1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6193201" y="1891068"/>
              <a:ext cx="2170128" cy="974605"/>
              <a:chOff x="2193732" y="2099704"/>
              <a:chExt cx="2170128" cy="974605"/>
            </a:xfrm>
          </p:grpSpPr>
          <p:grpSp>
            <p:nvGrpSpPr>
              <p:cNvPr id="21" name="组合 20"/>
              <p:cNvGrpSpPr/>
              <p:nvPr/>
            </p:nvGrpSpPr>
            <p:grpSpPr>
              <a:xfrm>
                <a:off x="2768750" y="2099704"/>
                <a:ext cx="1595110" cy="974605"/>
                <a:chOff x="9272641" y="1448339"/>
                <a:chExt cx="1811159" cy="974605"/>
              </a:xfrm>
            </p:grpSpPr>
            <p:sp>
              <p:nvSpPr>
                <p:cNvPr id="23" name="矩形 22"/>
                <p:cNvSpPr/>
                <p:nvPr/>
              </p:nvSpPr>
              <p:spPr>
                <a:xfrm>
                  <a:off x="9272641" y="1448339"/>
                  <a:ext cx="1811159" cy="366573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b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过程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矩形 23"/>
                <p:cNvSpPr/>
                <p:nvPr/>
              </p:nvSpPr>
              <p:spPr bwMode="auto">
                <a:xfrm>
                  <a:off x="9272641" y="1814913"/>
                  <a:ext cx="1811159" cy="6080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22" name="文本框 21"/>
              <p:cNvSpPr txBox="1"/>
              <p:nvPr/>
            </p:nvSpPr>
            <p:spPr>
              <a:xfrm>
                <a:off x="2193732" y="2197500"/>
                <a:ext cx="550661" cy="5036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4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+mn-ea"/>
                    <a:sym typeface="+mn-lt"/>
                  </a:rPr>
                  <a:t>04</a:t>
                </a:r>
                <a:endParaRPr lang="id-ID" sz="2400" b="1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7544908" y="4994651"/>
              <a:ext cx="2170128" cy="974605"/>
              <a:chOff x="2193732" y="2099704"/>
              <a:chExt cx="2170128" cy="974605"/>
            </a:xfrm>
          </p:grpSpPr>
          <p:grpSp>
            <p:nvGrpSpPr>
              <p:cNvPr id="17" name="组合 16"/>
              <p:cNvGrpSpPr/>
              <p:nvPr/>
            </p:nvGrpSpPr>
            <p:grpSpPr>
              <a:xfrm>
                <a:off x="2768750" y="2099704"/>
                <a:ext cx="1595110" cy="974605"/>
                <a:chOff x="9272641" y="1448339"/>
                <a:chExt cx="1811159" cy="974605"/>
              </a:xfrm>
            </p:grpSpPr>
            <p:sp>
              <p:nvSpPr>
                <p:cNvPr id="19" name="矩形 18"/>
                <p:cNvSpPr/>
                <p:nvPr/>
              </p:nvSpPr>
              <p:spPr>
                <a:xfrm>
                  <a:off x="9272641" y="1448339"/>
                  <a:ext cx="1811159" cy="366573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b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过程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0" name="矩形 19"/>
                <p:cNvSpPr/>
                <p:nvPr/>
              </p:nvSpPr>
              <p:spPr bwMode="auto">
                <a:xfrm>
                  <a:off x="9272641" y="1814913"/>
                  <a:ext cx="1811159" cy="6080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8" name="文本框 17"/>
              <p:cNvSpPr txBox="1"/>
              <p:nvPr/>
            </p:nvSpPr>
            <p:spPr>
              <a:xfrm>
                <a:off x="2193732" y="2197500"/>
                <a:ext cx="550661" cy="5036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4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+mn-ea"/>
                    <a:sym typeface="+mn-lt"/>
                  </a:rPr>
                  <a:t>05</a:t>
                </a:r>
                <a:endParaRPr lang="id-ID" sz="2400" b="1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8865770" y="1130300"/>
              <a:ext cx="2170128" cy="974605"/>
              <a:chOff x="2193732" y="2099704"/>
              <a:chExt cx="2170128" cy="974605"/>
            </a:xfrm>
          </p:grpSpPr>
          <p:grpSp>
            <p:nvGrpSpPr>
              <p:cNvPr id="13" name="组合 12"/>
              <p:cNvGrpSpPr/>
              <p:nvPr/>
            </p:nvGrpSpPr>
            <p:grpSpPr>
              <a:xfrm>
                <a:off x="2768750" y="2099704"/>
                <a:ext cx="1595110" cy="974605"/>
                <a:chOff x="9272641" y="1448339"/>
                <a:chExt cx="1811159" cy="974605"/>
              </a:xfrm>
            </p:grpSpPr>
            <p:sp>
              <p:nvSpPr>
                <p:cNvPr id="15" name="矩形 14"/>
                <p:cNvSpPr/>
                <p:nvPr/>
              </p:nvSpPr>
              <p:spPr>
                <a:xfrm>
                  <a:off x="9272641" y="1448339"/>
                  <a:ext cx="1811159" cy="366573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b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id-ID" altLang="zh-CN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矩形 15"/>
                <p:cNvSpPr/>
                <p:nvPr/>
              </p:nvSpPr>
              <p:spPr bwMode="auto">
                <a:xfrm>
                  <a:off x="9272641" y="1814913"/>
                  <a:ext cx="1811159" cy="6080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3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4" name="文本框 13"/>
              <p:cNvSpPr txBox="1"/>
              <p:nvPr/>
            </p:nvSpPr>
            <p:spPr>
              <a:xfrm>
                <a:off x="2193732" y="2197500"/>
                <a:ext cx="550661" cy="5036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4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+mn-ea"/>
                    <a:sym typeface="+mn-lt"/>
                  </a:rPr>
                  <a:t>06</a:t>
                </a:r>
                <a:endParaRPr lang="id-ID" sz="2400" b="1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关键技术与实践难点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关键技术点</a:t>
            </a:r>
            <a:endParaRPr lang="en-US" altLang="zh-CN" dirty="0">
              <a:cs typeface="+mn-ea"/>
              <a:sym typeface="+mn-lt"/>
            </a:endParaRPr>
          </a:p>
          <a:p>
            <a:pPr lvl="0"/>
            <a:r>
              <a:rPr lang="zh-CN" altLang="en-US" dirty="0">
                <a:cs typeface="+mn-ea"/>
                <a:sym typeface="+mn-lt"/>
              </a:rPr>
              <a:t>实践难点</a:t>
            </a:r>
            <a:endParaRPr lang="en-US" altLang="zh-CN" dirty="0">
              <a:cs typeface="+mn-ea"/>
              <a:sym typeface="+mn-lt"/>
            </a:endParaRPr>
          </a:p>
          <a:p>
            <a:pPr lvl="0"/>
            <a:r>
              <a:rPr lang="zh-CN" altLang="en-US" dirty="0">
                <a:cs typeface="+mn-ea"/>
                <a:sym typeface="+mn-lt"/>
              </a:rPr>
              <a:t>市场调研分析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91703" y="3374184"/>
            <a:ext cx="1773697" cy="190590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关键技术点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-2618392"/>
            <a:ext cx="10858500" cy="8752492"/>
            <a:chOff x="660400" y="-2618392"/>
            <a:chExt cx="10858500" cy="8752492"/>
          </a:xfrm>
        </p:grpSpPr>
        <p:sp>
          <p:nvSpPr>
            <p:cNvPr id="6" name="弧形 5"/>
            <p:cNvSpPr/>
            <p:nvPr/>
          </p:nvSpPr>
          <p:spPr>
            <a:xfrm flipV="1">
              <a:off x="2126314" y="-2618392"/>
              <a:ext cx="7939373" cy="7455799"/>
            </a:xfrm>
            <a:prstGeom prst="arc">
              <a:avLst>
                <a:gd name="adj1" fmla="val 10804146"/>
                <a:gd name="adj2" fmla="val 660"/>
              </a:avLst>
            </a:prstGeom>
            <a:ln w="3175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7" name="组合 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4488706" y="1028701"/>
              <a:ext cx="3201877" cy="3391134"/>
              <a:chOff x="3963381" y="1170328"/>
              <a:chExt cx="4265238" cy="4517344"/>
            </a:xfrm>
          </p:grpSpPr>
          <p:sp>
            <p:nvSpPr>
              <p:cNvPr id="43" name="任意多边形: 形状 42"/>
              <p:cNvSpPr/>
              <p:nvPr/>
            </p:nvSpPr>
            <p:spPr bwMode="auto">
              <a:xfrm>
                <a:off x="4352690" y="2868191"/>
                <a:ext cx="2462759" cy="1943110"/>
              </a:xfrm>
              <a:custGeom>
                <a:avLst/>
                <a:gdLst>
                  <a:gd name="T0" fmla="*/ 687 w 690"/>
                  <a:gd name="T1" fmla="*/ 373 h 546"/>
                  <a:gd name="T2" fmla="*/ 116 w 690"/>
                  <a:gd name="T3" fmla="*/ 1 h 546"/>
                  <a:gd name="T4" fmla="*/ 108 w 690"/>
                  <a:gd name="T5" fmla="*/ 3 h 546"/>
                  <a:gd name="T6" fmla="*/ 7 w 690"/>
                  <a:gd name="T7" fmla="*/ 158 h 546"/>
                  <a:gd name="T8" fmla="*/ 0 w 690"/>
                  <a:gd name="T9" fmla="*/ 168 h 546"/>
                  <a:gd name="T10" fmla="*/ 581 w 690"/>
                  <a:gd name="T11" fmla="*/ 546 h 546"/>
                  <a:gd name="T12" fmla="*/ 588 w 690"/>
                  <a:gd name="T13" fmla="*/ 536 h 546"/>
                  <a:gd name="T14" fmla="*/ 688 w 690"/>
                  <a:gd name="T15" fmla="*/ 382 h 546"/>
                  <a:gd name="T16" fmla="*/ 687 w 690"/>
                  <a:gd name="T17" fmla="*/ 373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0" h="546">
                    <a:moveTo>
                      <a:pt x="687" y="373"/>
                    </a:moveTo>
                    <a:cubicBezTo>
                      <a:pt x="116" y="1"/>
                      <a:pt x="116" y="1"/>
                      <a:pt x="116" y="1"/>
                    </a:cubicBezTo>
                    <a:cubicBezTo>
                      <a:pt x="113" y="0"/>
                      <a:pt x="109" y="0"/>
                      <a:pt x="108" y="3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581" y="546"/>
                      <a:pt x="581" y="546"/>
                      <a:pt x="581" y="546"/>
                    </a:cubicBezTo>
                    <a:cubicBezTo>
                      <a:pt x="588" y="536"/>
                      <a:pt x="588" y="536"/>
                      <a:pt x="588" y="536"/>
                    </a:cubicBezTo>
                    <a:cubicBezTo>
                      <a:pt x="688" y="382"/>
                      <a:pt x="688" y="382"/>
                      <a:pt x="688" y="382"/>
                    </a:cubicBezTo>
                    <a:cubicBezTo>
                      <a:pt x="690" y="379"/>
                      <a:pt x="689" y="375"/>
                      <a:pt x="687" y="373"/>
                    </a:cubicBezTo>
                    <a:close/>
                  </a:path>
                </a:pathLst>
              </a:custGeom>
              <a:solidFill>
                <a:srgbClr val="242630">
                  <a:alpha val="26000"/>
                </a:srgb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/>
              <p:cNvSpPr/>
              <p:nvPr/>
            </p:nvSpPr>
            <p:spPr bwMode="auto">
              <a:xfrm>
                <a:off x="4459020" y="2739565"/>
                <a:ext cx="2440464" cy="1908810"/>
              </a:xfrm>
              <a:custGeom>
                <a:avLst/>
                <a:gdLst>
                  <a:gd name="T0" fmla="*/ 581 w 684"/>
                  <a:gd name="T1" fmla="*/ 536 h 536"/>
                  <a:gd name="T2" fmla="*/ 0 w 684"/>
                  <a:gd name="T3" fmla="*/ 158 h 536"/>
                  <a:gd name="T4" fmla="*/ 101 w 684"/>
                  <a:gd name="T5" fmla="*/ 3 h 536"/>
                  <a:gd name="T6" fmla="*/ 109 w 684"/>
                  <a:gd name="T7" fmla="*/ 2 h 536"/>
                  <a:gd name="T8" fmla="*/ 680 w 684"/>
                  <a:gd name="T9" fmla="*/ 373 h 536"/>
                  <a:gd name="T10" fmla="*/ 682 w 684"/>
                  <a:gd name="T11" fmla="*/ 382 h 536"/>
                  <a:gd name="T12" fmla="*/ 581 w 684"/>
                  <a:gd name="T13" fmla="*/ 536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4" h="536">
                    <a:moveTo>
                      <a:pt x="581" y="536"/>
                    </a:moveTo>
                    <a:cubicBezTo>
                      <a:pt x="0" y="158"/>
                      <a:pt x="0" y="158"/>
                      <a:pt x="0" y="158"/>
                    </a:cubicBezTo>
                    <a:cubicBezTo>
                      <a:pt x="101" y="3"/>
                      <a:pt x="101" y="3"/>
                      <a:pt x="101" y="3"/>
                    </a:cubicBezTo>
                    <a:cubicBezTo>
                      <a:pt x="103" y="1"/>
                      <a:pt x="107" y="0"/>
                      <a:pt x="109" y="2"/>
                    </a:cubicBezTo>
                    <a:cubicBezTo>
                      <a:pt x="680" y="373"/>
                      <a:pt x="680" y="373"/>
                      <a:pt x="680" y="373"/>
                    </a:cubicBezTo>
                    <a:cubicBezTo>
                      <a:pt x="683" y="375"/>
                      <a:pt x="684" y="379"/>
                      <a:pt x="682" y="382"/>
                    </a:cubicBezTo>
                    <a:lnTo>
                      <a:pt x="581" y="536"/>
                    </a:lnTo>
                    <a:close/>
                  </a:path>
                </a:pathLst>
              </a:custGeom>
              <a:solidFill>
                <a:srgbClr val="EBF1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" name="任意多边形: 形状 44"/>
              <p:cNvSpPr/>
              <p:nvPr/>
            </p:nvSpPr>
            <p:spPr bwMode="auto">
              <a:xfrm>
                <a:off x="4841468" y="2828746"/>
                <a:ext cx="113191" cy="99471"/>
              </a:xfrm>
              <a:custGeom>
                <a:avLst/>
                <a:gdLst>
                  <a:gd name="T0" fmla="*/ 50 w 66"/>
                  <a:gd name="T1" fmla="*/ 58 h 58"/>
                  <a:gd name="T2" fmla="*/ 0 w 66"/>
                  <a:gd name="T3" fmla="*/ 25 h 58"/>
                  <a:gd name="T4" fmla="*/ 16 w 66"/>
                  <a:gd name="T5" fmla="*/ 0 h 58"/>
                  <a:gd name="T6" fmla="*/ 66 w 66"/>
                  <a:gd name="T7" fmla="*/ 33 h 58"/>
                  <a:gd name="T8" fmla="*/ 50 w 66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8">
                    <a:moveTo>
                      <a:pt x="50" y="58"/>
                    </a:moveTo>
                    <a:lnTo>
                      <a:pt x="0" y="25"/>
                    </a:lnTo>
                    <a:lnTo>
                      <a:pt x="16" y="0"/>
                    </a:lnTo>
                    <a:lnTo>
                      <a:pt x="66" y="33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/>
              <p:cNvSpPr/>
              <p:nvPr/>
            </p:nvSpPr>
            <p:spPr bwMode="auto">
              <a:xfrm>
                <a:off x="5009539" y="2938507"/>
                <a:ext cx="113191" cy="99471"/>
              </a:xfrm>
              <a:custGeom>
                <a:avLst/>
                <a:gdLst>
                  <a:gd name="T0" fmla="*/ 50 w 66"/>
                  <a:gd name="T1" fmla="*/ 58 h 58"/>
                  <a:gd name="T2" fmla="*/ 0 w 66"/>
                  <a:gd name="T3" fmla="*/ 25 h 58"/>
                  <a:gd name="T4" fmla="*/ 16 w 66"/>
                  <a:gd name="T5" fmla="*/ 0 h 58"/>
                  <a:gd name="T6" fmla="*/ 66 w 66"/>
                  <a:gd name="T7" fmla="*/ 34 h 58"/>
                  <a:gd name="T8" fmla="*/ 50 w 66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8">
                    <a:moveTo>
                      <a:pt x="50" y="58"/>
                    </a:moveTo>
                    <a:lnTo>
                      <a:pt x="0" y="25"/>
                    </a:lnTo>
                    <a:lnTo>
                      <a:pt x="16" y="0"/>
                    </a:lnTo>
                    <a:lnTo>
                      <a:pt x="66" y="34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" name="任意多边形: 形状 46"/>
              <p:cNvSpPr/>
              <p:nvPr/>
            </p:nvSpPr>
            <p:spPr bwMode="auto">
              <a:xfrm>
                <a:off x="5175896" y="3046552"/>
                <a:ext cx="114906" cy="99471"/>
              </a:xfrm>
              <a:custGeom>
                <a:avLst/>
                <a:gdLst>
                  <a:gd name="T0" fmla="*/ 50 w 67"/>
                  <a:gd name="T1" fmla="*/ 58 h 58"/>
                  <a:gd name="T2" fmla="*/ 0 w 67"/>
                  <a:gd name="T3" fmla="*/ 27 h 58"/>
                  <a:gd name="T4" fmla="*/ 17 w 67"/>
                  <a:gd name="T5" fmla="*/ 0 h 58"/>
                  <a:gd name="T6" fmla="*/ 67 w 67"/>
                  <a:gd name="T7" fmla="*/ 33 h 58"/>
                  <a:gd name="T8" fmla="*/ 50 w 6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58">
                    <a:moveTo>
                      <a:pt x="50" y="58"/>
                    </a:moveTo>
                    <a:lnTo>
                      <a:pt x="0" y="27"/>
                    </a:lnTo>
                    <a:lnTo>
                      <a:pt x="17" y="0"/>
                    </a:lnTo>
                    <a:lnTo>
                      <a:pt x="67" y="33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/>
              <p:cNvSpPr/>
              <p:nvPr/>
            </p:nvSpPr>
            <p:spPr bwMode="auto">
              <a:xfrm>
                <a:off x="5343967" y="3156313"/>
                <a:ext cx="114906" cy="99471"/>
              </a:xfrm>
              <a:custGeom>
                <a:avLst/>
                <a:gdLst>
                  <a:gd name="T0" fmla="*/ 50 w 67"/>
                  <a:gd name="T1" fmla="*/ 58 h 58"/>
                  <a:gd name="T2" fmla="*/ 0 w 67"/>
                  <a:gd name="T3" fmla="*/ 25 h 58"/>
                  <a:gd name="T4" fmla="*/ 17 w 67"/>
                  <a:gd name="T5" fmla="*/ 0 h 58"/>
                  <a:gd name="T6" fmla="*/ 67 w 67"/>
                  <a:gd name="T7" fmla="*/ 33 h 58"/>
                  <a:gd name="T8" fmla="*/ 50 w 6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58">
                    <a:moveTo>
                      <a:pt x="50" y="58"/>
                    </a:moveTo>
                    <a:lnTo>
                      <a:pt x="0" y="25"/>
                    </a:lnTo>
                    <a:lnTo>
                      <a:pt x="17" y="0"/>
                    </a:lnTo>
                    <a:lnTo>
                      <a:pt x="67" y="33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/>
              <p:cNvSpPr/>
              <p:nvPr/>
            </p:nvSpPr>
            <p:spPr bwMode="auto">
              <a:xfrm>
                <a:off x="5512038" y="3266074"/>
                <a:ext cx="114906" cy="99471"/>
              </a:xfrm>
              <a:custGeom>
                <a:avLst/>
                <a:gdLst>
                  <a:gd name="T0" fmla="*/ 50 w 67"/>
                  <a:gd name="T1" fmla="*/ 58 h 58"/>
                  <a:gd name="T2" fmla="*/ 0 w 67"/>
                  <a:gd name="T3" fmla="*/ 25 h 58"/>
                  <a:gd name="T4" fmla="*/ 17 w 67"/>
                  <a:gd name="T5" fmla="*/ 0 h 58"/>
                  <a:gd name="T6" fmla="*/ 67 w 67"/>
                  <a:gd name="T7" fmla="*/ 31 h 58"/>
                  <a:gd name="T8" fmla="*/ 50 w 6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58">
                    <a:moveTo>
                      <a:pt x="50" y="58"/>
                    </a:moveTo>
                    <a:lnTo>
                      <a:pt x="0" y="25"/>
                    </a:lnTo>
                    <a:lnTo>
                      <a:pt x="17" y="0"/>
                    </a:lnTo>
                    <a:lnTo>
                      <a:pt x="67" y="31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/>
              <p:cNvSpPr/>
              <p:nvPr/>
            </p:nvSpPr>
            <p:spPr bwMode="auto">
              <a:xfrm>
                <a:off x="5680110" y="3374120"/>
                <a:ext cx="113191" cy="99471"/>
              </a:xfrm>
              <a:custGeom>
                <a:avLst/>
                <a:gdLst>
                  <a:gd name="T0" fmla="*/ 50 w 66"/>
                  <a:gd name="T1" fmla="*/ 58 h 58"/>
                  <a:gd name="T2" fmla="*/ 0 w 66"/>
                  <a:gd name="T3" fmla="*/ 24 h 58"/>
                  <a:gd name="T4" fmla="*/ 16 w 66"/>
                  <a:gd name="T5" fmla="*/ 0 h 58"/>
                  <a:gd name="T6" fmla="*/ 66 w 66"/>
                  <a:gd name="T7" fmla="*/ 33 h 58"/>
                  <a:gd name="T8" fmla="*/ 50 w 66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8">
                    <a:moveTo>
                      <a:pt x="50" y="58"/>
                    </a:moveTo>
                    <a:lnTo>
                      <a:pt x="0" y="24"/>
                    </a:lnTo>
                    <a:lnTo>
                      <a:pt x="16" y="0"/>
                    </a:lnTo>
                    <a:lnTo>
                      <a:pt x="66" y="33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/>
              <p:cNvSpPr/>
              <p:nvPr/>
            </p:nvSpPr>
            <p:spPr bwMode="auto">
              <a:xfrm>
                <a:off x="5848181" y="3483881"/>
                <a:ext cx="113191" cy="99471"/>
              </a:xfrm>
              <a:custGeom>
                <a:avLst/>
                <a:gdLst>
                  <a:gd name="T0" fmla="*/ 50 w 66"/>
                  <a:gd name="T1" fmla="*/ 58 h 58"/>
                  <a:gd name="T2" fmla="*/ 0 w 66"/>
                  <a:gd name="T3" fmla="*/ 25 h 58"/>
                  <a:gd name="T4" fmla="*/ 16 w 66"/>
                  <a:gd name="T5" fmla="*/ 0 h 58"/>
                  <a:gd name="T6" fmla="*/ 66 w 66"/>
                  <a:gd name="T7" fmla="*/ 33 h 58"/>
                  <a:gd name="T8" fmla="*/ 50 w 66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8">
                    <a:moveTo>
                      <a:pt x="50" y="58"/>
                    </a:moveTo>
                    <a:lnTo>
                      <a:pt x="0" y="25"/>
                    </a:lnTo>
                    <a:lnTo>
                      <a:pt x="16" y="0"/>
                    </a:lnTo>
                    <a:lnTo>
                      <a:pt x="66" y="33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/>
              <p:cNvSpPr/>
              <p:nvPr/>
            </p:nvSpPr>
            <p:spPr bwMode="auto">
              <a:xfrm>
                <a:off x="6014537" y="3590212"/>
                <a:ext cx="114906" cy="102901"/>
              </a:xfrm>
              <a:custGeom>
                <a:avLst/>
                <a:gdLst>
                  <a:gd name="T0" fmla="*/ 50 w 67"/>
                  <a:gd name="T1" fmla="*/ 60 h 60"/>
                  <a:gd name="T2" fmla="*/ 0 w 67"/>
                  <a:gd name="T3" fmla="*/ 27 h 60"/>
                  <a:gd name="T4" fmla="*/ 17 w 67"/>
                  <a:gd name="T5" fmla="*/ 0 h 60"/>
                  <a:gd name="T6" fmla="*/ 67 w 67"/>
                  <a:gd name="T7" fmla="*/ 33 h 60"/>
                  <a:gd name="T8" fmla="*/ 50 w 67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60">
                    <a:moveTo>
                      <a:pt x="50" y="60"/>
                    </a:moveTo>
                    <a:lnTo>
                      <a:pt x="0" y="27"/>
                    </a:lnTo>
                    <a:lnTo>
                      <a:pt x="17" y="0"/>
                    </a:lnTo>
                    <a:lnTo>
                      <a:pt x="67" y="33"/>
                    </a:lnTo>
                    <a:lnTo>
                      <a:pt x="50" y="60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/>
              <p:cNvSpPr/>
              <p:nvPr/>
            </p:nvSpPr>
            <p:spPr bwMode="auto">
              <a:xfrm>
                <a:off x="6182608" y="3701687"/>
                <a:ext cx="114906" cy="99471"/>
              </a:xfrm>
              <a:custGeom>
                <a:avLst/>
                <a:gdLst>
                  <a:gd name="T0" fmla="*/ 50 w 67"/>
                  <a:gd name="T1" fmla="*/ 58 h 58"/>
                  <a:gd name="T2" fmla="*/ 0 w 67"/>
                  <a:gd name="T3" fmla="*/ 24 h 58"/>
                  <a:gd name="T4" fmla="*/ 17 w 67"/>
                  <a:gd name="T5" fmla="*/ 0 h 58"/>
                  <a:gd name="T6" fmla="*/ 67 w 67"/>
                  <a:gd name="T7" fmla="*/ 33 h 58"/>
                  <a:gd name="T8" fmla="*/ 50 w 6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58">
                    <a:moveTo>
                      <a:pt x="50" y="58"/>
                    </a:moveTo>
                    <a:lnTo>
                      <a:pt x="0" y="24"/>
                    </a:lnTo>
                    <a:lnTo>
                      <a:pt x="17" y="0"/>
                    </a:lnTo>
                    <a:lnTo>
                      <a:pt x="67" y="33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/>
              <p:cNvSpPr/>
              <p:nvPr/>
            </p:nvSpPr>
            <p:spPr bwMode="auto">
              <a:xfrm>
                <a:off x="6350679" y="3811448"/>
                <a:ext cx="114906" cy="99471"/>
              </a:xfrm>
              <a:custGeom>
                <a:avLst/>
                <a:gdLst>
                  <a:gd name="T0" fmla="*/ 50 w 67"/>
                  <a:gd name="T1" fmla="*/ 58 h 58"/>
                  <a:gd name="T2" fmla="*/ 0 w 67"/>
                  <a:gd name="T3" fmla="*/ 25 h 58"/>
                  <a:gd name="T4" fmla="*/ 17 w 67"/>
                  <a:gd name="T5" fmla="*/ 0 h 58"/>
                  <a:gd name="T6" fmla="*/ 67 w 67"/>
                  <a:gd name="T7" fmla="*/ 33 h 58"/>
                  <a:gd name="T8" fmla="*/ 50 w 67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58">
                    <a:moveTo>
                      <a:pt x="50" y="58"/>
                    </a:moveTo>
                    <a:lnTo>
                      <a:pt x="0" y="25"/>
                    </a:lnTo>
                    <a:lnTo>
                      <a:pt x="17" y="0"/>
                    </a:lnTo>
                    <a:lnTo>
                      <a:pt x="67" y="33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/>
              <p:cNvSpPr/>
              <p:nvPr/>
            </p:nvSpPr>
            <p:spPr bwMode="auto">
              <a:xfrm>
                <a:off x="6518750" y="3917779"/>
                <a:ext cx="113191" cy="102901"/>
              </a:xfrm>
              <a:custGeom>
                <a:avLst/>
                <a:gdLst>
                  <a:gd name="T0" fmla="*/ 50 w 66"/>
                  <a:gd name="T1" fmla="*/ 60 h 60"/>
                  <a:gd name="T2" fmla="*/ 0 w 66"/>
                  <a:gd name="T3" fmla="*/ 27 h 60"/>
                  <a:gd name="T4" fmla="*/ 16 w 66"/>
                  <a:gd name="T5" fmla="*/ 0 h 60"/>
                  <a:gd name="T6" fmla="*/ 66 w 66"/>
                  <a:gd name="T7" fmla="*/ 33 h 60"/>
                  <a:gd name="T8" fmla="*/ 50 w 66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60">
                    <a:moveTo>
                      <a:pt x="50" y="60"/>
                    </a:moveTo>
                    <a:lnTo>
                      <a:pt x="0" y="27"/>
                    </a:lnTo>
                    <a:lnTo>
                      <a:pt x="16" y="0"/>
                    </a:lnTo>
                    <a:lnTo>
                      <a:pt x="66" y="33"/>
                    </a:lnTo>
                    <a:lnTo>
                      <a:pt x="50" y="60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/>
              <p:cNvSpPr/>
              <p:nvPr/>
            </p:nvSpPr>
            <p:spPr bwMode="auto">
              <a:xfrm>
                <a:off x="6686822" y="4029255"/>
                <a:ext cx="113191" cy="99471"/>
              </a:xfrm>
              <a:custGeom>
                <a:avLst/>
                <a:gdLst>
                  <a:gd name="T0" fmla="*/ 50 w 66"/>
                  <a:gd name="T1" fmla="*/ 58 h 58"/>
                  <a:gd name="T2" fmla="*/ 0 w 66"/>
                  <a:gd name="T3" fmla="*/ 24 h 58"/>
                  <a:gd name="T4" fmla="*/ 16 w 66"/>
                  <a:gd name="T5" fmla="*/ 0 h 58"/>
                  <a:gd name="T6" fmla="*/ 66 w 66"/>
                  <a:gd name="T7" fmla="*/ 33 h 58"/>
                  <a:gd name="T8" fmla="*/ 50 w 66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8">
                    <a:moveTo>
                      <a:pt x="50" y="58"/>
                    </a:moveTo>
                    <a:lnTo>
                      <a:pt x="0" y="24"/>
                    </a:lnTo>
                    <a:lnTo>
                      <a:pt x="16" y="0"/>
                    </a:lnTo>
                    <a:lnTo>
                      <a:pt x="66" y="33"/>
                    </a:lnTo>
                    <a:lnTo>
                      <a:pt x="50" y="58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" name="任意多边形: 形状 56"/>
              <p:cNvSpPr/>
              <p:nvPr/>
            </p:nvSpPr>
            <p:spPr bwMode="auto">
              <a:xfrm>
                <a:off x="4748857" y="2924787"/>
                <a:ext cx="142347" cy="145777"/>
              </a:xfrm>
              <a:custGeom>
                <a:avLst/>
                <a:gdLst>
                  <a:gd name="T0" fmla="*/ 50 w 83"/>
                  <a:gd name="T1" fmla="*/ 85 h 85"/>
                  <a:gd name="T2" fmla="*/ 0 w 83"/>
                  <a:gd name="T3" fmla="*/ 52 h 85"/>
                  <a:gd name="T4" fmla="*/ 33 w 83"/>
                  <a:gd name="T5" fmla="*/ 0 h 85"/>
                  <a:gd name="T6" fmla="*/ 83 w 83"/>
                  <a:gd name="T7" fmla="*/ 33 h 85"/>
                  <a:gd name="T8" fmla="*/ 50 w 83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5">
                    <a:moveTo>
                      <a:pt x="50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3" y="33"/>
                    </a:lnTo>
                    <a:lnTo>
                      <a:pt x="50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/>
              <p:cNvSpPr/>
              <p:nvPr/>
            </p:nvSpPr>
            <p:spPr bwMode="auto">
              <a:xfrm>
                <a:off x="4916928" y="3034548"/>
                <a:ext cx="142347" cy="145777"/>
              </a:xfrm>
              <a:custGeom>
                <a:avLst/>
                <a:gdLst>
                  <a:gd name="T0" fmla="*/ 49 w 83"/>
                  <a:gd name="T1" fmla="*/ 85 h 85"/>
                  <a:gd name="T2" fmla="*/ 0 w 83"/>
                  <a:gd name="T3" fmla="*/ 52 h 85"/>
                  <a:gd name="T4" fmla="*/ 33 w 83"/>
                  <a:gd name="T5" fmla="*/ 0 h 85"/>
                  <a:gd name="T6" fmla="*/ 83 w 83"/>
                  <a:gd name="T7" fmla="*/ 34 h 85"/>
                  <a:gd name="T8" fmla="*/ 49 w 83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5">
                    <a:moveTo>
                      <a:pt x="49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3" y="34"/>
                    </a:lnTo>
                    <a:lnTo>
                      <a:pt x="49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" name="任意多边形: 形状 58"/>
              <p:cNvSpPr/>
              <p:nvPr/>
            </p:nvSpPr>
            <p:spPr bwMode="auto">
              <a:xfrm>
                <a:off x="5083285" y="3146023"/>
                <a:ext cx="144061" cy="142347"/>
              </a:xfrm>
              <a:custGeom>
                <a:avLst/>
                <a:gdLst>
                  <a:gd name="T0" fmla="*/ 50 w 84"/>
                  <a:gd name="T1" fmla="*/ 83 h 83"/>
                  <a:gd name="T2" fmla="*/ 0 w 84"/>
                  <a:gd name="T3" fmla="*/ 50 h 83"/>
                  <a:gd name="T4" fmla="*/ 34 w 84"/>
                  <a:gd name="T5" fmla="*/ 0 h 83"/>
                  <a:gd name="T6" fmla="*/ 84 w 84"/>
                  <a:gd name="T7" fmla="*/ 33 h 83"/>
                  <a:gd name="T8" fmla="*/ 50 w 84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3">
                    <a:moveTo>
                      <a:pt x="50" y="83"/>
                    </a:moveTo>
                    <a:lnTo>
                      <a:pt x="0" y="50"/>
                    </a:lnTo>
                    <a:lnTo>
                      <a:pt x="34" y="0"/>
                    </a:lnTo>
                    <a:lnTo>
                      <a:pt x="84" y="33"/>
                    </a:lnTo>
                    <a:lnTo>
                      <a:pt x="50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" name="任意多边形: 形状 59"/>
              <p:cNvSpPr/>
              <p:nvPr/>
            </p:nvSpPr>
            <p:spPr bwMode="auto">
              <a:xfrm>
                <a:off x="5251356" y="3252354"/>
                <a:ext cx="142347" cy="145777"/>
              </a:xfrm>
              <a:custGeom>
                <a:avLst/>
                <a:gdLst>
                  <a:gd name="T0" fmla="*/ 50 w 83"/>
                  <a:gd name="T1" fmla="*/ 85 h 85"/>
                  <a:gd name="T2" fmla="*/ 0 w 83"/>
                  <a:gd name="T3" fmla="*/ 52 h 85"/>
                  <a:gd name="T4" fmla="*/ 33 w 83"/>
                  <a:gd name="T5" fmla="*/ 0 h 85"/>
                  <a:gd name="T6" fmla="*/ 83 w 83"/>
                  <a:gd name="T7" fmla="*/ 33 h 85"/>
                  <a:gd name="T8" fmla="*/ 50 w 83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5">
                    <a:moveTo>
                      <a:pt x="50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3" y="33"/>
                    </a:lnTo>
                    <a:lnTo>
                      <a:pt x="50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" name="任意多边形: 形状 60"/>
              <p:cNvSpPr/>
              <p:nvPr/>
            </p:nvSpPr>
            <p:spPr bwMode="auto">
              <a:xfrm>
                <a:off x="5419428" y="3362114"/>
                <a:ext cx="142347" cy="142347"/>
              </a:xfrm>
              <a:custGeom>
                <a:avLst/>
                <a:gdLst>
                  <a:gd name="T0" fmla="*/ 50 w 83"/>
                  <a:gd name="T1" fmla="*/ 83 h 83"/>
                  <a:gd name="T2" fmla="*/ 0 w 83"/>
                  <a:gd name="T3" fmla="*/ 50 h 83"/>
                  <a:gd name="T4" fmla="*/ 33 w 83"/>
                  <a:gd name="T5" fmla="*/ 0 h 83"/>
                  <a:gd name="T6" fmla="*/ 83 w 83"/>
                  <a:gd name="T7" fmla="*/ 34 h 83"/>
                  <a:gd name="T8" fmla="*/ 50 w 83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3">
                    <a:moveTo>
                      <a:pt x="50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3" y="34"/>
                    </a:lnTo>
                    <a:lnTo>
                      <a:pt x="50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/>
              <p:cNvSpPr/>
              <p:nvPr/>
            </p:nvSpPr>
            <p:spPr bwMode="auto">
              <a:xfrm>
                <a:off x="5587499" y="3473591"/>
                <a:ext cx="142347" cy="142347"/>
              </a:xfrm>
              <a:custGeom>
                <a:avLst/>
                <a:gdLst>
                  <a:gd name="T0" fmla="*/ 50 w 83"/>
                  <a:gd name="T1" fmla="*/ 83 h 83"/>
                  <a:gd name="T2" fmla="*/ 0 w 83"/>
                  <a:gd name="T3" fmla="*/ 50 h 83"/>
                  <a:gd name="T4" fmla="*/ 33 w 83"/>
                  <a:gd name="T5" fmla="*/ 0 h 83"/>
                  <a:gd name="T6" fmla="*/ 83 w 83"/>
                  <a:gd name="T7" fmla="*/ 33 h 83"/>
                  <a:gd name="T8" fmla="*/ 50 w 83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3">
                    <a:moveTo>
                      <a:pt x="50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3" y="33"/>
                    </a:lnTo>
                    <a:lnTo>
                      <a:pt x="50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/>
              <p:cNvSpPr/>
              <p:nvPr/>
            </p:nvSpPr>
            <p:spPr bwMode="auto">
              <a:xfrm>
                <a:off x="5755570" y="3579922"/>
                <a:ext cx="142347" cy="145777"/>
              </a:xfrm>
              <a:custGeom>
                <a:avLst/>
                <a:gdLst>
                  <a:gd name="T0" fmla="*/ 49 w 83"/>
                  <a:gd name="T1" fmla="*/ 85 h 85"/>
                  <a:gd name="T2" fmla="*/ 0 w 83"/>
                  <a:gd name="T3" fmla="*/ 52 h 85"/>
                  <a:gd name="T4" fmla="*/ 33 w 83"/>
                  <a:gd name="T5" fmla="*/ 0 h 85"/>
                  <a:gd name="T6" fmla="*/ 83 w 83"/>
                  <a:gd name="T7" fmla="*/ 33 h 85"/>
                  <a:gd name="T8" fmla="*/ 49 w 83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5">
                    <a:moveTo>
                      <a:pt x="49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3" y="33"/>
                    </a:lnTo>
                    <a:lnTo>
                      <a:pt x="49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/>
              <p:cNvSpPr/>
              <p:nvPr/>
            </p:nvSpPr>
            <p:spPr bwMode="auto">
              <a:xfrm>
                <a:off x="5921926" y="3689683"/>
                <a:ext cx="144061" cy="142347"/>
              </a:xfrm>
              <a:custGeom>
                <a:avLst/>
                <a:gdLst>
                  <a:gd name="T0" fmla="*/ 50 w 84"/>
                  <a:gd name="T1" fmla="*/ 83 h 83"/>
                  <a:gd name="T2" fmla="*/ 0 w 84"/>
                  <a:gd name="T3" fmla="*/ 50 h 83"/>
                  <a:gd name="T4" fmla="*/ 34 w 84"/>
                  <a:gd name="T5" fmla="*/ 0 h 83"/>
                  <a:gd name="T6" fmla="*/ 84 w 84"/>
                  <a:gd name="T7" fmla="*/ 34 h 83"/>
                  <a:gd name="T8" fmla="*/ 50 w 84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3">
                    <a:moveTo>
                      <a:pt x="50" y="83"/>
                    </a:moveTo>
                    <a:lnTo>
                      <a:pt x="0" y="50"/>
                    </a:lnTo>
                    <a:lnTo>
                      <a:pt x="34" y="0"/>
                    </a:lnTo>
                    <a:lnTo>
                      <a:pt x="84" y="34"/>
                    </a:lnTo>
                    <a:lnTo>
                      <a:pt x="50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" name="任意多边形: 形状 64"/>
              <p:cNvSpPr/>
              <p:nvPr/>
            </p:nvSpPr>
            <p:spPr bwMode="auto">
              <a:xfrm>
                <a:off x="6089997" y="3801158"/>
                <a:ext cx="142347" cy="142347"/>
              </a:xfrm>
              <a:custGeom>
                <a:avLst/>
                <a:gdLst>
                  <a:gd name="T0" fmla="*/ 50 w 83"/>
                  <a:gd name="T1" fmla="*/ 83 h 83"/>
                  <a:gd name="T2" fmla="*/ 0 w 83"/>
                  <a:gd name="T3" fmla="*/ 50 h 83"/>
                  <a:gd name="T4" fmla="*/ 33 w 83"/>
                  <a:gd name="T5" fmla="*/ 0 h 83"/>
                  <a:gd name="T6" fmla="*/ 83 w 83"/>
                  <a:gd name="T7" fmla="*/ 31 h 83"/>
                  <a:gd name="T8" fmla="*/ 50 w 83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3">
                    <a:moveTo>
                      <a:pt x="50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3" y="31"/>
                    </a:lnTo>
                    <a:lnTo>
                      <a:pt x="50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/>
              <p:cNvSpPr/>
              <p:nvPr/>
            </p:nvSpPr>
            <p:spPr bwMode="auto">
              <a:xfrm>
                <a:off x="4656246" y="3067132"/>
                <a:ext cx="142347" cy="145777"/>
              </a:xfrm>
              <a:custGeom>
                <a:avLst/>
                <a:gdLst>
                  <a:gd name="T0" fmla="*/ 50 w 83"/>
                  <a:gd name="T1" fmla="*/ 85 h 85"/>
                  <a:gd name="T2" fmla="*/ 0 w 83"/>
                  <a:gd name="T3" fmla="*/ 52 h 85"/>
                  <a:gd name="T4" fmla="*/ 33 w 83"/>
                  <a:gd name="T5" fmla="*/ 0 h 85"/>
                  <a:gd name="T6" fmla="*/ 83 w 83"/>
                  <a:gd name="T7" fmla="*/ 33 h 85"/>
                  <a:gd name="T8" fmla="*/ 50 w 83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5">
                    <a:moveTo>
                      <a:pt x="50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3" y="33"/>
                    </a:lnTo>
                    <a:lnTo>
                      <a:pt x="50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/>
              <p:cNvSpPr/>
              <p:nvPr/>
            </p:nvSpPr>
            <p:spPr bwMode="auto">
              <a:xfrm>
                <a:off x="4822603" y="3176893"/>
                <a:ext cx="144061" cy="142347"/>
              </a:xfrm>
              <a:custGeom>
                <a:avLst/>
                <a:gdLst>
                  <a:gd name="T0" fmla="*/ 50 w 84"/>
                  <a:gd name="T1" fmla="*/ 83 h 83"/>
                  <a:gd name="T2" fmla="*/ 0 w 84"/>
                  <a:gd name="T3" fmla="*/ 50 h 83"/>
                  <a:gd name="T4" fmla="*/ 34 w 84"/>
                  <a:gd name="T5" fmla="*/ 0 h 83"/>
                  <a:gd name="T6" fmla="*/ 84 w 84"/>
                  <a:gd name="T7" fmla="*/ 34 h 83"/>
                  <a:gd name="T8" fmla="*/ 50 w 84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3">
                    <a:moveTo>
                      <a:pt x="50" y="83"/>
                    </a:moveTo>
                    <a:lnTo>
                      <a:pt x="0" y="50"/>
                    </a:lnTo>
                    <a:lnTo>
                      <a:pt x="34" y="0"/>
                    </a:lnTo>
                    <a:lnTo>
                      <a:pt x="84" y="34"/>
                    </a:lnTo>
                    <a:lnTo>
                      <a:pt x="50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" name="任意多边形: 形状 67"/>
              <p:cNvSpPr/>
              <p:nvPr/>
            </p:nvSpPr>
            <p:spPr bwMode="auto">
              <a:xfrm>
                <a:off x="4990674" y="3284939"/>
                <a:ext cx="142347" cy="145777"/>
              </a:xfrm>
              <a:custGeom>
                <a:avLst/>
                <a:gdLst>
                  <a:gd name="T0" fmla="*/ 50 w 83"/>
                  <a:gd name="T1" fmla="*/ 85 h 85"/>
                  <a:gd name="T2" fmla="*/ 0 w 83"/>
                  <a:gd name="T3" fmla="*/ 52 h 85"/>
                  <a:gd name="T4" fmla="*/ 34 w 83"/>
                  <a:gd name="T5" fmla="*/ 0 h 85"/>
                  <a:gd name="T6" fmla="*/ 83 w 83"/>
                  <a:gd name="T7" fmla="*/ 33 h 85"/>
                  <a:gd name="T8" fmla="*/ 50 w 83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5">
                    <a:moveTo>
                      <a:pt x="50" y="85"/>
                    </a:moveTo>
                    <a:lnTo>
                      <a:pt x="0" y="52"/>
                    </a:lnTo>
                    <a:lnTo>
                      <a:pt x="34" y="0"/>
                    </a:lnTo>
                    <a:lnTo>
                      <a:pt x="83" y="33"/>
                    </a:lnTo>
                    <a:lnTo>
                      <a:pt x="50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" name="任意多边形: 形状 68"/>
              <p:cNvSpPr/>
              <p:nvPr/>
            </p:nvSpPr>
            <p:spPr bwMode="auto">
              <a:xfrm>
                <a:off x="5158746" y="3394700"/>
                <a:ext cx="142347" cy="142347"/>
              </a:xfrm>
              <a:custGeom>
                <a:avLst/>
                <a:gdLst>
                  <a:gd name="T0" fmla="*/ 52 w 83"/>
                  <a:gd name="T1" fmla="*/ 83 h 83"/>
                  <a:gd name="T2" fmla="*/ 0 w 83"/>
                  <a:gd name="T3" fmla="*/ 50 h 83"/>
                  <a:gd name="T4" fmla="*/ 33 w 83"/>
                  <a:gd name="T5" fmla="*/ 0 h 83"/>
                  <a:gd name="T6" fmla="*/ 83 w 83"/>
                  <a:gd name="T7" fmla="*/ 33 h 83"/>
                  <a:gd name="T8" fmla="*/ 52 w 83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3" y="33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" name="任意多边形: 形状 69"/>
              <p:cNvSpPr/>
              <p:nvPr/>
            </p:nvSpPr>
            <p:spPr bwMode="auto">
              <a:xfrm>
                <a:off x="5326817" y="3504461"/>
                <a:ext cx="142347" cy="142347"/>
              </a:xfrm>
              <a:custGeom>
                <a:avLst/>
                <a:gdLst>
                  <a:gd name="T0" fmla="*/ 52 w 83"/>
                  <a:gd name="T1" fmla="*/ 83 h 83"/>
                  <a:gd name="T2" fmla="*/ 0 w 83"/>
                  <a:gd name="T3" fmla="*/ 50 h 83"/>
                  <a:gd name="T4" fmla="*/ 33 w 83"/>
                  <a:gd name="T5" fmla="*/ 0 h 83"/>
                  <a:gd name="T6" fmla="*/ 83 w 83"/>
                  <a:gd name="T7" fmla="*/ 34 h 83"/>
                  <a:gd name="T8" fmla="*/ 52 w 83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3" y="34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" name="任意多边形: 形状 70"/>
              <p:cNvSpPr/>
              <p:nvPr/>
            </p:nvSpPr>
            <p:spPr bwMode="auto">
              <a:xfrm>
                <a:off x="5494888" y="3612506"/>
                <a:ext cx="145777" cy="145777"/>
              </a:xfrm>
              <a:custGeom>
                <a:avLst/>
                <a:gdLst>
                  <a:gd name="T0" fmla="*/ 52 w 85"/>
                  <a:gd name="T1" fmla="*/ 85 h 85"/>
                  <a:gd name="T2" fmla="*/ 0 w 85"/>
                  <a:gd name="T3" fmla="*/ 52 h 85"/>
                  <a:gd name="T4" fmla="*/ 33 w 85"/>
                  <a:gd name="T5" fmla="*/ 0 h 85"/>
                  <a:gd name="T6" fmla="*/ 85 w 85"/>
                  <a:gd name="T7" fmla="*/ 33 h 85"/>
                  <a:gd name="T8" fmla="*/ 52 w 85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5">
                    <a:moveTo>
                      <a:pt x="52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5" y="33"/>
                    </a:lnTo>
                    <a:lnTo>
                      <a:pt x="52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" name="任意多边形: 形状 71"/>
              <p:cNvSpPr/>
              <p:nvPr/>
            </p:nvSpPr>
            <p:spPr bwMode="auto">
              <a:xfrm>
                <a:off x="5661244" y="3722267"/>
                <a:ext cx="147491" cy="142347"/>
              </a:xfrm>
              <a:custGeom>
                <a:avLst/>
                <a:gdLst>
                  <a:gd name="T0" fmla="*/ 52 w 86"/>
                  <a:gd name="T1" fmla="*/ 83 h 83"/>
                  <a:gd name="T2" fmla="*/ 0 w 86"/>
                  <a:gd name="T3" fmla="*/ 50 h 83"/>
                  <a:gd name="T4" fmla="*/ 34 w 86"/>
                  <a:gd name="T5" fmla="*/ 0 h 83"/>
                  <a:gd name="T6" fmla="*/ 86 w 86"/>
                  <a:gd name="T7" fmla="*/ 33 h 83"/>
                  <a:gd name="T8" fmla="*/ 52 w 86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4" y="0"/>
                    </a:lnTo>
                    <a:lnTo>
                      <a:pt x="86" y="33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" name="任意多边形: 形状 72"/>
              <p:cNvSpPr/>
              <p:nvPr/>
            </p:nvSpPr>
            <p:spPr bwMode="auto">
              <a:xfrm>
                <a:off x="5829315" y="3832028"/>
                <a:ext cx="147491" cy="142347"/>
              </a:xfrm>
              <a:custGeom>
                <a:avLst/>
                <a:gdLst>
                  <a:gd name="T0" fmla="*/ 52 w 86"/>
                  <a:gd name="T1" fmla="*/ 83 h 83"/>
                  <a:gd name="T2" fmla="*/ 0 w 86"/>
                  <a:gd name="T3" fmla="*/ 50 h 83"/>
                  <a:gd name="T4" fmla="*/ 33 w 86"/>
                  <a:gd name="T5" fmla="*/ 0 h 83"/>
                  <a:gd name="T6" fmla="*/ 86 w 86"/>
                  <a:gd name="T7" fmla="*/ 34 h 83"/>
                  <a:gd name="T8" fmla="*/ 52 w 86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6" y="34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" name="任意多边形: 形状 73"/>
              <p:cNvSpPr/>
              <p:nvPr/>
            </p:nvSpPr>
            <p:spPr bwMode="auto">
              <a:xfrm>
                <a:off x="5997386" y="3940074"/>
                <a:ext cx="145777" cy="145777"/>
              </a:xfrm>
              <a:custGeom>
                <a:avLst/>
                <a:gdLst>
                  <a:gd name="T0" fmla="*/ 52 w 85"/>
                  <a:gd name="T1" fmla="*/ 85 h 85"/>
                  <a:gd name="T2" fmla="*/ 0 w 85"/>
                  <a:gd name="T3" fmla="*/ 52 h 85"/>
                  <a:gd name="T4" fmla="*/ 33 w 85"/>
                  <a:gd name="T5" fmla="*/ 0 h 85"/>
                  <a:gd name="T6" fmla="*/ 85 w 85"/>
                  <a:gd name="T7" fmla="*/ 33 h 85"/>
                  <a:gd name="T8" fmla="*/ 52 w 85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5">
                    <a:moveTo>
                      <a:pt x="52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5" y="33"/>
                    </a:lnTo>
                    <a:lnTo>
                      <a:pt x="52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" name="任意多边形: 形状 74"/>
              <p:cNvSpPr/>
              <p:nvPr/>
            </p:nvSpPr>
            <p:spPr bwMode="auto">
              <a:xfrm>
                <a:off x="6333529" y="4156166"/>
                <a:ext cx="145777" cy="145777"/>
              </a:xfrm>
              <a:custGeom>
                <a:avLst/>
                <a:gdLst>
                  <a:gd name="T0" fmla="*/ 52 w 85"/>
                  <a:gd name="T1" fmla="*/ 85 h 85"/>
                  <a:gd name="T2" fmla="*/ 0 w 85"/>
                  <a:gd name="T3" fmla="*/ 52 h 85"/>
                  <a:gd name="T4" fmla="*/ 33 w 85"/>
                  <a:gd name="T5" fmla="*/ 0 h 85"/>
                  <a:gd name="T6" fmla="*/ 85 w 85"/>
                  <a:gd name="T7" fmla="*/ 34 h 85"/>
                  <a:gd name="T8" fmla="*/ 52 w 85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5">
                    <a:moveTo>
                      <a:pt x="52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5" y="34"/>
                    </a:lnTo>
                    <a:lnTo>
                      <a:pt x="52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" name="任意多边形: 形状 75"/>
              <p:cNvSpPr/>
              <p:nvPr/>
            </p:nvSpPr>
            <p:spPr bwMode="auto">
              <a:xfrm>
                <a:off x="5904776" y="4082420"/>
                <a:ext cx="145777" cy="142347"/>
              </a:xfrm>
              <a:custGeom>
                <a:avLst/>
                <a:gdLst>
                  <a:gd name="T0" fmla="*/ 52 w 85"/>
                  <a:gd name="T1" fmla="*/ 83 h 83"/>
                  <a:gd name="T2" fmla="*/ 0 w 85"/>
                  <a:gd name="T3" fmla="*/ 50 h 83"/>
                  <a:gd name="T4" fmla="*/ 33 w 85"/>
                  <a:gd name="T5" fmla="*/ 0 h 83"/>
                  <a:gd name="T6" fmla="*/ 85 w 85"/>
                  <a:gd name="T7" fmla="*/ 33 h 83"/>
                  <a:gd name="T8" fmla="*/ 52 w 85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5" y="33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" name="任意多边形: 形状 76"/>
              <p:cNvSpPr/>
              <p:nvPr/>
            </p:nvSpPr>
            <p:spPr bwMode="auto">
              <a:xfrm>
                <a:off x="6072847" y="4192181"/>
                <a:ext cx="145777" cy="142347"/>
              </a:xfrm>
              <a:custGeom>
                <a:avLst/>
                <a:gdLst>
                  <a:gd name="T0" fmla="*/ 52 w 85"/>
                  <a:gd name="T1" fmla="*/ 83 h 83"/>
                  <a:gd name="T2" fmla="*/ 0 w 85"/>
                  <a:gd name="T3" fmla="*/ 50 h 83"/>
                  <a:gd name="T4" fmla="*/ 33 w 85"/>
                  <a:gd name="T5" fmla="*/ 0 h 83"/>
                  <a:gd name="T6" fmla="*/ 85 w 85"/>
                  <a:gd name="T7" fmla="*/ 31 h 83"/>
                  <a:gd name="T8" fmla="*/ 52 w 85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5" y="31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" name="任意多边形: 形状 77"/>
              <p:cNvSpPr/>
              <p:nvPr/>
            </p:nvSpPr>
            <p:spPr bwMode="auto">
              <a:xfrm>
                <a:off x="6239204" y="4298512"/>
                <a:ext cx="147491" cy="145777"/>
              </a:xfrm>
              <a:custGeom>
                <a:avLst/>
                <a:gdLst>
                  <a:gd name="T0" fmla="*/ 53 w 86"/>
                  <a:gd name="T1" fmla="*/ 85 h 85"/>
                  <a:gd name="T2" fmla="*/ 0 w 86"/>
                  <a:gd name="T3" fmla="*/ 52 h 85"/>
                  <a:gd name="T4" fmla="*/ 34 w 86"/>
                  <a:gd name="T5" fmla="*/ 0 h 85"/>
                  <a:gd name="T6" fmla="*/ 86 w 86"/>
                  <a:gd name="T7" fmla="*/ 34 h 85"/>
                  <a:gd name="T8" fmla="*/ 53 w 86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85">
                    <a:moveTo>
                      <a:pt x="53" y="85"/>
                    </a:moveTo>
                    <a:lnTo>
                      <a:pt x="0" y="52"/>
                    </a:lnTo>
                    <a:lnTo>
                      <a:pt x="34" y="0"/>
                    </a:lnTo>
                    <a:lnTo>
                      <a:pt x="86" y="34"/>
                    </a:lnTo>
                    <a:lnTo>
                      <a:pt x="53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" name="任意多边形: 形状 78"/>
              <p:cNvSpPr/>
              <p:nvPr/>
            </p:nvSpPr>
            <p:spPr bwMode="auto">
              <a:xfrm>
                <a:off x="6407275" y="4409988"/>
                <a:ext cx="147491" cy="142347"/>
              </a:xfrm>
              <a:custGeom>
                <a:avLst/>
                <a:gdLst>
                  <a:gd name="T0" fmla="*/ 52 w 86"/>
                  <a:gd name="T1" fmla="*/ 83 h 83"/>
                  <a:gd name="T2" fmla="*/ 0 w 86"/>
                  <a:gd name="T3" fmla="*/ 50 h 83"/>
                  <a:gd name="T4" fmla="*/ 34 w 86"/>
                  <a:gd name="T5" fmla="*/ 0 h 83"/>
                  <a:gd name="T6" fmla="*/ 86 w 86"/>
                  <a:gd name="T7" fmla="*/ 33 h 83"/>
                  <a:gd name="T8" fmla="*/ 52 w 86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4" y="0"/>
                    </a:lnTo>
                    <a:lnTo>
                      <a:pt x="86" y="33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" name="任意多边形: 形状 79"/>
              <p:cNvSpPr/>
              <p:nvPr/>
            </p:nvSpPr>
            <p:spPr bwMode="auto">
              <a:xfrm>
                <a:off x="6165458" y="4049835"/>
                <a:ext cx="145777" cy="142347"/>
              </a:xfrm>
              <a:custGeom>
                <a:avLst/>
                <a:gdLst>
                  <a:gd name="T0" fmla="*/ 52 w 85"/>
                  <a:gd name="T1" fmla="*/ 83 h 83"/>
                  <a:gd name="T2" fmla="*/ 0 w 85"/>
                  <a:gd name="T3" fmla="*/ 50 h 83"/>
                  <a:gd name="T4" fmla="*/ 33 w 85"/>
                  <a:gd name="T5" fmla="*/ 0 h 83"/>
                  <a:gd name="T6" fmla="*/ 85 w 85"/>
                  <a:gd name="T7" fmla="*/ 33 h 83"/>
                  <a:gd name="T8" fmla="*/ 52 w 85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5" y="33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" name="任意多边形: 形状 80"/>
              <p:cNvSpPr/>
              <p:nvPr/>
            </p:nvSpPr>
            <p:spPr bwMode="auto">
              <a:xfrm>
                <a:off x="6499886" y="4267641"/>
                <a:ext cx="147491" cy="145777"/>
              </a:xfrm>
              <a:custGeom>
                <a:avLst/>
                <a:gdLst>
                  <a:gd name="T0" fmla="*/ 52 w 86"/>
                  <a:gd name="T1" fmla="*/ 85 h 85"/>
                  <a:gd name="T2" fmla="*/ 0 w 86"/>
                  <a:gd name="T3" fmla="*/ 52 h 85"/>
                  <a:gd name="T4" fmla="*/ 34 w 86"/>
                  <a:gd name="T5" fmla="*/ 0 h 85"/>
                  <a:gd name="T6" fmla="*/ 86 w 86"/>
                  <a:gd name="T7" fmla="*/ 33 h 85"/>
                  <a:gd name="T8" fmla="*/ 52 w 86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85">
                    <a:moveTo>
                      <a:pt x="52" y="85"/>
                    </a:moveTo>
                    <a:lnTo>
                      <a:pt x="0" y="52"/>
                    </a:lnTo>
                    <a:lnTo>
                      <a:pt x="34" y="0"/>
                    </a:lnTo>
                    <a:lnTo>
                      <a:pt x="86" y="33"/>
                    </a:lnTo>
                    <a:lnTo>
                      <a:pt x="52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" name="任意多边形: 形状 81"/>
              <p:cNvSpPr/>
              <p:nvPr/>
            </p:nvSpPr>
            <p:spPr bwMode="auto">
              <a:xfrm>
                <a:off x="6426140" y="4017249"/>
                <a:ext cx="142347" cy="142347"/>
              </a:xfrm>
              <a:custGeom>
                <a:avLst/>
                <a:gdLst>
                  <a:gd name="T0" fmla="*/ 52 w 83"/>
                  <a:gd name="T1" fmla="*/ 83 h 83"/>
                  <a:gd name="T2" fmla="*/ 0 w 83"/>
                  <a:gd name="T3" fmla="*/ 50 h 83"/>
                  <a:gd name="T4" fmla="*/ 33 w 83"/>
                  <a:gd name="T5" fmla="*/ 0 h 83"/>
                  <a:gd name="T6" fmla="*/ 83 w 83"/>
                  <a:gd name="T7" fmla="*/ 34 h 83"/>
                  <a:gd name="T8" fmla="*/ 52 w 83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3" y="34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" name="任意多边形: 形状 82"/>
              <p:cNvSpPr/>
              <p:nvPr/>
            </p:nvSpPr>
            <p:spPr bwMode="auto">
              <a:xfrm>
                <a:off x="6258068" y="3907489"/>
                <a:ext cx="142347" cy="145777"/>
              </a:xfrm>
              <a:custGeom>
                <a:avLst/>
                <a:gdLst>
                  <a:gd name="T0" fmla="*/ 52 w 83"/>
                  <a:gd name="T1" fmla="*/ 85 h 85"/>
                  <a:gd name="T2" fmla="*/ 0 w 83"/>
                  <a:gd name="T3" fmla="*/ 52 h 85"/>
                  <a:gd name="T4" fmla="*/ 33 w 83"/>
                  <a:gd name="T5" fmla="*/ 0 h 85"/>
                  <a:gd name="T6" fmla="*/ 83 w 83"/>
                  <a:gd name="T7" fmla="*/ 33 h 85"/>
                  <a:gd name="T8" fmla="*/ 52 w 83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5">
                    <a:moveTo>
                      <a:pt x="52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3" y="33"/>
                    </a:lnTo>
                    <a:lnTo>
                      <a:pt x="52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" name="任意多边形: 形状 83"/>
              <p:cNvSpPr/>
              <p:nvPr/>
            </p:nvSpPr>
            <p:spPr bwMode="auto">
              <a:xfrm>
                <a:off x="6592497" y="4125296"/>
                <a:ext cx="147491" cy="145777"/>
              </a:xfrm>
              <a:custGeom>
                <a:avLst/>
                <a:gdLst>
                  <a:gd name="T0" fmla="*/ 53 w 86"/>
                  <a:gd name="T1" fmla="*/ 85 h 85"/>
                  <a:gd name="T2" fmla="*/ 0 w 86"/>
                  <a:gd name="T3" fmla="*/ 52 h 85"/>
                  <a:gd name="T4" fmla="*/ 34 w 86"/>
                  <a:gd name="T5" fmla="*/ 0 h 85"/>
                  <a:gd name="T6" fmla="*/ 86 w 86"/>
                  <a:gd name="T7" fmla="*/ 33 h 85"/>
                  <a:gd name="T8" fmla="*/ 53 w 86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85">
                    <a:moveTo>
                      <a:pt x="53" y="85"/>
                    </a:moveTo>
                    <a:lnTo>
                      <a:pt x="0" y="52"/>
                    </a:lnTo>
                    <a:lnTo>
                      <a:pt x="34" y="0"/>
                    </a:lnTo>
                    <a:lnTo>
                      <a:pt x="86" y="33"/>
                    </a:lnTo>
                    <a:lnTo>
                      <a:pt x="53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" name="任意多边形: 形状 84"/>
              <p:cNvSpPr/>
              <p:nvPr/>
            </p:nvSpPr>
            <p:spPr bwMode="auto">
              <a:xfrm>
                <a:off x="4563636" y="3209479"/>
                <a:ext cx="145777" cy="142347"/>
              </a:xfrm>
              <a:custGeom>
                <a:avLst/>
                <a:gdLst>
                  <a:gd name="T0" fmla="*/ 52 w 85"/>
                  <a:gd name="T1" fmla="*/ 83 h 83"/>
                  <a:gd name="T2" fmla="*/ 0 w 85"/>
                  <a:gd name="T3" fmla="*/ 50 h 83"/>
                  <a:gd name="T4" fmla="*/ 33 w 85"/>
                  <a:gd name="T5" fmla="*/ 0 h 83"/>
                  <a:gd name="T6" fmla="*/ 85 w 85"/>
                  <a:gd name="T7" fmla="*/ 33 h 83"/>
                  <a:gd name="T8" fmla="*/ 52 w 85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85" y="33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" name="任意多边形: 形状 85"/>
              <p:cNvSpPr/>
              <p:nvPr/>
            </p:nvSpPr>
            <p:spPr bwMode="auto">
              <a:xfrm>
                <a:off x="4729992" y="3315810"/>
                <a:ext cx="147491" cy="145777"/>
              </a:xfrm>
              <a:custGeom>
                <a:avLst/>
                <a:gdLst>
                  <a:gd name="T0" fmla="*/ 52 w 86"/>
                  <a:gd name="T1" fmla="*/ 85 h 85"/>
                  <a:gd name="T2" fmla="*/ 0 w 86"/>
                  <a:gd name="T3" fmla="*/ 52 h 85"/>
                  <a:gd name="T4" fmla="*/ 34 w 86"/>
                  <a:gd name="T5" fmla="*/ 0 h 85"/>
                  <a:gd name="T6" fmla="*/ 86 w 86"/>
                  <a:gd name="T7" fmla="*/ 34 h 85"/>
                  <a:gd name="T8" fmla="*/ 52 w 86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85">
                    <a:moveTo>
                      <a:pt x="52" y="85"/>
                    </a:moveTo>
                    <a:lnTo>
                      <a:pt x="0" y="52"/>
                    </a:lnTo>
                    <a:lnTo>
                      <a:pt x="34" y="0"/>
                    </a:lnTo>
                    <a:lnTo>
                      <a:pt x="86" y="34"/>
                    </a:lnTo>
                    <a:lnTo>
                      <a:pt x="52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" name="任意多边形: 形状 86"/>
              <p:cNvSpPr/>
              <p:nvPr/>
            </p:nvSpPr>
            <p:spPr bwMode="auto">
              <a:xfrm>
                <a:off x="4898064" y="3427285"/>
                <a:ext cx="145777" cy="142347"/>
              </a:xfrm>
              <a:custGeom>
                <a:avLst/>
                <a:gdLst>
                  <a:gd name="T0" fmla="*/ 52 w 85"/>
                  <a:gd name="T1" fmla="*/ 83 h 83"/>
                  <a:gd name="T2" fmla="*/ 0 w 85"/>
                  <a:gd name="T3" fmla="*/ 52 h 83"/>
                  <a:gd name="T4" fmla="*/ 33 w 85"/>
                  <a:gd name="T5" fmla="*/ 0 h 83"/>
                  <a:gd name="T6" fmla="*/ 85 w 85"/>
                  <a:gd name="T7" fmla="*/ 33 h 83"/>
                  <a:gd name="T8" fmla="*/ 52 w 85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3">
                    <a:moveTo>
                      <a:pt x="52" y="83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5" y="33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" name="任意多边形: 形状 87"/>
              <p:cNvSpPr/>
              <p:nvPr/>
            </p:nvSpPr>
            <p:spPr bwMode="auto">
              <a:xfrm>
                <a:off x="5066135" y="3537046"/>
                <a:ext cx="481919" cy="360153"/>
              </a:xfrm>
              <a:custGeom>
                <a:avLst/>
                <a:gdLst>
                  <a:gd name="T0" fmla="*/ 248 w 281"/>
                  <a:gd name="T1" fmla="*/ 210 h 210"/>
                  <a:gd name="T2" fmla="*/ 0 w 281"/>
                  <a:gd name="T3" fmla="*/ 50 h 210"/>
                  <a:gd name="T4" fmla="*/ 33 w 281"/>
                  <a:gd name="T5" fmla="*/ 0 h 210"/>
                  <a:gd name="T6" fmla="*/ 281 w 281"/>
                  <a:gd name="T7" fmla="*/ 160 h 210"/>
                  <a:gd name="T8" fmla="*/ 248 w 281"/>
                  <a:gd name="T9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1" h="210">
                    <a:moveTo>
                      <a:pt x="248" y="210"/>
                    </a:moveTo>
                    <a:lnTo>
                      <a:pt x="0" y="50"/>
                    </a:lnTo>
                    <a:lnTo>
                      <a:pt x="33" y="0"/>
                    </a:lnTo>
                    <a:lnTo>
                      <a:pt x="281" y="160"/>
                    </a:lnTo>
                    <a:lnTo>
                      <a:pt x="248" y="210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77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" name="任意多边形: 形状 88"/>
              <p:cNvSpPr/>
              <p:nvPr/>
            </p:nvSpPr>
            <p:spPr bwMode="auto">
              <a:xfrm>
                <a:off x="5568633" y="3864614"/>
                <a:ext cx="147491" cy="142347"/>
              </a:xfrm>
              <a:custGeom>
                <a:avLst/>
                <a:gdLst>
                  <a:gd name="T0" fmla="*/ 52 w 86"/>
                  <a:gd name="T1" fmla="*/ 83 h 83"/>
                  <a:gd name="T2" fmla="*/ 0 w 86"/>
                  <a:gd name="T3" fmla="*/ 50 h 83"/>
                  <a:gd name="T4" fmla="*/ 34 w 86"/>
                  <a:gd name="T5" fmla="*/ 0 h 83"/>
                  <a:gd name="T6" fmla="*/ 86 w 86"/>
                  <a:gd name="T7" fmla="*/ 33 h 83"/>
                  <a:gd name="T8" fmla="*/ 52 w 86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83">
                    <a:moveTo>
                      <a:pt x="52" y="83"/>
                    </a:moveTo>
                    <a:lnTo>
                      <a:pt x="0" y="50"/>
                    </a:lnTo>
                    <a:lnTo>
                      <a:pt x="34" y="0"/>
                    </a:lnTo>
                    <a:lnTo>
                      <a:pt x="86" y="33"/>
                    </a:lnTo>
                    <a:lnTo>
                      <a:pt x="52" y="83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" name="任意多边形: 形状 89"/>
              <p:cNvSpPr/>
              <p:nvPr/>
            </p:nvSpPr>
            <p:spPr bwMode="auto">
              <a:xfrm>
                <a:off x="5736704" y="3970945"/>
                <a:ext cx="145777" cy="145777"/>
              </a:xfrm>
              <a:custGeom>
                <a:avLst/>
                <a:gdLst>
                  <a:gd name="T0" fmla="*/ 52 w 85"/>
                  <a:gd name="T1" fmla="*/ 85 h 85"/>
                  <a:gd name="T2" fmla="*/ 0 w 85"/>
                  <a:gd name="T3" fmla="*/ 52 h 85"/>
                  <a:gd name="T4" fmla="*/ 33 w 85"/>
                  <a:gd name="T5" fmla="*/ 0 h 85"/>
                  <a:gd name="T6" fmla="*/ 85 w 85"/>
                  <a:gd name="T7" fmla="*/ 34 h 85"/>
                  <a:gd name="T8" fmla="*/ 52 w 85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85">
                    <a:moveTo>
                      <a:pt x="52" y="85"/>
                    </a:moveTo>
                    <a:lnTo>
                      <a:pt x="0" y="52"/>
                    </a:lnTo>
                    <a:lnTo>
                      <a:pt x="33" y="0"/>
                    </a:lnTo>
                    <a:lnTo>
                      <a:pt x="85" y="34"/>
                    </a:lnTo>
                    <a:lnTo>
                      <a:pt x="52" y="85"/>
                    </a:ln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" name="任意多边形: 形状 90"/>
              <p:cNvSpPr/>
              <p:nvPr/>
            </p:nvSpPr>
            <p:spPr bwMode="auto">
              <a:xfrm>
                <a:off x="4438440" y="3302090"/>
                <a:ext cx="2094031" cy="1382300"/>
              </a:xfrm>
              <a:custGeom>
                <a:avLst/>
                <a:gdLst>
                  <a:gd name="T0" fmla="*/ 12 w 1221"/>
                  <a:gd name="T1" fmla="*/ 0 h 806"/>
                  <a:gd name="T2" fmla="*/ 1221 w 1221"/>
                  <a:gd name="T3" fmla="*/ 785 h 806"/>
                  <a:gd name="T4" fmla="*/ 1207 w 1221"/>
                  <a:gd name="T5" fmla="*/ 806 h 806"/>
                  <a:gd name="T6" fmla="*/ 0 w 1221"/>
                  <a:gd name="T7" fmla="*/ 21 h 806"/>
                  <a:gd name="T8" fmla="*/ 12 w 1221"/>
                  <a:gd name="T9" fmla="*/ 0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1" h="806">
                    <a:moveTo>
                      <a:pt x="12" y="0"/>
                    </a:moveTo>
                    <a:lnTo>
                      <a:pt x="1221" y="785"/>
                    </a:lnTo>
                    <a:lnTo>
                      <a:pt x="1207" y="806"/>
                    </a:lnTo>
                    <a:lnTo>
                      <a:pt x="0" y="21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" name="任意多边形: 形状 91"/>
              <p:cNvSpPr/>
              <p:nvPr/>
            </p:nvSpPr>
            <p:spPr bwMode="auto">
              <a:xfrm>
                <a:off x="6439860" y="1909499"/>
                <a:ext cx="1149059" cy="1895090"/>
              </a:xfrm>
              <a:custGeom>
                <a:avLst/>
                <a:gdLst>
                  <a:gd name="T0" fmla="*/ 8 w 322"/>
                  <a:gd name="T1" fmla="*/ 530 h 532"/>
                  <a:gd name="T2" fmla="*/ 36 w 322"/>
                  <a:gd name="T3" fmla="*/ 486 h 532"/>
                  <a:gd name="T4" fmla="*/ 62 w 322"/>
                  <a:gd name="T5" fmla="*/ 472 h 532"/>
                  <a:gd name="T6" fmla="*/ 80 w 322"/>
                  <a:gd name="T7" fmla="*/ 477 h 532"/>
                  <a:gd name="T8" fmla="*/ 101 w 322"/>
                  <a:gd name="T9" fmla="*/ 483 h 532"/>
                  <a:gd name="T10" fmla="*/ 134 w 322"/>
                  <a:gd name="T11" fmla="*/ 465 h 532"/>
                  <a:gd name="T12" fmla="*/ 308 w 322"/>
                  <a:gd name="T13" fmla="*/ 198 h 532"/>
                  <a:gd name="T14" fmla="*/ 322 w 322"/>
                  <a:gd name="T15" fmla="*/ 150 h 532"/>
                  <a:gd name="T16" fmla="*/ 282 w 322"/>
                  <a:gd name="T17" fmla="*/ 75 h 532"/>
                  <a:gd name="T18" fmla="*/ 190 w 322"/>
                  <a:gd name="T19" fmla="*/ 15 h 532"/>
                  <a:gd name="T20" fmla="*/ 141 w 322"/>
                  <a:gd name="T21" fmla="*/ 0 h 532"/>
                  <a:gd name="T22" fmla="*/ 66 w 322"/>
                  <a:gd name="T23" fmla="*/ 41 h 532"/>
                  <a:gd name="T24" fmla="*/ 67 w 322"/>
                  <a:gd name="T25" fmla="*/ 46 h 532"/>
                  <a:gd name="T26" fmla="*/ 73 w 322"/>
                  <a:gd name="T27" fmla="*/ 45 h 532"/>
                  <a:gd name="T28" fmla="*/ 141 w 322"/>
                  <a:gd name="T29" fmla="*/ 8 h 532"/>
                  <a:gd name="T30" fmla="*/ 185 w 322"/>
                  <a:gd name="T31" fmla="*/ 22 h 532"/>
                  <a:gd name="T32" fmla="*/ 277 w 322"/>
                  <a:gd name="T33" fmla="*/ 82 h 532"/>
                  <a:gd name="T34" fmla="*/ 314 w 322"/>
                  <a:gd name="T35" fmla="*/ 150 h 532"/>
                  <a:gd name="T36" fmla="*/ 301 w 322"/>
                  <a:gd name="T37" fmla="*/ 194 h 532"/>
                  <a:gd name="T38" fmla="*/ 127 w 322"/>
                  <a:gd name="T39" fmla="*/ 461 h 532"/>
                  <a:gd name="T40" fmla="*/ 101 w 322"/>
                  <a:gd name="T41" fmla="*/ 475 h 532"/>
                  <a:gd name="T42" fmla="*/ 84 w 322"/>
                  <a:gd name="T43" fmla="*/ 470 h 532"/>
                  <a:gd name="T44" fmla="*/ 62 w 322"/>
                  <a:gd name="T45" fmla="*/ 464 h 532"/>
                  <a:gd name="T46" fmla="*/ 29 w 322"/>
                  <a:gd name="T47" fmla="*/ 482 h 532"/>
                  <a:gd name="T48" fmla="*/ 1 w 322"/>
                  <a:gd name="T49" fmla="*/ 525 h 532"/>
                  <a:gd name="T50" fmla="*/ 2 w 322"/>
                  <a:gd name="T51" fmla="*/ 531 h 532"/>
                  <a:gd name="T52" fmla="*/ 8 w 322"/>
                  <a:gd name="T53" fmla="*/ 53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2" h="532">
                    <a:moveTo>
                      <a:pt x="8" y="530"/>
                    </a:moveTo>
                    <a:cubicBezTo>
                      <a:pt x="36" y="486"/>
                      <a:pt x="36" y="486"/>
                      <a:pt x="36" y="486"/>
                    </a:cubicBezTo>
                    <a:cubicBezTo>
                      <a:pt x="42" y="477"/>
                      <a:pt x="52" y="472"/>
                      <a:pt x="62" y="472"/>
                    </a:cubicBezTo>
                    <a:cubicBezTo>
                      <a:pt x="68" y="472"/>
                      <a:pt x="74" y="473"/>
                      <a:pt x="80" y="477"/>
                    </a:cubicBezTo>
                    <a:cubicBezTo>
                      <a:pt x="86" y="481"/>
                      <a:pt x="94" y="483"/>
                      <a:pt x="101" y="483"/>
                    </a:cubicBezTo>
                    <a:cubicBezTo>
                      <a:pt x="114" y="483"/>
                      <a:pt x="126" y="477"/>
                      <a:pt x="134" y="465"/>
                    </a:cubicBezTo>
                    <a:cubicBezTo>
                      <a:pt x="308" y="198"/>
                      <a:pt x="308" y="198"/>
                      <a:pt x="308" y="198"/>
                    </a:cubicBezTo>
                    <a:cubicBezTo>
                      <a:pt x="318" y="183"/>
                      <a:pt x="322" y="166"/>
                      <a:pt x="322" y="150"/>
                    </a:cubicBezTo>
                    <a:cubicBezTo>
                      <a:pt x="322" y="121"/>
                      <a:pt x="308" y="92"/>
                      <a:pt x="282" y="75"/>
                    </a:cubicBezTo>
                    <a:cubicBezTo>
                      <a:pt x="190" y="15"/>
                      <a:pt x="190" y="15"/>
                      <a:pt x="190" y="15"/>
                    </a:cubicBezTo>
                    <a:cubicBezTo>
                      <a:pt x="175" y="5"/>
                      <a:pt x="158" y="0"/>
                      <a:pt x="141" y="0"/>
                    </a:cubicBezTo>
                    <a:cubicBezTo>
                      <a:pt x="112" y="0"/>
                      <a:pt x="83" y="15"/>
                      <a:pt x="66" y="41"/>
                    </a:cubicBezTo>
                    <a:cubicBezTo>
                      <a:pt x="65" y="43"/>
                      <a:pt x="65" y="45"/>
                      <a:pt x="67" y="46"/>
                    </a:cubicBezTo>
                    <a:cubicBezTo>
                      <a:pt x="69" y="48"/>
                      <a:pt x="72" y="47"/>
                      <a:pt x="73" y="45"/>
                    </a:cubicBezTo>
                    <a:cubicBezTo>
                      <a:pt x="88" y="21"/>
                      <a:pt x="114" y="8"/>
                      <a:pt x="141" y="8"/>
                    </a:cubicBezTo>
                    <a:cubicBezTo>
                      <a:pt x="156" y="8"/>
                      <a:pt x="172" y="13"/>
                      <a:pt x="185" y="22"/>
                    </a:cubicBezTo>
                    <a:cubicBezTo>
                      <a:pt x="277" y="82"/>
                      <a:pt x="277" y="82"/>
                      <a:pt x="277" y="82"/>
                    </a:cubicBezTo>
                    <a:cubicBezTo>
                      <a:pt x="301" y="97"/>
                      <a:pt x="314" y="123"/>
                      <a:pt x="314" y="150"/>
                    </a:cubicBezTo>
                    <a:cubicBezTo>
                      <a:pt x="314" y="165"/>
                      <a:pt x="310" y="180"/>
                      <a:pt x="301" y="194"/>
                    </a:cubicBezTo>
                    <a:cubicBezTo>
                      <a:pt x="127" y="461"/>
                      <a:pt x="127" y="461"/>
                      <a:pt x="127" y="461"/>
                    </a:cubicBezTo>
                    <a:cubicBezTo>
                      <a:pt x="121" y="470"/>
                      <a:pt x="111" y="475"/>
                      <a:pt x="101" y="475"/>
                    </a:cubicBezTo>
                    <a:cubicBezTo>
                      <a:pt x="95" y="475"/>
                      <a:pt x="89" y="474"/>
                      <a:pt x="84" y="470"/>
                    </a:cubicBezTo>
                    <a:cubicBezTo>
                      <a:pt x="77" y="466"/>
                      <a:pt x="70" y="464"/>
                      <a:pt x="62" y="464"/>
                    </a:cubicBezTo>
                    <a:cubicBezTo>
                      <a:pt x="50" y="464"/>
                      <a:pt x="37" y="470"/>
                      <a:pt x="29" y="482"/>
                    </a:cubicBezTo>
                    <a:cubicBezTo>
                      <a:pt x="1" y="525"/>
                      <a:pt x="1" y="525"/>
                      <a:pt x="1" y="525"/>
                    </a:cubicBezTo>
                    <a:cubicBezTo>
                      <a:pt x="0" y="527"/>
                      <a:pt x="0" y="530"/>
                      <a:pt x="2" y="531"/>
                    </a:cubicBezTo>
                    <a:cubicBezTo>
                      <a:pt x="4" y="532"/>
                      <a:pt x="6" y="532"/>
                      <a:pt x="8" y="53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" name="任意多边形: 形状 92"/>
              <p:cNvSpPr/>
              <p:nvPr/>
            </p:nvSpPr>
            <p:spPr bwMode="auto">
              <a:xfrm>
                <a:off x="4441870" y="1671112"/>
                <a:ext cx="3335701" cy="2328988"/>
              </a:xfrm>
              <a:custGeom>
                <a:avLst/>
                <a:gdLst>
                  <a:gd name="T0" fmla="*/ 928 w 935"/>
                  <a:gd name="T1" fmla="*/ 579 h 654"/>
                  <a:gd name="T2" fmla="*/ 667 w 935"/>
                  <a:gd name="T3" fmla="*/ 378 h 654"/>
                  <a:gd name="T4" fmla="*/ 672 w 935"/>
                  <a:gd name="T5" fmla="*/ 370 h 654"/>
                  <a:gd name="T6" fmla="*/ 734 w 935"/>
                  <a:gd name="T7" fmla="*/ 275 h 654"/>
                  <a:gd name="T8" fmla="*/ 740 w 935"/>
                  <a:gd name="T9" fmla="*/ 266 h 654"/>
                  <a:gd name="T10" fmla="*/ 725 w 935"/>
                  <a:gd name="T11" fmla="*/ 195 h 654"/>
                  <a:gd name="T12" fmla="*/ 478 w 935"/>
                  <a:gd name="T13" fmla="*/ 34 h 654"/>
                  <a:gd name="T14" fmla="*/ 407 w 935"/>
                  <a:gd name="T15" fmla="*/ 49 h 654"/>
                  <a:gd name="T16" fmla="*/ 401 w 935"/>
                  <a:gd name="T17" fmla="*/ 58 h 654"/>
                  <a:gd name="T18" fmla="*/ 339 w 935"/>
                  <a:gd name="T19" fmla="*/ 153 h 654"/>
                  <a:gd name="T20" fmla="*/ 334 w 935"/>
                  <a:gd name="T21" fmla="*/ 161 h 654"/>
                  <a:gd name="T22" fmla="*/ 44 w 935"/>
                  <a:gd name="T23" fmla="*/ 3 h 654"/>
                  <a:gd name="T24" fmla="*/ 31 w 935"/>
                  <a:gd name="T25" fmla="*/ 6 h 654"/>
                  <a:gd name="T26" fmla="*/ 1 w 935"/>
                  <a:gd name="T27" fmla="*/ 83 h 654"/>
                  <a:gd name="T28" fmla="*/ 8 w 935"/>
                  <a:gd name="T29" fmla="*/ 96 h 654"/>
                  <a:gd name="T30" fmla="*/ 280 w 935"/>
                  <a:gd name="T31" fmla="*/ 244 h 654"/>
                  <a:gd name="T32" fmla="*/ 268 w 935"/>
                  <a:gd name="T33" fmla="*/ 262 h 654"/>
                  <a:gd name="T34" fmla="*/ 262 w 935"/>
                  <a:gd name="T35" fmla="*/ 271 h 654"/>
                  <a:gd name="T36" fmla="*/ 257 w 935"/>
                  <a:gd name="T37" fmla="*/ 279 h 654"/>
                  <a:gd name="T38" fmla="*/ 272 w 935"/>
                  <a:gd name="T39" fmla="*/ 351 h 654"/>
                  <a:gd name="T40" fmla="*/ 519 w 935"/>
                  <a:gd name="T41" fmla="*/ 512 h 654"/>
                  <a:gd name="T42" fmla="*/ 590 w 935"/>
                  <a:gd name="T43" fmla="*/ 497 h 654"/>
                  <a:gd name="T44" fmla="*/ 595 w 935"/>
                  <a:gd name="T45" fmla="*/ 488 h 654"/>
                  <a:gd name="T46" fmla="*/ 601 w 935"/>
                  <a:gd name="T47" fmla="*/ 479 h 654"/>
                  <a:gd name="T48" fmla="*/ 613 w 935"/>
                  <a:gd name="T49" fmla="*/ 461 h 654"/>
                  <a:gd name="T50" fmla="*/ 858 w 935"/>
                  <a:gd name="T51" fmla="*/ 649 h 654"/>
                  <a:gd name="T52" fmla="*/ 873 w 935"/>
                  <a:gd name="T53" fmla="*/ 651 h 654"/>
                  <a:gd name="T54" fmla="*/ 931 w 935"/>
                  <a:gd name="T55" fmla="*/ 593 h 654"/>
                  <a:gd name="T56" fmla="*/ 928 w 935"/>
                  <a:gd name="T57" fmla="*/ 579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35" h="654">
                    <a:moveTo>
                      <a:pt x="928" y="579"/>
                    </a:moveTo>
                    <a:cubicBezTo>
                      <a:pt x="844" y="509"/>
                      <a:pt x="756" y="442"/>
                      <a:pt x="667" y="378"/>
                    </a:cubicBezTo>
                    <a:cubicBezTo>
                      <a:pt x="672" y="370"/>
                      <a:pt x="672" y="370"/>
                      <a:pt x="672" y="370"/>
                    </a:cubicBezTo>
                    <a:cubicBezTo>
                      <a:pt x="734" y="275"/>
                      <a:pt x="734" y="275"/>
                      <a:pt x="734" y="275"/>
                    </a:cubicBezTo>
                    <a:cubicBezTo>
                      <a:pt x="740" y="266"/>
                      <a:pt x="740" y="266"/>
                      <a:pt x="740" y="266"/>
                    </a:cubicBezTo>
                    <a:cubicBezTo>
                      <a:pt x="755" y="243"/>
                      <a:pt x="749" y="211"/>
                      <a:pt x="725" y="195"/>
                    </a:cubicBezTo>
                    <a:cubicBezTo>
                      <a:pt x="478" y="34"/>
                      <a:pt x="478" y="34"/>
                      <a:pt x="478" y="34"/>
                    </a:cubicBezTo>
                    <a:cubicBezTo>
                      <a:pt x="454" y="19"/>
                      <a:pt x="422" y="25"/>
                      <a:pt x="407" y="49"/>
                    </a:cubicBezTo>
                    <a:cubicBezTo>
                      <a:pt x="401" y="58"/>
                      <a:pt x="401" y="58"/>
                      <a:pt x="401" y="58"/>
                    </a:cubicBezTo>
                    <a:cubicBezTo>
                      <a:pt x="339" y="153"/>
                      <a:pt x="339" y="153"/>
                      <a:pt x="339" y="153"/>
                    </a:cubicBezTo>
                    <a:cubicBezTo>
                      <a:pt x="334" y="161"/>
                      <a:pt x="334" y="161"/>
                      <a:pt x="334" y="161"/>
                    </a:cubicBezTo>
                    <a:cubicBezTo>
                      <a:pt x="239" y="105"/>
                      <a:pt x="143" y="52"/>
                      <a:pt x="44" y="3"/>
                    </a:cubicBezTo>
                    <a:cubicBezTo>
                      <a:pt x="38" y="0"/>
                      <a:pt x="32" y="2"/>
                      <a:pt x="31" y="6"/>
                    </a:cubicBezTo>
                    <a:cubicBezTo>
                      <a:pt x="21" y="32"/>
                      <a:pt x="11" y="57"/>
                      <a:pt x="1" y="83"/>
                    </a:cubicBezTo>
                    <a:cubicBezTo>
                      <a:pt x="0" y="87"/>
                      <a:pt x="3" y="93"/>
                      <a:pt x="8" y="96"/>
                    </a:cubicBezTo>
                    <a:cubicBezTo>
                      <a:pt x="101" y="142"/>
                      <a:pt x="191" y="191"/>
                      <a:pt x="280" y="244"/>
                    </a:cubicBezTo>
                    <a:cubicBezTo>
                      <a:pt x="268" y="262"/>
                      <a:pt x="268" y="262"/>
                      <a:pt x="268" y="262"/>
                    </a:cubicBezTo>
                    <a:cubicBezTo>
                      <a:pt x="262" y="271"/>
                      <a:pt x="262" y="271"/>
                      <a:pt x="262" y="271"/>
                    </a:cubicBezTo>
                    <a:cubicBezTo>
                      <a:pt x="257" y="279"/>
                      <a:pt x="257" y="279"/>
                      <a:pt x="257" y="279"/>
                    </a:cubicBezTo>
                    <a:cubicBezTo>
                      <a:pt x="241" y="303"/>
                      <a:pt x="248" y="335"/>
                      <a:pt x="272" y="351"/>
                    </a:cubicBezTo>
                    <a:cubicBezTo>
                      <a:pt x="519" y="512"/>
                      <a:pt x="519" y="512"/>
                      <a:pt x="519" y="512"/>
                    </a:cubicBezTo>
                    <a:cubicBezTo>
                      <a:pt x="542" y="527"/>
                      <a:pt x="574" y="520"/>
                      <a:pt x="590" y="497"/>
                    </a:cubicBezTo>
                    <a:cubicBezTo>
                      <a:pt x="595" y="488"/>
                      <a:pt x="595" y="488"/>
                      <a:pt x="595" y="488"/>
                    </a:cubicBezTo>
                    <a:cubicBezTo>
                      <a:pt x="601" y="479"/>
                      <a:pt x="601" y="479"/>
                      <a:pt x="601" y="479"/>
                    </a:cubicBezTo>
                    <a:cubicBezTo>
                      <a:pt x="613" y="461"/>
                      <a:pt x="613" y="461"/>
                      <a:pt x="613" y="461"/>
                    </a:cubicBezTo>
                    <a:cubicBezTo>
                      <a:pt x="697" y="521"/>
                      <a:pt x="779" y="584"/>
                      <a:pt x="858" y="649"/>
                    </a:cubicBezTo>
                    <a:cubicBezTo>
                      <a:pt x="863" y="653"/>
                      <a:pt x="870" y="654"/>
                      <a:pt x="873" y="651"/>
                    </a:cubicBezTo>
                    <a:cubicBezTo>
                      <a:pt x="892" y="631"/>
                      <a:pt x="912" y="612"/>
                      <a:pt x="931" y="593"/>
                    </a:cubicBezTo>
                    <a:cubicBezTo>
                      <a:pt x="935" y="589"/>
                      <a:pt x="933" y="583"/>
                      <a:pt x="928" y="579"/>
                    </a:cubicBezTo>
                  </a:path>
                </a:pathLst>
              </a:custGeom>
              <a:solidFill>
                <a:srgbClr val="242630">
                  <a:alpha val="26000"/>
                </a:srgb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" name="任意多边形: 形状 93"/>
              <p:cNvSpPr/>
              <p:nvPr/>
            </p:nvSpPr>
            <p:spPr bwMode="auto">
              <a:xfrm>
                <a:off x="5419428" y="1732852"/>
                <a:ext cx="1701293" cy="1665278"/>
              </a:xfrm>
              <a:custGeom>
                <a:avLst/>
                <a:gdLst>
                  <a:gd name="T0" fmla="*/ 462 w 477"/>
                  <a:gd name="T1" fmla="*/ 232 h 468"/>
                  <a:gd name="T2" fmla="*/ 327 w 477"/>
                  <a:gd name="T3" fmla="*/ 439 h 468"/>
                  <a:gd name="T4" fmla="*/ 260 w 477"/>
                  <a:gd name="T5" fmla="*/ 453 h 468"/>
                  <a:gd name="T6" fmla="*/ 29 w 477"/>
                  <a:gd name="T7" fmla="*/ 303 h 468"/>
                  <a:gd name="T8" fmla="*/ 15 w 477"/>
                  <a:gd name="T9" fmla="*/ 236 h 468"/>
                  <a:gd name="T10" fmla="*/ 150 w 477"/>
                  <a:gd name="T11" fmla="*/ 28 h 468"/>
                  <a:gd name="T12" fmla="*/ 217 w 477"/>
                  <a:gd name="T13" fmla="*/ 14 h 468"/>
                  <a:gd name="T14" fmla="*/ 448 w 477"/>
                  <a:gd name="T15" fmla="*/ 165 h 468"/>
                  <a:gd name="T16" fmla="*/ 462 w 477"/>
                  <a:gd name="T17" fmla="*/ 2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7" h="468">
                    <a:moveTo>
                      <a:pt x="462" y="232"/>
                    </a:moveTo>
                    <a:cubicBezTo>
                      <a:pt x="327" y="439"/>
                      <a:pt x="327" y="439"/>
                      <a:pt x="327" y="439"/>
                    </a:cubicBezTo>
                    <a:cubicBezTo>
                      <a:pt x="313" y="462"/>
                      <a:pt x="283" y="468"/>
                      <a:pt x="260" y="453"/>
                    </a:cubicBezTo>
                    <a:cubicBezTo>
                      <a:pt x="29" y="303"/>
                      <a:pt x="29" y="303"/>
                      <a:pt x="29" y="303"/>
                    </a:cubicBezTo>
                    <a:cubicBezTo>
                      <a:pt x="7" y="288"/>
                      <a:pt x="0" y="258"/>
                      <a:pt x="15" y="236"/>
                    </a:cubicBezTo>
                    <a:cubicBezTo>
                      <a:pt x="150" y="28"/>
                      <a:pt x="150" y="28"/>
                      <a:pt x="150" y="28"/>
                    </a:cubicBezTo>
                    <a:cubicBezTo>
                      <a:pt x="165" y="6"/>
                      <a:pt x="195" y="0"/>
                      <a:pt x="217" y="14"/>
                    </a:cubicBezTo>
                    <a:cubicBezTo>
                      <a:pt x="448" y="165"/>
                      <a:pt x="448" y="165"/>
                      <a:pt x="448" y="165"/>
                    </a:cubicBezTo>
                    <a:cubicBezTo>
                      <a:pt x="471" y="179"/>
                      <a:pt x="477" y="209"/>
                      <a:pt x="462" y="232"/>
                    </a:cubicBezTo>
                  </a:path>
                </a:pathLst>
              </a:custGeom>
              <a:solidFill>
                <a:srgbClr val="9FC0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" name="任意多边形: 形状 94"/>
              <p:cNvSpPr/>
              <p:nvPr/>
            </p:nvSpPr>
            <p:spPr bwMode="auto">
              <a:xfrm>
                <a:off x="5436578" y="1703698"/>
                <a:ext cx="1703009" cy="1666993"/>
              </a:xfrm>
              <a:custGeom>
                <a:avLst/>
                <a:gdLst>
                  <a:gd name="T0" fmla="*/ 463 w 477"/>
                  <a:gd name="T1" fmla="*/ 232 h 468"/>
                  <a:gd name="T2" fmla="*/ 327 w 477"/>
                  <a:gd name="T3" fmla="*/ 439 h 468"/>
                  <a:gd name="T4" fmla="*/ 260 w 477"/>
                  <a:gd name="T5" fmla="*/ 454 h 468"/>
                  <a:gd name="T6" fmla="*/ 29 w 477"/>
                  <a:gd name="T7" fmla="*/ 303 h 468"/>
                  <a:gd name="T8" fmla="*/ 15 w 477"/>
                  <a:gd name="T9" fmla="*/ 236 h 468"/>
                  <a:gd name="T10" fmla="*/ 150 w 477"/>
                  <a:gd name="T11" fmla="*/ 28 h 468"/>
                  <a:gd name="T12" fmla="*/ 217 w 477"/>
                  <a:gd name="T13" fmla="*/ 14 h 468"/>
                  <a:gd name="T14" fmla="*/ 448 w 477"/>
                  <a:gd name="T15" fmla="*/ 165 h 468"/>
                  <a:gd name="T16" fmla="*/ 463 w 477"/>
                  <a:gd name="T17" fmla="*/ 2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7" h="468">
                    <a:moveTo>
                      <a:pt x="463" y="232"/>
                    </a:moveTo>
                    <a:cubicBezTo>
                      <a:pt x="327" y="439"/>
                      <a:pt x="327" y="439"/>
                      <a:pt x="327" y="439"/>
                    </a:cubicBezTo>
                    <a:cubicBezTo>
                      <a:pt x="313" y="462"/>
                      <a:pt x="283" y="468"/>
                      <a:pt x="260" y="454"/>
                    </a:cubicBezTo>
                    <a:cubicBezTo>
                      <a:pt x="29" y="303"/>
                      <a:pt x="29" y="303"/>
                      <a:pt x="29" y="303"/>
                    </a:cubicBezTo>
                    <a:cubicBezTo>
                      <a:pt x="7" y="288"/>
                      <a:pt x="0" y="258"/>
                      <a:pt x="15" y="236"/>
                    </a:cubicBezTo>
                    <a:cubicBezTo>
                      <a:pt x="150" y="28"/>
                      <a:pt x="150" y="28"/>
                      <a:pt x="150" y="28"/>
                    </a:cubicBezTo>
                    <a:cubicBezTo>
                      <a:pt x="165" y="6"/>
                      <a:pt x="195" y="0"/>
                      <a:pt x="217" y="14"/>
                    </a:cubicBezTo>
                    <a:cubicBezTo>
                      <a:pt x="448" y="165"/>
                      <a:pt x="448" y="165"/>
                      <a:pt x="448" y="165"/>
                    </a:cubicBezTo>
                    <a:cubicBezTo>
                      <a:pt x="471" y="179"/>
                      <a:pt x="477" y="209"/>
                      <a:pt x="463" y="232"/>
                    </a:cubicBezTo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" name="任意多边形: 形状 95"/>
              <p:cNvSpPr/>
              <p:nvPr/>
            </p:nvSpPr>
            <p:spPr bwMode="auto">
              <a:xfrm>
                <a:off x="5508608" y="2216486"/>
                <a:ext cx="195511" cy="298412"/>
              </a:xfrm>
              <a:custGeom>
                <a:avLst/>
                <a:gdLst>
                  <a:gd name="T0" fmla="*/ 114 w 114"/>
                  <a:gd name="T1" fmla="*/ 0 h 174"/>
                  <a:gd name="T2" fmla="*/ 0 w 114"/>
                  <a:gd name="T3" fmla="*/ 174 h 174"/>
                  <a:gd name="T4" fmla="*/ 0 w 114"/>
                  <a:gd name="T5" fmla="*/ 174 h 174"/>
                  <a:gd name="T6" fmla="*/ 106 w 114"/>
                  <a:gd name="T7" fmla="*/ 14 h 174"/>
                  <a:gd name="T8" fmla="*/ 114 w 114"/>
                  <a:gd name="T9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74">
                    <a:moveTo>
                      <a:pt x="114" y="0"/>
                    </a:moveTo>
                    <a:lnTo>
                      <a:pt x="0" y="174"/>
                    </a:lnTo>
                    <a:lnTo>
                      <a:pt x="0" y="174"/>
                    </a:lnTo>
                    <a:lnTo>
                      <a:pt x="106" y="14"/>
                    </a:lnTo>
                    <a:lnTo>
                      <a:pt x="114" y="0"/>
                    </a:lnTo>
                    <a:close/>
                  </a:path>
                </a:pathLst>
              </a:custGeom>
              <a:solidFill>
                <a:srgbClr val="23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5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" name="任意多边形: 形状 96"/>
              <p:cNvSpPr/>
              <p:nvPr/>
            </p:nvSpPr>
            <p:spPr bwMode="auto">
              <a:xfrm>
                <a:off x="5508608" y="2216486"/>
                <a:ext cx="195511" cy="298412"/>
              </a:xfrm>
              <a:custGeom>
                <a:avLst/>
                <a:gdLst>
                  <a:gd name="T0" fmla="*/ 114 w 114"/>
                  <a:gd name="T1" fmla="*/ 0 h 174"/>
                  <a:gd name="T2" fmla="*/ 0 w 114"/>
                  <a:gd name="T3" fmla="*/ 174 h 174"/>
                  <a:gd name="T4" fmla="*/ 0 w 114"/>
                  <a:gd name="T5" fmla="*/ 174 h 174"/>
                  <a:gd name="T6" fmla="*/ 106 w 114"/>
                  <a:gd name="T7" fmla="*/ 14 h 174"/>
                  <a:gd name="T8" fmla="*/ 114 w 114"/>
                  <a:gd name="T9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74">
                    <a:moveTo>
                      <a:pt x="114" y="0"/>
                    </a:moveTo>
                    <a:lnTo>
                      <a:pt x="0" y="174"/>
                    </a:lnTo>
                    <a:lnTo>
                      <a:pt x="0" y="174"/>
                    </a:lnTo>
                    <a:lnTo>
                      <a:pt x="106" y="14"/>
                    </a:lnTo>
                    <a:lnTo>
                      <a:pt x="11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5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" name="任意多边形: 形状 97"/>
              <p:cNvSpPr/>
              <p:nvPr/>
            </p:nvSpPr>
            <p:spPr bwMode="auto">
              <a:xfrm>
                <a:off x="5690400" y="2194191"/>
                <a:ext cx="29156" cy="46306"/>
              </a:xfrm>
              <a:custGeom>
                <a:avLst/>
                <a:gdLst>
                  <a:gd name="T0" fmla="*/ 17 w 17"/>
                  <a:gd name="T1" fmla="*/ 0 h 27"/>
                  <a:gd name="T2" fmla="*/ 8 w 17"/>
                  <a:gd name="T3" fmla="*/ 13 h 27"/>
                  <a:gd name="T4" fmla="*/ 0 w 17"/>
                  <a:gd name="T5" fmla="*/ 27 h 27"/>
                  <a:gd name="T6" fmla="*/ 17 w 17"/>
                  <a:gd name="T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27">
                    <a:moveTo>
                      <a:pt x="17" y="0"/>
                    </a:moveTo>
                    <a:lnTo>
                      <a:pt x="8" y="13"/>
                    </a:lnTo>
                    <a:lnTo>
                      <a:pt x="0" y="27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98B7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" name="任意多边形: 形状 98"/>
              <p:cNvSpPr/>
              <p:nvPr/>
            </p:nvSpPr>
            <p:spPr bwMode="auto">
              <a:xfrm>
                <a:off x="5690400" y="2194191"/>
                <a:ext cx="29156" cy="46306"/>
              </a:xfrm>
              <a:custGeom>
                <a:avLst/>
                <a:gdLst>
                  <a:gd name="T0" fmla="*/ 17 w 17"/>
                  <a:gd name="T1" fmla="*/ 0 h 27"/>
                  <a:gd name="T2" fmla="*/ 8 w 17"/>
                  <a:gd name="T3" fmla="*/ 13 h 27"/>
                  <a:gd name="T4" fmla="*/ 0 w 17"/>
                  <a:gd name="T5" fmla="*/ 27 h 27"/>
                  <a:gd name="T6" fmla="*/ 17 w 17"/>
                  <a:gd name="T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27">
                    <a:moveTo>
                      <a:pt x="17" y="0"/>
                    </a:moveTo>
                    <a:lnTo>
                      <a:pt x="8" y="13"/>
                    </a:lnTo>
                    <a:lnTo>
                      <a:pt x="0" y="27"/>
                    </a:lnTo>
                    <a:lnTo>
                      <a:pt x="1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" name="任意多边形: 形状 99"/>
              <p:cNvSpPr/>
              <p:nvPr/>
            </p:nvSpPr>
            <p:spPr bwMode="auto">
              <a:xfrm>
                <a:off x="5508608" y="2151315"/>
                <a:ext cx="1353146" cy="1087318"/>
              </a:xfrm>
              <a:custGeom>
                <a:avLst/>
                <a:gdLst>
                  <a:gd name="T0" fmla="*/ 67 w 379"/>
                  <a:gd name="T1" fmla="*/ 0 h 305"/>
                  <a:gd name="T2" fmla="*/ 59 w 379"/>
                  <a:gd name="T3" fmla="*/ 12 h 305"/>
                  <a:gd name="T4" fmla="*/ 51 w 379"/>
                  <a:gd name="T5" fmla="*/ 25 h 305"/>
                  <a:gd name="T6" fmla="*/ 0 w 379"/>
                  <a:gd name="T7" fmla="*/ 102 h 305"/>
                  <a:gd name="T8" fmla="*/ 313 w 379"/>
                  <a:gd name="T9" fmla="*/ 305 h 305"/>
                  <a:gd name="T10" fmla="*/ 379 w 379"/>
                  <a:gd name="T11" fmla="*/ 203 h 305"/>
                  <a:gd name="T12" fmla="*/ 67 w 379"/>
                  <a:gd name="T13" fmla="*/ 0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9" h="305">
                    <a:moveTo>
                      <a:pt x="67" y="0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108" y="164"/>
                      <a:pt x="212" y="232"/>
                      <a:pt x="313" y="305"/>
                    </a:cubicBezTo>
                    <a:cubicBezTo>
                      <a:pt x="379" y="203"/>
                      <a:pt x="379" y="203"/>
                      <a:pt x="379" y="203"/>
                    </a:cubicBezTo>
                    <a:cubicBezTo>
                      <a:pt x="278" y="130"/>
                      <a:pt x="174" y="62"/>
                      <a:pt x="67" y="0"/>
                    </a:cubicBezTo>
                  </a:path>
                </a:pathLst>
              </a:custGeom>
              <a:solidFill>
                <a:srgbClr val="BBC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1" name="任意多边形: 形状 100"/>
              <p:cNvSpPr/>
              <p:nvPr/>
            </p:nvSpPr>
            <p:spPr bwMode="auto">
              <a:xfrm>
                <a:off x="6139733" y="1885489"/>
                <a:ext cx="764896" cy="586534"/>
              </a:xfrm>
              <a:custGeom>
                <a:avLst/>
                <a:gdLst>
                  <a:gd name="T0" fmla="*/ 168 w 214"/>
                  <a:gd name="T1" fmla="*/ 159 h 165"/>
                  <a:gd name="T2" fmla="*/ 13 w 214"/>
                  <a:gd name="T3" fmla="*/ 58 h 165"/>
                  <a:gd name="T4" fmla="*/ 7 w 214"/>
                  <a:gd name="T5" fmla="*/ 27 h 165"/>
                  <a:gd name="T6" fmla="*/ 15 w 214"/>
                  <a:gd name="T7" fmla="*/ 13 h 165"/>
                  <a:gd name="T8" fmla="*/ 46 w 214"/>
                  <a:gd name="T9" fmla="*/ 7 h 165"/>
                  <a:gd name="T10" fmla="*/ 201 w 214"/>
                  <a:gd name="T11" fmla="*/ 108 h 165"/>
                  <a:gd name="T12" fmla="*/ 208 w 214"/>
                  <a:gd name="T13" fmla="*/ 138 h 165"/>
                  <a:gd name="T14" fmla="*/ 199 w 214"/>
                  <a:gd name="T15" fmla="*/ 152 h 165"/>
                  <a:gd name="T16" fmla="*/ 168 w 214"/>
                  <a:gd name="T17" fmla="*/ 15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4" h="165">
                    <a:moveTo>
                      <a:pt x="168" y="159"/>
                    </a:moveTo>
                    <a:cubicBezTo>
                      <a:pt x="13" y="58"/>
                      <a:pt x="13" y="58"/>
                      <a:pt x="13" y="58"/>
                    </a:cubicBezTo>
                    <a:cubicBezTo>
                      <a:pt x="3" y="51"/>
                      <a:pt x="0" y="37"/>
                      <a:pt x="7" y="27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22" y="3"/>
                      <a:pt x="36" y="0"/>
                      <a:pt x="46" y="7"/>
                    </a:cubicBezTo>
                    <a:cubicBezTo>
                      <a:pt x="201" y="108"/>
                      <a:pt x="201" y="108"/>
                      <a:pt x="201" y="108"/>
                    </a:cubicBezTo>
                    <a:cubicBezTo>
                      <a:pt x="211" y="114"/>
                      <a:pt x="214" y="128"/>
                      <a:pt x="208" y="138"/>
                    </a:cubicBezTo>
                    <a:cubicBezTo>
                      <a:pt x="199" y="152"/>
                      <a:pt x="199" y="152"/>
                      <a:pt x="199" y="152"/>
                    </a:cubicBezTo>
                    <a:cubicBezTo>
                      <a:pt x="192" y="162"/>
                      <a:pt x="178" y="165"/>
                      <a:pt x="168" y="159"/>
                    </a:cubicBezTo>
                    <a:close/>
                  </a:path>
                </a:pathLst>
              </a:custGeom>
              <a:solidFill>
                <a:srgbClr val="D6E3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2" name="任意多边形: 形状 101"/>
              <p:cNvSpPr/>
              <p:nvPr/>
            </p:nvSpPr>
            <p:spPr bwMode="auto">
              <a:xfrm>
                <a:off x="5494888" y="2657245"/>
                <a:ext cx="998138" cy="667141"/>
              </a:xfrm>
              <a:custGeom>
                <a:avLst/>
                <a:gdLst>
                  <a:gd name="T0" fmla="*/ 6 w 280"/>
                  <a:gd name="T1" fmla="*/ 0 h 187"/>
                  <a:gd name="T2" fmla="*/ 12 w 280"/>
                  <a:gd name="T3" fmla="*/ 26 h 187"/>
                  <a:gd name="T4" fmla="*/ 253 w 280"/>
                  <a:gd name="T5" fmla="*/ 183 h 187"/>
                  <a:gd name="T6" fmla="*/ 264 w 280"/>
                  <a:gd name="T7" fmla="*/ 187 h 187"/>
                  <a:gd name="T8" fmla="*/ 280 w 280"/>
                  <a:gd name="T9" fmla="*/ 178 h 187"/>
                  <a:gd name="T10" fmla="*/ 6 w 280"/>
                  <a:gd name="T11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0" h="187">
                    <a:moveTo>
                      <a:pt x="6" y="0"/>
                    </a:moveTo>
                    <a:cubicBezTo>
                      <a:pt x="0" y="8"/>
                      <a:pt x="3" y="20"/>
                      <a:pt x="12" y="26"/>
                    </a:cubicBezTo>
                    <a:cubicBezTo>
                      <a:pt x="253" y="183"/>
                      <a:pt x="253" y="183"/>
                      <a:pt x="253" y="183"/>
                    </a:cubicBezTo>
                    <a:cubicBezTo>
                      <a:pt x="256" y="186"/>
                      <a:pt x="260" y="187"/>
                      <a:pt x="264" y="187"/>
                    </a:cubicBezTo>
                    <a:cubicBezTo>
                      <a:pt x="270" y="187"/>
                      <a:pt x="276" y="183"/>
                      <a:pt x="280" y="178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CCDE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3" name="任意多边形: 形状 102"/>
              <p:cNvSpPr/>
              <p:nvPr/>
            </p:nvSpPr>
            <p:spPr bwMode="auto">
              <a:xfrm>
                <a:off x="6739988" y="2233636"/>
                <a:ext cx="82321" cy="65170"/>
              </a:xfrm>
              <a:custGeom>
                <a:avLst/>
                <a:gdLst>
                  <a:gd name="T0" fmla="*/ 17 w 23"/>
                  <a:gd name="T1" fmla="*/ 17 h 18"/>
                  <a:gd name="T2" fmla="*/ 2 w 23"/>
                  <a:gd name="T3" fmla="*/ 7 h 18"/>
                  <a:gd name="T4" fmla="*/ 1 w 23"/>
                  <a:gd name="T5" fmla="*/ 2 h 18"/>
                  <a:gd name="T6" fmla="*/ 5 w 23"/>
                  <a:gd name="T7" fmla="*/ 1 h 18"/>
                  <a:gd name="T8" fmla="*/ 20 w 23"/>
                  <a:gd name="T9" fmla="*/ 11 h 18"/>
                  <a:gd name="T10" fmla="*/ 22 w 23"/>
                  <a:gd name="T11" fmla="*/ 16 h 18"/>
                  <a:gd name="T12" fmla="*/ 17 w 23"/>
                  <a:gd name="T13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18">
                    <a:moveTo>
                      <a:pt x="17" y="17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0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1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2" y="12"/>
                      <a:pt x="23" y="14"/>
                      <a:pt x="22" y="16"/>
                    </a:cubicBezTo>
                    <a:cubicBezTo>
                      <a:pt x="20" y="17"/>
                      <a:pt x="18" y="18"/>
                      <a:pt x="17" y="17"/>
                    </a:cubicBez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4" name="任意多边形: 形状 103"/>
              <p:cNvSpPr/>
              <p:nvPr/>
            </p:nvSpPr>
            <p:spPr bwMode="auto">
              <a:xfrm>
                <a:off x="6714262" y="2269652"/>
                <a:ext cx="82321" cy="60026"/>
              </a:xfrm>
              <a:custGeom>
                <a:avLst/>
                <a:gdLst>
                  <a:gd name="T0" fmla="*/ 17 w 23"/>
                  <a:gd name="T1" fmla="*/ 16 h 17"/>
                  <a:gd name="T2" fmla="*/ 2 w 23"/>
                  <a:gd name="T3" fmla="*/ 7 h 17"/>
                  <a:gd name="T4" fmla="*/ 1 w 23"/>
                  <a:gd name="T5" fmla="*/ 2 h 17"/>
                  <a:gd name="T6" fmla="*/ 6 w 23"/>
                  <a:gd name="T7" fmla="*/ 1 h 17"/>
                  <a:gd name="T8" fmla="*/ 21 w 23"/>
                  <a:gd name="T9" fmla="*/ 11 h 17"/>
                  <a:gd name="T10" fmla="*/ 22 w 23"/>
                  <a:gd name="T11" fmla="*/ 15 h 17"/>
                  <a:gd name="T12" fmla="*/ 17 w 23"/>
                  <a:gd name="T1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17">
                    <a:moveTo>
                      <a:pt x="17" y="16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3" y="12"/>
                      <a:pt x="23" y="14"/>
                      <a:pt x="22" y="15"/>
                    </a:cubicBezTo>
                    <a:cubicBezTo>
                      <a:pt x="21" y="17"/>
                      <a:pt x="19" y="17"/>
                      <a:pt x="17" y="16"/>
                    </a:cubicBez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5" name="任意多边形: 形状 104"/>
              <p:cNvSpPr/>
              <p:nvPr/>
            </p:nvSpPr>
            <p:spPr bwMode="auto">
              <a:xfrm>
                <a:off x="4498465" y="1266369"/>
                <a:ext cx="3668413" cy="2416454"/>
              </a:xfrm>
              <a:custGeom>
                <a:avLst/>
                <a:gdLst>
                  <a:gd name="T0" fmla="*/ 7 w 1028"/>
                  <a:gd name="T1" fmla="*/ 24 h 679"/>
                  <a:gd name="T2" fmla="*/ 1006 w 1028"/>
                  <a:gd name="T3" fmla="*/ 675 h 679"/>
                  <a:gd name="T4" fmla="*/ 1020 w 1028"/>
                  <a:gd name="T5" fmla="*/ 675 h 679"/>
                  <a:gd name="T6" fmla="*/ 1028 w 1028"/>
                  <a:gd name="T7" fmla="*/ 667 h 679"/>
                  <a:gd name="T8" fmla="*/ 6 w 1028"/>
                  <a:gd name="T9" fmla="*/ 0 h 679"/>
                  <a:gd name="T10" fmla="*/ 2 w 1028"/>
                  <a:gd name="T11" fmla="*/ 11 h 679"/>
                  <a:gd name="T12" fmla="*/ 7 w 1028"/>
                  <a:gd name="T13" fmla="*/ 24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28" h="679">
                    <a:moveTo>
                      <a:pt x="7" y="24"/>
                    </a:moveTo>
                    <a:cubicBezTo>
                      <a:pt x="363" y="202"/>
                      <a:pt x="700" y="422"/>
                      <a:pt x="1006" y="675"/>
                    </a:cubicBezTo>
                    <a:cubicBezTo>
                      <a:pt x="1010" y="679"/>
                      <a:pt x="1016" y="679"/>
                      <a:pt x="1020" y="675"/>
                    </a:cubicBezTo>
                    <a:cubicBezTo>
                      <a:pt x="1023" y="672"/>
                      <a:pt x="1026" y="669"/>
                      <a:pt x="1028" y="667"/>
                    </a:cubicBezTo>
                    <a:cubicBezTo>
                      <a:pt x="715" y="406"/>
                      <a:pt x="370" y="181"/>
                      <a:pt x="6" y="0"/>
                    </a:cubicBezTo>
                    <a:cubicBezTo>
                      <a:pt x="4" y="4"/>
                      <a:pt x="3" y="8"/>
                      <a:pt x="2" y="11"/>
                    </a:cubicBezTo>
                    <a:cubicBezTo>
                      <a:pt x="0" y="16"/>
                      <a:pt x="2" y="22"/>
                      <a:pt x="7" y="24"/>
                    </a:cubicBez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6" name="任意多边形: 形状 105"/>
              <p:cNvSpPr/>
              <p:nvPr/>
            </p:nvSpPr>
            <p:spPr bwMode="auto">
              <a:xfrm>
                <a:off x="4366410" y="1316105"/>
                <a:ext cx="3761024" cy="2623970"/>
              </a:xfrm>
              <a:custGeom>
                <a:avLst/>
                <a:gdLst>
                  <a:gd name="T0" fmla="*/ 968 w 1054"/>
                  <a:gd name="T1" fmla="*/ 731 h 737"/>
                  <a:gd name="T2" fmla="*/ 10 w 1054"/>
                  <a:gd name="T3" fmla="*/ 107 h 737"/>
                  <a:gd name="T4" fmla="*/ 2 w 1054"/>
                  <a:gd name="T5" fmla="*/ 93 h 737"/>
                  <a:gd name="T6" fmla="*/ 35 w 1054"/>
                  <a:gd name="T7" fmla="*/ 6 h 737"/>
                  <a:gd name="T8" fmla="*/ 51 w 1054"/>
                  <a:gd name="T9" fmla="*/ 3 h 737"/>
                  <a:gd name="T10" fmla="*/ 1047 w 1054"/>
                  <a:gd name="T11" fmla="*/ 652 h 737"/>
                  <a:gd name="T12" fmla="*/ 1050 w 1054"/>
                  <a:gd name="T13" fmla="*/ 668 h 737"/>
                  <a:gd name="T14" fmla="*/ 985 w 1054"/>
                  <a:gd name="T15" fmla="*/ 733 h 737"/>
                  <a:gd name="T16" fmla="*/ 968 w 1054"/>
                  <a:gd name="T17" fmla="*/ 731 h 7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4" h="737">
                    <a:moveTo>
                      <a:pt x="968" y="731"/>
                    </a:moveTo>
                    <a:cubicBezTo>
                      <a:pt x="674" y="488"/>
                      <a:pt x="351" y="278"/>
                      <a:pt x="10" y="107"/>
                    </a:cubicBezTo>
                    <a:cubicBezTo>
                      <a:pt x="4" y="104"/>
                      <a:pt x="0" y="97"/>
                      <a:pt x="2" y="93"/>
                    </a:cubicBezTo>
                    <a:cubicBezTo>
                      <a:pt x="13" y="64"/>
                      <a:pt x="24" y="35"/>
                      <a:pt x="35" y="6"/>
                    </a:cubicBezTo>
                    <a:cubicBezTo>
                      <a:pt x="37" y="1"/>
                      <a:pt x="44" y="0"/>
                      <a:pt x="51" y="3"/>
                    </a:cubicBezTo>
                    <a:cubicBezTo>
                      <a:pt x="405" y="181"/>
                      <a:pt x="741" y="399"/>
                      <a:pt x="1047" y="652"/>
                    </a:cubicBezTo>
                    <a:cubicBezTo>
                      <a:pt x="1052" y="657"/>
                      <a:pt x="1054" y="664"/>
                      <a:pt x="1050" y="668"/>
                    </a:cubicBezTo>
                    <a:cubicBezTo>
                      <a:pt x="1028" y="689"/>
                      <a:pt x="1007" y="711"/>
                      <a:pt x="985" y="733"/>
                    </a:cubicBezTo>
                    <a:cubicBezTo>
                      <a:pt x="981" y="737"/>
                      <a:pt x="973" y="736"/>
                      <a:pt x="968" y="731"/>
                    </a:cubicBezTo>
                    <a:close/>
                  </a:path>
                </a:pathLst>
              </a:custGeom>
              <a:solidFill>
                <a:srgbClr val="4949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7" name="任意多边形: 形状 106"/>
              <p:cNvSpPr/>
              <p:nvPr/>
            </p:nvSpPr>
            <p:spPr bwMode="auto">
              <a:xfrm>
                <a:off x="4459020" y="1400140"/>
                <a:ext cx="3568943" cy="2450754"/>
              </a:xfrm>
              <a:custGeom>
                <a:avLst/>
                <a:gdLst>
                  <a:gd name="T0" fmla="*/ 946 w 1000"/>
                  <a:gd name="T1" fmla="*/ 688 h 688"/>
                  <a:gd name="T2" fmla="*/ 0 w 1000"/>
                  <a:gd name="T3" fmla="*/ 72 h 688"/>
                  <a:gd name="T4" fmla="*/ 28 w 1000"/>
                  <a:gd name="T5" fmla="*/ 0 h 688"/>
                  <a:gd name="T6" fmla="*/ 1000 w 1000"/>
                  <a:gd name="T7" fmla="*/ 634 h 688"/>
                  <a:gd name="T8" fmla="*/ 946 w 1000"/>
                  <a:gd name="T9" fmla="*/ 688 h 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0" h="688">
                    <a:moveTo>
                      <a:pt x="946" y="688"/>
                    </a:moveTo>
                    <a:cubicBezTo>
                      <a:pt x="655" y="449"/>
                      <a:pt x="336" y="241"/>
                      <a:pt x="0" y="72"/>
                    </a:cubicBezTo>
                    <a:cubicBezTo>
                      <a:pt x="9" y="48"/>
                      <a:pt x="19" y="24"/>
                      <a:pt x="28" y="0"/>
                    </a:cubicBezTo>
                    <a:cubicBezTo>
                      <a:pt x="374" y="174"/>
                      <a:pt x="701" y="388"/>
                      <a:pt x="1000" y="634"/>
                    </a:cubicBezTo>
                    <a:cubicBezTo>
                      <a:pt x="982" y="652"/>
                      <a:pt x="964" y="670"/>
                      <a:pt x="946" y="688"/>
                    </a:cubicBezTo>
                    <a:close/>
                  </a:path>
                </a:pathLst>
              </a:custGeom>
              <a:solidFill>
                <a:srgbClr val="9AD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8" name="任意多边形: 形状 107"/>
              <p:cNvSpPr/>
              <p:nvPr/>
            </p:nvSpPr>
            <p:spPr bwMode="auto">
              <a:xfrm>
                <a:off x="4520761" y="1170328"/>
                <a:ext cx="3707858" cy="2469619"/>
              </a:xfrm>
              <a:custGeom>
                <a:avLst/>
                <a:gdLst>
                  <a:gd name="T0" fmla="*/ 0 w 1039"/>
                  <a:gd name="T1" fmla="*/ 27 h 694"/>
                  <a:gd name="T2" fmla="*/ 1022 w 1039"/>
                  <a:gd name="T3" fmla="*/ 694 h 694"/>
                  <a:gd name="T4" fmla="*/ 1026 w 1039"/>
                  <a:gd name="T5" fmla="*/ 690 h 694"/>
                  <a:gd name="T6" fmla="*/ 1012 w 1039"/>
                  <a:gd name="T7" fmla="*/ 634 h 694"/>
                  <a:gd name="T8" fmla="*/ 58 w 1039"/>
                  <a:gd name="T9" fmla="*/ 13 h 694"/>
                  <a:gd name="T10" fmla="*/ 1 w 1039"/>
                  <a:gd name="T11" fmla="*/ 23 h 694"/>
                  <a:gd name="T12" fmla="*/ 0 w 1039"/>
                  <a:gd name="T13" fmla="*/ 27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9" h="694">
                    <a:moveTo>
                      <a:pt x="0" y="27"/>
                    </a:moveTo>
                    <a:cubicBezTo>
                      <a:pt x="364" y="208"/>
                      <a:pt x="709" y="433"/>
                      <a:pt x="1022" y="694"/>
                    </a:cubicBezTo>
                    <a:cubicBezTo>
                      <a:pt x="1023" y="693"/>
                      <a:pt x="1025" y="691"/>
                      <a:pt x="1026" y="690"/>
                    </a:cubicBezTo>
                    <a:cubicBezTo>
                      <a:pt x="1039" y="677"/>
                      <a:pt x="1033" y="652"/>
                      <a:pt x="1012" y="634"/>
                    </a:cubicBezTo>
                    <a:cubicBezTo>
                      <a:pt x="718" y="394"/>
                      <a:pt x="397" y="185"/>
                      <a:pt x="58" y="13"/>
                    </a:cubicBezTo>
                    <a:cubicBezTo>
                      <a:pt x="34" y="0"/>
                      <a:pt x="8" y="5"/>
                      <a:pt x="1" y="23"/>
                    </a:cubicBezTo>
                    <a:cubicBezTo>
                      <a:pt x="1" y="24"/>
                      <a:pt x="0" y="26"/>
                      <a:pt x="0" y="27"/>
                    </a:cubicBezTo>
                    <a:close/>
                  </a:path>
                </a:pathLst>
              </a:custGeom>
              <a:solidFill>
                <a:srgbClr val="FB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9" name="任意多边形: 形状 108"/>
              <p:cNvSpPr/>
              <p:nvPr/>
            </p:nvSpPr>
            <p:spPr bwMode="auto">
              <a:xfrm>
                <a:off x="3963381" y="3835458"/>
                <a:ext cx="2054586" cy="1852214"/>
              </a:xfrm>
              <a:custGeom>
                <a:avLst/>
                <a:gdLst>
                  <a:gd name="T0" fmla="*/ 866 w 1198"/>
                  <a:gd name="T1" fmla="*/ 1080 h 1080"/>
                  <a:gd name="T2" fmla="*/ 0 w 1198"/>
                  <a:gd name="T3" fmla="*/ 472 h 1080"/>
                  <a:gd name="T4" fmla="*/ 333 w 1198"/>
                  <a:gd name="T5" fmla="*/ 0 h 1080"/>
                  <a:gd name="T6" fmla="*/ 1198 w 1198"/>
                  <a:gd name="T7" fmla="*/ 609 h 1080"/>
                  <a:gd name="T8" fmla="*/ 866 w 1198"/>
                  <a:gd name="T9" fmla="*/ 1080 h 1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98" h="1080">
                    <a:moveTo>
                      <a:pt x="866" y="1080"/>
                    </a:moveTo>
                    <a:lnTo>
                      <a:pt x="0" y="472"/>
                    </a:lnTo>
                    <a:lnTo>
                      <a:pt x="333" y="0"/>
                    </a:lnTo>
                    <a:lnTo>
                      <a:pt x="1198" y="609"/>
                    </a:lnTo>
                    <a:lnTo>
                      <a:pt x="866" y="1080"/>
                    </a:lnTo>
                    <a:close/>
                  </a:path>
                </a:pathLst>
              </a:custGeom>
              <a:solidFill>
                <a:srgbClr val="242630">
                  <a:alpha val="26000"/>
                </a:srgb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0" name="任意多边形: 形状 109"/>
              <p:cNvSpPr/>
              <p:nvPr/>
            </p:nvSpPr>
            <p:spPr bwMode="auto">
              <a:xfrm>
                <a:off x="4069712" y="3832028"/>
                <a:ext cx="1934535" cy="1730449"/>
              </a:xfrm>
              <a:custGeom>
                <a:avLst/>
                <a:gdLst>
                  <a:gd name="T0" fmla="*/ 0 w 1128"/>
                  <a:gd name="T1" fmla="*/ 432 h 1009"/>
                  <a:gd name="T2" fmla="*/ 306 w 1128"/>
                  <a:gd name="T3" fmla="*/ 0 h 1009"/>
                  <a:gd name="T4" fmla="*/ 1128 w 1128"/>
                  <a:gd name="T5" fmla="*/ 578 h 1009"/>
                  <a:gd name="T6" fmla="*/ 822 w 1128"/>
                  <a:gd name="T7" fmla="*/ 1009 h 1009"/>
                  <a:gd name="T8" fmla="*/ 0 w 1128"/>
                  <a:gd name="T9" fmla="*/ 432 h 1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8" h="1009">
                    <a:moveTo>
                      <a:pt x="0" y="432"/>
                    </a:moveTo>
                    <a:lnTo>
                      <a:pt x="306" y="0"/>
                    </a:lnTo>
                    <a:lnTo>
                      <a:pt x="1128" y="578"/>
                    </a:lnTo>
                    <a:lnTo>
                      <a:pt x="822" y="1009"/>
                    </a:lnTo>
                    <a:lnTo>
                      <a:pt x="0" y="432"/>
                    </a:lnTo>
                    <a:close/>
                  </a:path>
                </a:pathLst>
              </a:custGeom>
              <a:solidFill>
                <a:srgbClr val="3434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1" name="任意多边形: 形状 110"/>
              <p:cNvSpPr/>
              <p:nvPr/>
            </p:nvSpPr>
            <p:spPr bwMode="auto">
              <a:xfrm>
                <a:off x="4069712" y="3832028"/>
                <a:ext cx="1934535" cy="1730449"/>
              </a:xfrm>
              <a:custGeom>
                <a:avLst/>
                <a:gdLst>
                  <a:gd name="T0" fmla="*/ 0 w 1128"/>
                  <a:gd name="T1" fmla="*/ 432 h 1009"/>
                  <a:gd name="T2" fmla="*/ 306 w 1128"/>
                  <a:gd name="T3" fmla="*/ 0 h 1009"/>
                  <a:gd name="T4" fmla="*/ 1128 w 1128"/>
                  <a:gd name="T5" fmla="*/ 578 h 1009"/>
                  <a:gd name="T6" fmla="*/ 822 w 1128"/>
                  <a:gd name="T7" fmla="*/ 1009 h 1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28" h="1009">
                    <a:moveTo>
                      <a:pt x="0" y="432"/>
                    </a:moveTo>
                    <a:lnTo>
                      <a:pt x="306" y="0"/>
                    </a:lnTo>
                    <a:lnTo>
                      <a:pt x="1128" y="578"/>
                    </a:lnTo>
                    <a:lnTo>
                      <a:pt x="822" y="100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2" name="任意多边形: 形状 111"/>
              <p:cNvSpPr/>
              <p:nvPr/>
            </p:nvSpPr>
            <p:spPr bwMode="auto">
              <a:xfrm>
                <a:off x="4241213" y="3808018"/>
                <a:ext cx="1106184" cy="1118188"/>
              </a:xfrm>
              <a:custGeom>
                <a:avLst/>
                <a:gdLst>
                  <a:gd name="T0" fmla="*/ 132 w 310"/>
                  <a:gd name="T1" fmla="*/ 0 h 314"/>
                  <a:gd name="T2" fmla="*/ 310 w 310"/>
                  <a:gd name="T3" fmla="*/ 126 h 314"/>
                  <a:gd name="T4" fmla="*/ 178 w 310"/>
                  <a:gd name="T5" fmla="*/ 314 h 314"/>
                  <a:gd name="T6" fmla="*/ 0 w 310"/>
                  <a:gd name="T7" fmla="*/ 188 h 314"/>
                  <a:gd name="T8" fmla="*/ 132 w 310"/>
                  <a:gd name="T9" fmla="*/ 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0" h="314">
                    <a:moveTo>
                      <a:pt x="132" y="0"/>
                    </a:moveTo>
                    <a:cubicBezTo>
                      <a:pt x="132" y="0"/>
                      <a:pt x="292" y="43"/>
                      <a:pt x="310" y="126"/>
                    </a:cubicBezTo>
                    <a:cubicBezTo>
                      <a:pt x="178" y="314"/>
                      <a:pt x="178" y="314"/>
                      <a:pt x="178" y="314"/>
                    </a:cubicBezTo>
                    <a:cubicBezTo>
                      <a:pt x="0" y="188"/>
                      <a:pt x="0" y="188"/>
                      <a:pt x="0" y="188"/>
                    </a:cubicBezTo>
                    <a:lnTo>
                      <a:pt x="132" y="0"/>
                    </a:lnTo>
                    <a:close/>
                  </a:path>
                </a:pathLst>
              </a:custGeom>
              <a:solidFill>
                <a:srgbClr val="FFFF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3" name="任意多边形: 形状 112"/>
              <p:cNvSpPr/>
              <p:nvPr/>
            </p:nvSpPr>
            <p:spPr bwMode="auto">
              <a:xfrm>
                <a:off x="4194908" y="4476873"/>
                <a:ext cx="682575" cy="512789"/>
              </a:xfrm>
              <a:custGeom>
                <a:avLst/>
                <a:gdLst>
                  <a:gd name="T0" fmla="*/ 13 w 191"/>
                  <a:gd name="T1" fmla="*/ 0 h 144"/>
                  <a:gd name="T2" fmla="*/ 191 w 191"/>
                  <a:gd name="T3" fmla="*/ 126 h 144"/>
                  <a:gd name="T4" fmla="*/ 179 w 191"/>
                  <a:gd name="T5" fmla="*/ 144 h 144"/>
                  <a:gd name="T6" fmla="*/ 0 w 191"/>
                  <a:gd name="T7" fmla="*/ 18 h 144"/>
                  <a:gd name="T8" fmla="*/ 13 w 191"/>
                  <a:gd name="T9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44">
                    <a:moveTo>
                      <a:pt x="13" y="0"/>
                    </a:moveTo>
                    <a:cubicBezTo>
                      <a:pt x="13" y="0"/>
                      <a:pt x="173" y="43"/>
                      <a:pt x="191" y="126"/>
                    </a:cubicBezTo>
                    <a:cubicBezTo>
                      <a:pt x="179" y="144"/>
                      <a:pt x="179" y="144"/>
                      <a:pt x="179" y="144"/>
                    </a:cubicBezTo>
                    <a:cubicBezTo>
                      <a:pt x="0" y="18"/>
                      <a:pt x="0" y="18"/>
                      <a:pt x="0" y="18"/>
                    </a:cubicBez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D4E1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4" name="任意多边形: 形状 113"/>
              <p:cNvSpPr/>
              <p:nvPr/>
            </p:nvSpPr>
            <p:spPr bwMode="auto">
              <a:xfrm>
                <a:off x="4676826" y="3928069"/>
                <a:ext cx="293268" cy="221237"/>
              </a:xfrm>
              <a:custGeom>
                <a:avLst/>
                <a:gdLst>
                  <a:gd name="T0" fmla="*/ 158 w 171"/>
                  <a:gd name="T1" fmla="*/ 129 h 129"/>
                  <a:gd name="T2" fmla="*/ 0 w 171"/>
                  <a:gd name="T3" fmla="*/ 19 h 129"/>
                  <a:gd name="T4" fmla="*/ 15 w 171"/>
                  <a:gd name="T5" fmla="*/ 0 h 129"/>
                  <a:gd name="T6" fmla="*/ 171 w 171"/>
                  <a:gd name="T7" fmla="*/ 110 h 129"/>
                  <a:gd name="T8" fmla="*/ 158 w 171"/>
                  <a:gd name="T9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129">
                    <a:moveTo>
                      <a:pt x="158" y="129"/>
                    </a:moveTo>
                    <a:lnTo>
                      <a:pt x="0" y="19"/>
                    </a:lnTo>
                    <a:lnTo>
                      <a:pt x="15" y="0"/>
                    </a:lnTo>
                    <a:lnTo>
                      <a:pt x="171" y="110"/>
                    </a:lnTo>
                    <a:lnTo>
                      <a:pt x="158" y="129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5" name="任意多边形: 形状 114"/>
              <p:cNvSpPr/>
              <p:nvPr/>
            </p:nvSpPr>
            <p:spPr bwMode="auto">
              <a:xfrm>
                <a:off x="4616802" y="4017249"/>
                <a:ext cx="152637" cy="128627"/>
              </a:xfrm>
              <a:custGeom>
                <a:avLst/>
                <a:gdLst>
                  <a:gd name="T0" fmla="*/ 77 w 89"/>
                  <a:gd name="T1" fmla="*/ 75 h 75"/>
                  <a:gd name="T2" fmla="*/ 0 w 89"/>
                  <a:gd name="T3" fmla="*/ 19 h 75"/>
                  <a:gd name="T4" fmla="*/ 12 w 89"/>
                  <a:gd name="T5" fmla="*/ 0 h 75"/>
                  <a:gd name="T6" fmla="*/ 89 w 89"/>
                  <a:gd name="T7" fmla="*/ 54 h 75"/>
                  <a:gd name="T8" fmla="*/ 77 w 89"/>
                  <a:gd name="T9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75">
                    <a:moveTo>
                      <a:pt x="77" y="75"/>
                    </a:moveTo>
                    <a:lnTo>
                      <a:pt x="0" y="19"/>
                    </a:lnTo>
                    <a:lnTo>
                      <a:pt x="12" y="0"/>
                    </a:lnTo>
                    <a:lnTo>
                      <a:pt x="89" y="54"/>
                    </a:lnTo>
                    <a:lnTo>
                      <a:pt x="77" y="75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6" name="任意多边形: 形状 115"/>
              <p:cNvSpPr/>
              <p:nvPr/>
            </p:nvSpPr>
            <p:spPr bwMode="auto">
              <a:xfrm>
                <a:off x="4791733" y="4142446"/>
                <a:ext cx="205802" cy="159497"/>
              </a:xfrm>
              <a:custGeom>
                <a:avLst/>
                <a:gdLst>
                  <a:gd name="T0" fmla="*/ 108 w 120"/>
                  <a:gd name="T1" fmla="*/ 93 h 93"/>
                  <a:gd name="T2" fmla="*/ 0 w 120"/>
                  <a:gd name="T3" fmla="*/ 19 h 93"/>
                  <a:gd name="T4" fmla="*/ 12 w 120"/>
                  <a:gd name="T5" fmla="*/ 0 h 93"/>
                  <a:gd name="T6" fmla="*/ 120 w 120"/>
                  <a:gd name="T7" fmla="*/ 75 h 93"/>
                  <a:gd name="T8" fmla="*/ 108 w 120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93">
                    <a:moveTo>
                      <a:pt x="108" y="93"/>
                    </a:moveTo>
                    <a:lnTo>
                      <a:pt x="0" y="19"/>
                    </a:lnTo>
                    <a:lnTo>
                      <a:pt x="12" y="0"/>
                    </a:lnTo>
                    <a:lnTo>
                      <a:pt x="120" y="75"/>
                    </a:lnTo>
                    <a:lnTo>
                      <a:pt x="108" y="93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7" name="任意多边形: 形状 116"/>
              <p:cNvSpPr/>
              <p:nvPr/>
            </p:nvSpPr>
            <p:spPr bwMode="auto">
              <a:xfrm>
                <a:off x="4994104" y="4284791"/>
                <a:ext cx="181791" cy="142347"/>
              </a:xfrm>
              <a:custGeom>
                <a:avLst/>
                <a:gdLst>
                  <a:gd name="T0" fmla="*/ 94 w 106"/>
                  <a:gd name="T1" fmla="*/ 83 h 83"/>
                  <a:gd name="T2" fmla="*/ 0 w 106"/>
                  <a:gd name="T3" fmla="*/ 19 h 83"/>
                  <a:gd name="T4" fmla="*/ 15 w 106"/>
                  <a:gd name="T5" fmla="*/ 0 h 83"/>
                  <a:gd name="T6" fmla="*/ 106 w 106"/>
                  <a:gd name="T7" fmla="*/ 64 h 83"/>
                  <a:gd name="T8" fmla="*/ 94 w 106"/>
                  <a:gd name="T9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83">
                    <a:moveTo>
                      <a:pt x="94" y="83"/>
                    </a:moveTo>
                    <a:lnTo>
                      <a:pt x="0" y="19"/>
                    </a:lnTo>
                    <a:lnTo>
                      <a:pt x="15" y="0"/>
                    </a:lnTo>
                    <a:lnTo>
                      <a:pt x="106" y="64"/>
                    </a:lnTo>
                    <a:lnTo>
                      <a:pt x="94" y="83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8" name="任意多边形: 形状 117"/>
              <p:cNvSpPr/>
              <p:nvPr/>
            </p:nvSpPr>
            <p:spPr bwMode="auto">
              <a:xfrm>
                <a:off x="4690547" y="4476873"/>
                <a:ext cx="293268" cy="221237"/>
              </a:xfrm>
              <a:custGeom>
                <a:avLst/>
                <a:gdLst>
                  <a:gd name="T0" fmla="*/ 159 w 171"/>
                  <a:gd name="T1" fmla="*/ 129 h 129"/>
                  <a:gd name="T2" fmla="*/ 0 w 171"/>
                  <a:gd name="T3" fmla="*/ 19 h 129"/>
                  <a:gd name="T4" fmla="*/ 15 w 171"/>
                  <a:gd name="T5" fmla="*/ 0 h 129"/>
                  <a:gd name="T6" fmla="*/ 171 w 171"/>
                  <a:gd name="T7" fmla="*/ 110 h 129"/>
                  <a:gd name="T8" fmla="*/ 159 w 171"/>
                  <a:gd name="T9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129">
                    <a:moveTo>
                      <a:pt x="159" y="129"/>
                    </a:moveTo>
                    <a:lnTo>
                      <a:pt x="0" y="19"/>
                    </a:lnTo>
                    <a:lnTo>
                      <a:pt x="15" y="0"/>
                    </a:lnTo>
                    <a:lnTo>
                      <a:pt x="171" y="110"/>
                    </a:lnTo>
                    <a:lnTo>
                      <a:pt x="159" y="129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9" name="任意多边形: 形状 118"/>
              <p:cNvSpPr/>
              <p:nvPr/>
            </p:nvSpPr>
            <p:spPr bwMode="auto">
              <a:xfrm>
                <a:off x="4551631" y="4106430"/>
                <a:ext cx="197227" cy="157781"/>
              </a:xfrm>
              <a:custGeom>
                <a:avLst/>
                <a:gdLst>
                  <a:gd name="T0" fmla="*/ 102 w 115"/>
                  <a:gd name="T1" fmla="*/ 92 h 92"/>
                  <a:gd name="T2" fmla="*/ 0 w 115"/>
                  <a:gd name="T3" fmla="*/ 19 h 92"/>
                  <a:gd name="T4" fmla="*/ 13 w 115"/>
                  <a:gd name="T5" fmla="*/ 0 h 92"/>
                  <a:gd name="T6" fmla="*/ 115 w 115"/>
                  <a:gd name="T7" fmla="*/ 73 h 92"/>
                  <a:gd name="T8" fmla="*/ 102 w 115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5" h="92">
                    <a:moveTo>
                      <a:pt x="102" y="92"/>
                    </a:moveTo>
                    <a:lnTo>
                      <a:pt x="0" y="19"/>
                    </a:lnTo>
                    <a:lnTo>
                      <a:pt x="13" y="0"/>
                    </a:lnTo>
                    <a:lnTo>
                      <a:pt x="115" y="73"/>
                    </a:lnTo>
                    <a:lnTo>
                      <a:pt x="102" y="92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0" name="任意多边形: 形状 119"/>
              <p:cNvSpPr/>
              <p:nvPr/>
            </p:nvSpPr>
            <p:spPr bwMode="auto">
              <a:xfrm>
                <a:off x="4772867" y="4264211"/>
                <a:ext cx="197227" cy="156067"/>
              </a:xfrm>
              <a:custGeom>
                <a:avLst/>
                <a:gdLst>
                  <a:gd name="T0" fmla="*/ 102 w 115"/>
                  <a:gd name="T1" fmla="*/ 91 h 91"/>
                  <a:gd name="T2" fmla="*/ 0 w 115"/>
                  <a:gd name="T3" fmla="*/ 18 h 91"/>
                  <a:gd name="T4" fmla="*/ 13 w 115"/>
                  <a:gd name="T5" fmla="*/ 0 h 91"/>
                  <a:gd name="T6" fmla="*/ 115 w 115"/>
                  <a:gd name="T7" fmla="*/ 72 h 91"/>
                  <a:gd name="T8" fmla="*/ 102 w 115"/>
                  <a:gd name="T9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5" h="91">
                    <a:moveTo>
                      <a:pt x="102" y="91"/>
                    </a:moveTo>
                    <a:lnTo>
                      <a:pt x="0" y="18"/>
                    </a:lnTo>
                    <a:lnTo>
                      <a:pt x="13" y="0"/>
                    </a:lnTo>
                    <a:lnTo>
                      <a:pt x="115" y="72"/>
                    </a:lnTo>
                    <a:lnTo>
                      <a:pt x="102" y="91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1" name="任意多边形: 形状 120"/>
              <p:cNvSpPr/>
              <p:nvPr/>
            </p:nvSpPr>
            <p:spPr bwMode="auto">
              <a:xfrm>
                <a:off x="4994104" y="4420278"/>
                <a:ext cx="118336" cy="99471"/>
              </a:xfrm>
              <a:custGeom>
                <a:avLst/>
                <a:gdLst>
                  <a:gd name="T0" fmla="*/ 56 w 69"/>
                  <a:gd name="T1" fmla="*/ 58 h 58"/>
                  <a:gd name="T2" fmla="*/ 0 w 69"/>
                  <a:gd name="T3" fmla="*/ 19 h 58"/>
                  <a:gd name="T4" fmla="*/ 13 w 69"/>
                  <a:gd name="T5" fmla="*/ 0 h 58"/>
                  <a:gd name="T6" fmla="*/ 69 w 69"/>
                  <a:gd name="T7" fmla="*/ 39 h 58"/>
                  <a:gd name="T8" fmla="*/ 56 w 69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58">
                    <a:moveTo>
                      <a:pt x="56" y="58"/>
                    </a:moveTo>
                    <a:lnTo>
                      <a:pt x="0" y="19"/>
                    </a:lnTo>
                    <a:lnTo>
                      <a:pt x="13" y="0"/>
                    </a:lnTo>
                    <a:lnTo>
                      <a:pt x="69" y="39"/>
                    </a:lnTo>
                    <a:lnTo>
                      <a:pt x="56" y="58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2" name="任意多边形: 形状 121"/>
              <p:cNvSpPr/>
              <p:nvPr/>
            </p:nvSpPr>
            <p:spPr bwMode="auto">
              <a:xfrm>
                <a:off x="4488175" y="4199041"/>
                <a:ext cx="288122" cy="221237"/>
              </a:xfrm>
              <a:custGeom>
                <a:avLst/>
                <a:gdLst>
                  <a:gd name="T0" fmla="*/ 156 w 168"/>
                  <a:gd name="T1" fmla="*/ 129 h 129"/>
                  <a:gd name="T2" fmla="*/ 0 w 168"/>
                  <a:gd name="T3" fmla="*/ 19 h 129"/>
                  <a:gd name="T4" fmla="*/ 12 w 168"/>
                  <a:gd name="T5" fmla="*/ 0 h 129"/>
                  <a:gd name="T6" fmla="*/ 168 w 168"/>
                  <a:gd name="T7" fmla="*/ 110 h 129"/>
                  <a:gd name="T8" fmla="*/ 156 w 168"/>
                  <a:gd name="T9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29">
                    <a:moveTo>
                      <a:pt x="156" y="129"/>
                    </a:moveTo>
                    <a:lnTo>
                      <a:pt x="0" y="19"/>
                    </a:lnTo>
                    <a:lnTo>
                      <a:pt x="12" y="0"/>
                    </a:lnTo>
                    <a:lnTo>
                      <a:pt x="168" y="110"/>
                    </a:lnTo>
                    <a:lnTo>
                      <a:pt x="156" y="129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3" name="任意多边形: 形状 122"/>
              <p:cNvSpPr/>
              <p:nvPr/>
            </p:nvSpPr>
            <p:spPr bwMode="auto">
              <a:xfrm>
                <a:off x="4423004" y="4288221"/>
                <a:ext cx="121766" cy="102901"/>
              </a:xfrm>
              <a:custGeom>
                <a:avLst/>
                <a:gdLst>
                  <a:gd name="T0" fmla="*/ 59 w 71"/>
                  <a:gd name="T1" fmla="*/ 60 h 60"/>
                  <a:gd name="T2" fmla="*/ 0 w 71"/>
                  <a:gd name="T3" fmla="*/ 19 h 60"/>
                  <a:gd name="T4" fmla="*/ 13 w 71"/>
                  <a:gd name="T5" fmla="*/ 0 h 60"/>
                  <a:gd name="T6" fmla="*/ 71 w 71"/>
                  <a:gd name="T7" fmla="*/ 42 h 60"/>
                  <a:gd name="T8" fmla="*/ 59 w 71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60">
                    <a:moveTo>
                      <a:pt x="59" y="60"/>
                    </a:moveTo>
                    <a:lnTo>
                      <a:pt x="0" y="19"/>
                    </a:lnTo>
                    <a:lnTo>
                      <a:pt x="13" y="0"/>
                    </a:lnTo>
                    <a:lnTo>
                      <a:pt x="71" y="42"/>
                    </a:lnTo>
                    <a:lnTo>
                      <a:pt x="59" y="6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4" name="任意多边形: 形状 123"/>
              <p:cNvSpPr/>
              <p:nvPr/>
            </p:nvSpPr>
            <p:spPr bwMode="auto">
              <a:xfrm>
                <a:off x="4558491" y="4384262"/>
                <a:ext cx="118336" cy="99471"/>
              </a:xfrm>
              <a:custGeom>
                <a:avLst/>
                <a:gdLst>
                  <a:gd name="T0" fmla="*/ 57 w 69"/>
                  <a:gd name="T1" fmla="*/ 58 h 58"/>
                  <a:gd name="T2" fmla="*/ 0 w 69"/>
                  <a:gd name="T3" fmla="*/ 19 h 58"/>
                  <a:gd name="T4" fmla="*/ 13 w 69"/>
                  <a:gd name="T5" fmla="*/ 0 h 58"/>
                  <a:gd name="T6" fmla="*/ 69 w 69"/>
                  <a:gd name="T7" fmla="*/ 40 h 58"/>
                  <a:gd name="T8" fmla="*/ 57 w 69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58">
                    <a:moveTo>
                      <a:pt x="57" y="58"/>
                    </a:moveTo>
                    <a:lnTo>
                      <a:pt x="0" y="19"/>
                    </a:lnTo>
                    <a:lnTo>
                      <a:pt x="13" y="0"/>
                    </a:lnTo>
                    <a:lnTo>
                      <a:pt x="69" y="40"/>
                    </a:lnTo>
                    <a:lnTo>
                      <a:pt x="57" y="58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5" name="任意多边形: 形状 124"/>
              <p:cNvSpPr/>
              <p:nvPr/>
            </p:nvSpPr>
            <p:spPr bwMode="auto">
              <a:xfrm>
                <a:off x="4987244" y="4145876"/>
                <a:ext cx="178361" cy="138917"/>
              </a:xfrm>
              <a:custGeom>
                <a:avLst/>
                <a:gdLst>
                  <a:gd name="T0" fmla="*/ 90 w 104"/>
                  <a:gd name="T1" fmla="*/ 81 h 81"/>
                  <a:gd name="T2" fmla="*/ 0 w 104"/>
                  <a:gd name="T3" fmla="*/ 19 h 81"/>
                  <a:gd name="T4" fmla="*/ 15 w 104"/>
                  <a:gd name="T5" fmla="*/ 0 h 81"/>
                  <a:gd name="T6" fmla="*/ 104 w 104"/>
                  <a:gd name="T7" fmla="*/ 62 h 81"/>
                  <a:gd name="T8" fmla="*/ 90 w 104"/>
                  <a:gd name="T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81">
                    <a:moveTo>
                      <a:pt x="90" y="81"/>
                    </a:moveTo>
                    <a:lnTo>
                      <a:pt x="0" y="19"/>
                    </a:lnTo>
                    <a:lnTo>
                      <a:pt x="15" y="0"/>
                    </a:lnTo>
                    <a:lnTo>
                      <a:pt x="104" y="62"/>
                    </a:lnTo>
                    <a:lnTo>
                      <a:pt x="90" y="81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6" name="任意多边形: 形状 125"/>
              <p:cNvSpPr/>
              <p:nvPr/>
            </p:nvSpPr>
            <p:spPr bwMode="auto">
              <a:xfrm>
                <a:off x="4798593" y="4416848"/>
                <a:ext cx="174931" cy="138917"/>
              </a:xfrm>
              <a:custGeom>
                <a:avLst/>
                <a:gdLst>
                  <a:gd name="T0" fmla="*/ 89 w 102"/>
                  <a:gd name="T1" fmla="*/ 81 h 81"/>
                  <a:gd name="T2" fmla="*/ 0 w 102"/>
                  <a:gd name="T3" fmla="*/ 19 h 81"/>
                  <a:gd name="T4" fmla="*/ 12 w 102"/>
                  <a:gd name="T5" fmla="*/ 0 h 81"/>
                  <a:gd name="T6" fmla="*/ 102 w 102"/>
                  <a:gd name="T7" fmla="*/ 62 h 81"/>
                  <a:gd name="T8" fmla="*/ 89 w 102"/>
                  <a:gd name="T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81">
                    <a:moveTo>
                      <a:pt x="89" y="81"/>
                    </a:moveTo>
                    <a:lnTo>
                      <a:pt x="0" y="19"/>
                    </a:lnTo>
                    <a:lnTo>
                      <a:pt x="12" y="0"/>
                    </a:lnTo>
                    <a:lnTo>
                      <a:pt x="102" y="62"/>
                    </a:lnTo>
                    <a:lnTo>
                      <a:pt x="89" y="81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7" name="任意多边形: 形状 126"/>
              <p:cNvSpPr/>
              <p:nvPr/>
            </p:nvSpPr>
            <p:spPr bwMode="auto">
              <a:xfrm>
                <a:off x="5169036" y="4271071"/>
                <a:ext cx="72031" cy="66886"/>
              </a:xfrm>
              <a:custGeom>
                <a:avLst/>
                <a:gdLst>
                  <a:gd name="T0" fmla="*/ 29 w 42"/>
                  <a:gd name="T1" fmla="*/ 39 h 39"/>
                  <a:gd name="T2" fmla="*/ 0 w 42"/>
                  <a:gd name="T3" fmla="*/ 18 h 39"/>
                  <a:gd name="T4" fmla="*/ 15 w 42"/>
                  <a:gd name="T5" fmla="*/ 0 h 39"/>
                  <a:gd name="T6" fmla="*/ 42 w 42"/>
                  <a:gd name="T7" fmla="*/ 18 h 39"/>
                  <a:gd name="T8" fmla="*/ 29 w 42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9">
                    <a:moveTo>
                      <a:pt x="29" y="39"/>
                    </a:moveTo>
                    <a:lnTo>
                      <a:pt x="0" y="18"/>
                    </a:lnTo>
                    <a:lnTo>
                      <a:pt x="15" y="0"/>
                    </a:lnTo>
                    <a:lnTo>
                      <a:pt x="42" y="18"/>
                    </a:lnTo>
                    <a:lnTo>
                      <a:pt x="29" y="39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8" name="任意多边形: 形状 127"/>
              <p:cNvSpPr/>
              <p:nvPr/>
            </p:nvSpPr>
            <p:spPr bwMode="auto">
              <a:xfrm>
                <a:off x="4976954" y="4545473"/>
                <a:ext cx="72031" cy="63456"/>
              </a:xfrm>
              <a:custGeom>
                <a:avLst/>
                <a:gdLst>
                  <a:gd name="T0" fmla="*/ 29 w 42"/>
                  <a:gd name="T1" fmla="*/ 37 h 37"/>
                  <a:gd name="T2" fmla="*/ 0 w 42"/>
                  <a:gd name="T3" fmla="*/ 18 h 37"/>
                  <a:gd name="T4" fmla="*/ 14 w 42"/>
                  <a:gd name="T5" fmla="*/ 0 h 37"/>
                  <a:gd name="T6" fmla="*/ 42 w 42"/>
                  <a:gd name="T7" fmla="*/ 18 h 37"/>
                  <a:gd name="T8" fmla="*/ 29 w 42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7">
                    <a:moveTo>
                      <a:pt x="29" y="37"/>
                    </a:moveTo>
                    <a:lnTo>
                      <a:pt x="0" y="18"/>
                    </a:lnTo>
                    <a:lnTo>
                      <a:pt x="14" y="0"/>
                    </a:lnTo>
                    <a:lnTo>
                      <a:pt x="42" y="18"/>
                    </a:lnTo>
                    <a:lnTo>
                      <a:pt x="29" y="37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9" name="任意多边形: 形状 128"/>
              <p:cNvSpPr/>
              <p:nvPr/>
            </p:nvSpPr>
            <p:spPr bwMode="auto">
              <a:xfrm>
                <a:off x="4877483" y="4217906"/>
                <a:ext cx="1109614" cy="1152489"/>
              </a:xfrm>
              <a:custGeom>
                <a:avLst/>
                <a:gdLst>
                  <a:gd name="T0" fmla="*/ 311 w 311"/>
                  <a:gd name="T1" fmla="*/ 136 h 324"/>
                  <a:gd name="T2" fmla="*/ 132 w 311"/>
                  <a:gd name="T3" fmla="*/ 11 h 324"/>
                  <a:gd name="T4" fmla="*/ 0 w 311"/>
                  <a:gd name="T5" fmla="*/ 199 h 324"/>
                  <a:gd name="T6" fmla="*/ 178 w 311"/>
                  <a:gd name="T7" fmla="*/ 324 h 324"/>
                  <a:gd name="T8" fmla="*/ 311 w 311"/>
                  <a:gd name="T9" fmla="*/ 136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24">
                    <a:moveTo>
                      <a:pt x="311" y="136"/>
                    </a:moveTo>
                    <a:cubicBezTo>
                      <a:pt x="311" y="136"/>
                      <a:pt x="216" y="0"/>
                      <a:pt x="132" y="11"/>
                    </a:cubicBezTo>
                    <a:cubicBezTo>
                      <a:pt x="0" y="199"/>
                      <a:pt x="0" y="199"/>
                      <a:pt x="0" y="199"/>
                    </a:cubicBezTo>
                    <a:cubicBezTo>
                      <a:pt x="178" y="324"/>
                      <a:pt x="178" y="324"/>
                      <a:pt x="178" y="324"/>
                    </a:cubicBezTo>
                    <a:lnTo>
                      <a:pt x="311" y="136"/>
                    </a:lnTo>
                    <a:close/>
                  </a:path>
                </a:pathLst>
              </a:custGeom>
              <a:solidFill>
                <a:srgbClr val="FFFF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0" name="任意多边形: 形状 129"/>
              <p:cNvSpPr/>
              <p:nvPr/>
            </p:nvSpPr>
            <p:spPr bwMode="auto">
              <a:xfrm>
                <a:off x="4834608" y="4886762"/>
                <a:ext cx="677431" cy="548804"/>
              </a:xfrm>
              <a:custGeom>
                <a:avLst/>
                <a:gdLst>
                  <a:gd name="T0" fmla="*/ 190 w 190"/>
                  <a:gd name="T1" fmla="*/ 136 h 154"/>
                  <a:gd name="T2" fmla="*/ 12 w 190"/>
                  <a:gd name="T3" fmla="*/ 11 h 154"/>
                  <a:gd name="T4" fmla="*/ 0 w 190"/>
                  <a:gd name="T5" fmla="*/ 29 h 154"/>
                  <a:gd name="T6" fmla="*/ 178 w 190"/>
                  <a:gd name="T7" fmla="*/ 154 h 154"/>
                  <a:gd name="T8" fmla="*/ 190 w 190"/>
                  <a:gd name="T9" fmla="*/ 13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154">
                    <a:moveTo>
                      <a:pt x="190" y="136"/>
                    </a:moveTo>
                    <a:cubicBezTo>
                      <a:pt x="190" y="136"/>
                      <a:pt x="96" y="0"/>
                      <a:pt x="12" y="11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78" y="154"/>
                      <a:pt x="178" y="154"/>
                      <a:pt x="178" y="154"/>
                    </a:cubicBezTo>
                    <a:lnTo>
                      <a:pt x="190" y="136"/>
                    </a:lnTo>
                    <a:close/>
                  </a:path>
                </a:pathLst>
              </a:custGeom>
              <a:solidFill>
                <a:srgbClr val="D4E1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1" name="任意多边形: 形状 130"/>
              <p:cNvSpPr/>
              <p:nvPr/>
            </p:nvSpPr>
            <p:spPr bwMode="auto">
              <a:xfrm>
                <a:off x="5333677" y="4926206"/>
                <a:ext cx="289838" cy="216092"/>
              </a:xfrm>
              <a:custGeom>
                <a:avLst/>
                <a:gdLst>
                  <a:gd name="T0" fmla="*/ 12 w 169"/>
                  <a:gd name="T1" fmla="*/ 0 h 126"/>
                  <a:gd name="T2" fmla="*/ 169 w 169"/>
                  <a:gd name="T3" fmla="*/ 108 h 126"/>
                  <a:gd name="T4" fmla="*/ 156 w 169"/>
                  <a:gd name="T5" fmla="*/ 126 h 126"/>
                  <a:gd name="T6" fmla="*/ 0 w 169"/>
                  <a:gd name="T7" fmla="*/ 18 h 126"/>
                  <a:gd name="T8" fmla="*/ 12 w 169"/>
                  <a:gd name="T9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126">
                    <a:moveTo>
                      <a:pt x="12" y="0"/>
                    </a:moveTo>
                    <a:lnTo>
                      <a:pt x="169" y="108"/>
                    </a:lnTo>
                    <a:lnTo>
                      <a:pt x="156" y="126"/>
                    </a:lnTo>
                    <a:lnTo>
                      <a:pt x="0" y="1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2" name="任意多边形: 形状 131"/>
              <p:cNvSpPr/>
              <p:nvPr/>
            </p:nvSpPr>
            <p:spPr bwMode="auto">
              <a:xfrm>
                <a:off x="5529188" y="4929636"/>
                <a:ext cx="157781" cy="123481"/>
              </a:xfrm>
              <a:custGeom>
                <a:avLst/>
                <a:gdLst>
                  <a:gd name="T0" fmla="*/ 15 w 92"/>
                  <a:gd name="T1" fmla="*/ 0 h 72"/>
                  <a:gd name="T2" fmla="*/ 92 w 92"/>
                  <a:gd name="T3" fmla="*/ 54 h 72"/>
                  <a:gd name="T4" fmla="*/ 79 w 92"/>
                  <a:gd name="T5" fmla="*/ 72 h 72"/>
                  <a:gd name="T6" fmla="*/ 0 w 92"/>
                  <a:gd name="T7" fmla="*/ 19 h 72"/>
                  <a:gd name="T8" fmla="*/ 15 w 92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72">
                    <a:moveTo>
                      <a:pt x="15" y="0"/>
                    </a:moveTo>
                    <a:lnTo>
                      <a:pt x="92" y="54"/>
                    </a:lnTo>
                    <a:lnTo>
                      <a:pt x="79" y="72"/>
                    </a:lnTo>
                    <a:lnTo>
                      <a:pt x="0" y="1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3" name="任意多边形: 形状 132"/>
              <p:cNvSpPr/>
              <p:nvPr/>
            </p:nvSpPr>
            <p:spPr bwMode="auto">
              <a:xfrm>
                <a:off x="5304521" y="4768425"/>
                <a:ext cx="207517" cy="161211"/>
              </a:xfrm>
              <a:custGeom>
                <a:avLst/>
                <a:gdLst>
                  <a:gd name="T0" fmla="*/ 13 w 121"/>
                  <a:gd name="T1" fmla="*/ 0 h 94"/>
                  <a:gd name="T2" fmla="*/ 121 w 121"/>
                  <a:gd name="T3" fmla="*/ 75 h 94"/>
                  <a:gd name="T4" fmla="*/ 109 w 121"/>
                  <a:gd name="T5" fmla="*/ 94 h 94"/>
                  <a:gd name="T6" fmla="*/ 0 w 121"/>
                  <a:gd name="T7" fmla="*/ 19 h 94"/>
                  <a:gd name="T8" fmla="*/ 13 w 121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94">
                    <a:moveTo>
                      <a:pt x="13" y="0"/>
                    </a:moveTo>
                    <a:lnTo>
                      <a:pt x="121" y="75"/>
                    </a:lnTo>
                    <a:lnTo>
                      <a:pt x="109" y="94"/>
                    </a:lnTo>
                    <a:lnTo>
                      <a:pt x="0" y="19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4" name="任意多边形: 形状 133"/>
              <p:cNvSpPr/>
              <p:nvPr/>
            </p:nvSpPr>
            <p:spPr bwMode="auto">
              <a:xfrm>
                <a:off x="5126160" y="4644944"/>
                <a:ext cx="178361" cy="142347"/>
              </a:xfrm>
              <a:custGeom>
                <a:avLst/>
                <a:gdLst>
                  <a:gd name="T0" fmla="*/ 13 w 104"/>
                  <a:gd name="T1" fmla="*/ 0 h 83"/>
                  <a:gd name="T2" fmla="*/ 104 w 104"/>
                  <a:gd name="T3" fmla="*/ 64 h 83"/>
                  <a:gd name="T4" fmla="*/ 92 w 104"/>
                  <a:gd name="T5" fmla="*/ 83 h 83"/>
                  <a:gd name="T6" fmla="*/ 0 w 104"/>
                  <a:gd name="T7" fmla="*/ 18 h 83"/>
                  <a:gd name="T8" fmla="*/ 13 w 104"/>
                  <a:gd name="T9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83">
                    <a:moveTo>
                      <a:pt x="13" y="0"/>
                    </a:moveTo>
                    <a:lnTo>
                      <a:pt x="104" y="64"/>
                    </a:lnTo>
                    <a:lnTo>
                      <a:pt x="92" y="83"/>
                    </a:lnTo>
                    <a:lnTo>
                      <a:pt x="0" y="18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5" name="任意多边形: 形状 134"/>
              <p:cNvSpPr/>
              <p:nvPr/>
            </p:nvSpPr>
            <p:spPr bwMode="auto">
              <a:xfrm>
                <a:off x="5316527" y="4373972"/>
                <a:ext cx="294982" cy="221237"/>
              </a:xfrm>
              <a:custGeom>
                <a:avLst/>
                <a:gdLst>
                  <a:gd name="T0" fmla="*/ 14 w 172"/>
                  <a:gd name="T1" fmla="*/ 0 h 129"/>
                  <a:gd name="T2" fmla="*/ 172 w 172"/>
                  <a:gd name="T3" fmla="*/ 110 h 129"/>
                  <a:gd name="T4" fmla="*/ 158 w 172"/>
                  <a:gd name="T5" fmla="*/ 129 h 129"/>
                  <a:gd name="T6" fmla="*/ 0 w 172"/>
                  <a:gd name="T7" fmla="*/ 19 h 129"/>
                  <a:gd name="T8" fmla="*/ 14 w 172"/>
                  <a:gd name="T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" h="129">
                    <a:moveTo>
                      <a:pt x="14" y="0"/>
                    </a:moveTo>
                    <a:lnTo>
                      <a:pt x="172" y="110"/>
                    </a:lnTo>
                    <a:lnTo>
                      <a:pt x="158" y="129"/>
                    </a:lnTo>
                    <a:lnTo>
                      <a:pt x="0" y="1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6" name="任意多边形: 形状 135"/>
              <p:cNvSpPr/>
              <p:nvPr/>
            </p:nvSpPr>
            <p:spPr bwMode="auto">
              <a:xfrm>
                <a:off x="5551483" y="4807871"/>
                <a:ext cx="198942" cy="157781"/>
              </a:xfrm>
              <a:custGeom>
                <a:avLst/>
                <a:gdLst>
                  <a:gd name="T0" fmla="*/ 14 w 116"/>
                  <a:gd name="T1" fmla="*/ 0 h 92"/>
                  <a:gd name="T2" fmla="*/ 116 w 116"/>
                  <a:gd name="T3" fmla="*/ 73 h 92"/>
                  <a:gd name="T4" fmla="*/ 104 w 116"/>
                  <a:gd name="T5" fmla="*/ 92 h 92"/>
                  <a:gd name="T6" fmla="*/ 0 w 116"/>
                  <a:gd name="T7" fmla="*/ 19 h 92"/>
                  <a:gd name="T8" fmla="*/ 14 w 116"/>
                  <a:gd name="T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2">
                    <a:moveTo>
                      <a:pt x="14" y="0"/>
                    </a:moveTo>
                    <a:lnTo>
                      <a:pt x="116" y="73"/>
                    </a:lnTo>
                    <a:lnTo>
                      <a:pt x="104" y="92"/>
                    </a:lnTo>
                    <a:lnTo>
                      <a:pt x="0" y="1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7" name="任意多边形: 形状 136"/>
              <p:cNvSpPr/>
              <p:nvPr/>
            </p:nvSpPr>
            <p:spPr bwMode="auto">
              <a:xfrm>
                <a:off x="5330247" y="4651804"/>
                <a:ext cx="198942" cy="156067"/>
              </a:xfrm>
              <a:custGeom>
                <a:avLst/>
                <a:gdLst>
                  <a:gd name="T0" fmla="*/ 14 w 116"/>
                  <a:gd name="T1" fmla="*/ 0 h 91"/>
                  <a:gd name="T2" fmla="*/ 116 w 116"/>
                  <a:gd name="T3" fmla="*/ 73 h 91"/>
                  <a:gd name="T4" fmla="*/ 104 w 116"/>
                  <a:gd name="T5" fmla="*/ 91 h 91"/>
                  <a:gd name="T6" fmla="*/ 0 w 116"/>
                  <a:gd name="T7" fmla="*/ 19 h 91"/>
                  <a:gd name="T8" fmla="*/ 14 w 116"/>
                  <a:gd name="T9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91">
                    <a:moveTo>
                      <a:pt x="14" y="0"/>
                    </a:moveTo>
                    <a:lnTo>
                      <a:pt x="116" y="73"/>
                    </a:lnTo>
                    <a:lnTo>
                      <a:pt x="104" y="91"/>
                    </a:lnTo>
                    <a:lnTo>
                      <a:pt x="0" y="1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8" name="任意多边形: 形状 137"/>
              <p:cNvSpPr/>
              <p:nvPr/>
            </p:nvSpPr>
            <p:spPr bwMode="auto">
              <a:xfrm>
                <a:off x="5191330" y="4552333"/>
                <a:ext cx="116621" cy="99471"/>
              </a:xfrm>
              <a:custGeom>
                <a:avLst/>
                <a:gdLst>
                  <a:gd name="T0" fmla="*/ 12 w 68"/>
                  <a:gd name="T1" fmla="*/ 0 h 58"/>
                  <a:gd name="T2" fmla="*/ 68 w 68"/>
                  <a:gd name="T3" fmla="*/ 39 h 58"/>
                  <a:gd name="T4" fmla="*/ 56 w 68"/>
                  <a:gd name="T5" fmla="*/ 58 h 58"/>
                  <a:gd name="T6" fmla="*/ 0 w 68"/>
                  <a:gd name="T7" fmla="*/ 18 h 58"/>
                  <a:gd name="T8" fmla="*/ 12 w 68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58">
                    <a:moveTo>
                      <a:pt x="12" y="0"/>
                    </a:moveTo>
                    <a:lnTo>
                      <a:pt x="68" y="39"/>
                    </a:lnTo>
                    <a:lnTo>
                      <a:pt x="56" y="58"/>
                    </a:lnTo>
                    <a:lnTo>
                      <a:pt x="0" y="1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9" name="任意多边形: 形状 138"/>
              <p:cNvSpPr/>
              <p:nvPr/>
            </p:nvSpPr>
            <p:spPr bwMode="auto">
              <a:xfrm>
                <a:off x="5522328" y="4655234"/>
                <a:ext cx="293268" cy="217807"/>
              </a:xfrm>
              <a:custGeom>
                <a:avLst/>
                <a:gdLst>
                  <a:gd name="T0" fmla="*/ 15 w 171"/>
                  <a:gd name="T1" fmla="*/ 0 h 127"/>
                  <a:gd name="T2" fmla="*/ 171 w 171"/>
                  <a:gd name="T3" fmla="*/ 108 h 127"/>
                  <a:gd name="T4" fmla="*/ 158 w 171"/>
                  <a:gd name="T5" fmla="*/ 127 h 127"/>
                  <a:gd name="T6" fmla="*/ 0 w 171"/>
                  <a:gd name="T7" fmla="*/ 19 h 127"/>
                  <a:gd name="T8" fmla="*/ 15 w 171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127">
                    <a:moveTo>
                      <a:pt x="15" y="0"/>
                    </a:moveTo>
                    <a:lnTo>
                      <a:pt x="171" y="108"/>
                    </a:lnTo>
                    <a:lnTo>
                      <a:pt x="158" y="127"/>
                    </a:lnTo>
                    <a:lnTo>
                      <a:pt x="0" y="1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0" name="任意多边形: 形状 139"/>
              <p:cNvSpPr/>
              <p:nvPr/>
            </p:nvSpPr>
            <p:spPr bwMode="auto">
              <a:xfrm>
                <a:off x="5759000" y="4684390"/>
                <a:ext cx="120051" cy="99471"/>
              </a:xfrm>
              <a:custGeom>
                <a:avLst/>
                <a:gdLst>
                  <a:gd name="T0" fmla="*/ 12 w 70"/>
                  <a:gd name="T1" fmla="*/ 0 h 58"/>
                  <a:gd name="T2" fmla="*/ 70 w 70"/>
                  <a:gd name="T3" fmla="*/ 39 h 58"/>
                  <a:gd name="T4" fmla="*/ 56 w 70"/>
                  <a:gd name="T5" fmla="*/ 58 h 58"/>
                  <a:gd name="T6" fmla="*/ 0 w 70"/>
                  <a:gd name="T7" fmla="*/ 18 h 58"/>
                  <a:gd name="T8" fmla="*/ 12 w 70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58">
                    <a:moveTo>
                      <a:pt x="12" y="0"/>
                    </a:moveTo>
                    <a:lnTo>
                      <a:pt x="70" y="39"/>
                    </a:lnTo>
                    <a:lnTo>
                      <a:pt x="56" y="58"/>
                    </a:lnTo>
                    <a:lnTo>
                      <a:pt x="0" y="1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1" name="任意多边形: 形状 140"/>
              <p:cNvSpPr/>
              <p:nvPr/>
            </p:nvSpPr>
            <p:spPr bwMode="auto">
              <a:xfrm>
                <a:off x="5623514" y="4588349"/>
                <a:ext cx="120051" cy="102901"/>
              </a:xfrm>
              <a:custGeom>
                <a:avLst/>
                <a:gdLst>
                  <a:gd name="T0" fmla="*/ 14 w 70"/>
                  <a:gd name="T1" fmla="*/ 0 h 60"/>
                  <a:gd name="T2" fmla="*/ 70 w 70"/>
                  <a:gd name="T3" fmla="*/ 41 h 60"/>
                  <a:gd name="T4" fmla="*/ 58 w 70"/>
                  <a:gd name="T5" fmla="*/ 60 h 60"/>
                  <a:gd name="T6" fmla="*/ 0 w 70"/>
                  <a:gd name="T7" fmla="*/ 18 h 60"/>
                  <a:gd name="T8" fmla="*/ 14 w 70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0">
                    <a:moveTo>
                      <a:pt x="14" y="0"/>
                    </a:moveTo>
                    <a:lnTo>
                      <a:pt x="70" y="41"/>
                    </a:lnTo>
                    <a:lnTo>
                      <a:pt x="58" y="60"/>
                    </a:lnTo>
                    <a:lnTo>
                      <a:pt x="0" y="18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2" name="任意多边形: 形状 141"/>
              <p:cNvSpPr/>
              <p:nvPr/>
            </p:nvSpPr>
            <p:spPr bwMode="auto">
              <a:xfrm>
                <a:off x="5138165" y="4787291"/>
                <a:ext cx="173217" cy="138917"/>
              </a:xfrm>
              <a:custGeom>
                <a:avLst/>
                <a:gdLst>
                  <a:gd name="T0" fmla="*/ 12 w 101"/>
                  <a:gd name="T1" fmla="*/ 0 h 81"/>
                  <a:gd name="T2" fmla="*/ 101 w 101"/>
                  <a:gd name="T3" fmla="*/ 62 h 81"/>
                  <a:gd name="T4" fmla="*/ 89 w 101"/>
                  <a:gd name="T5" fmla="*/ 81 h 81"/>
                  <a:gd name="T6" fmla="*/ 0 w 101"/>
                  <a:gd name="T7" fmla="*/ 18 h 81"/>
                  <a:gd name="T8" fmla="*/ 12 w 101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81">
                    <a:moveTo>
                      <a:pt x="12" y="0"/>
                    </a:moveTo>
                    <a:lnTo>
                      <a:pt x="101" y="62"/>
                    </a:lnTo>
                    <a:lnTo>
                      <a:pt x="89" y="81"/>
                    </a:lnTo>
                    <a:lnTo>
                      <a:pt x="0" y="1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3" name="任意多边形: 形状 142"/>
              <p:cNvSpPr/>
              <p:nvPr/>
            </p:nvSpPr>
            <p:spPr bwMode="auto">
              <a:xfrm>
                <a:off x="5326817" y="4516319"/>
                <a:ext cx="178361" cy="138917"/>
              </a:xfrm>
              <a:custGeom>
                <a:avLst/>
                <a:gdLst>
                  <a:gd name="T0" fmla="*/ 14 w 104"/>
                  <a:gd name="T1" fmla="*/ 0 h 81"/>
                  <a:gd name="T2" fmla="*/ 104 w 104"/>
                  <a:gd name="T3" fmla="*/ 62 h 81"/>
                  <a:gd name="T4" fmla="*/ 91 w 104"/>
                  <a:gd name="T5" fmla="*/ 81 h 81"/>
                  <a:gd name="T6" fmla="*/ 0 w 104"/>
                  <a:gd name="T7" fmla="*/ 19 h 81"/>
                  <a:gd name="T8" fmla="*/ 14 w 104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81">
                    <a:moveTo>
                      <a:pt x="14" y="0"/>
                    </a:moveTo>
                    <a:lnTo>
                      <a:pt x="104" y="62"/>
                    </a:lnTo>
                    <a:lnTo>
                      <a:pt x="91" y="81"/>
                    </a:lnTo>
                    <a:lnTo>
                      <a:pt x="0" y="1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4" name="任意多边形: 形状 143"/>
              <p:cNvSpPr/>
              <p:nvPr/>
            </p:nvSpPr>
            <p:spPr bwMode="auto">
              <a:xfrm>
                <a:off x="5059275" y="4734125"/>
                <a:ext cx="73746" cy="66886"/>
              </a:xfrm>
              <a:custGeom>
                <a:avLst/>
                <a:gdLst>
                  <a:gd name="T0" fmla="*/ 14 w 43"/>
                  <a:gd name="T1" fmla="*/ 0 h 39"/>
                  <a:gd name="T2" fmla="*/ 43 w 43"/>
                  <a:gd name="T3" fmla="*/ 20 h 39"/>
                  <a:gd name="T4" fmla="*/ 29 w 43"/>
                  <a:gd name="T5" fmla="*/ 39 h 39"/>
                  <a:gd name="T6" fmla="*/ 0 w 43"/>
                  <a:gd name="T7" fmla="*/ 20 h 39"/>
                  <a:gd name="T8" fmla="*/ 14 w 43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9">
                    <a:moveTo>
                      <a:pt x="14" y="0"/>
                    </a:moveTo>
                    <a:lnTo>
                      <a:pt x="43" y="20"/>
                    </a:lnTo>
                    <a:lnTo>
                      <a:pt x="29" y="39"/>
                    </a:lnTo>
                    <a:lnTo>
                      <a:pt x="0" y="2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5" name="任意多边形: 形状 144"/>
              <p:cNvSpPr/>
              <p:nvPr/>
            </p:nvSpPr>
            <p:spPr bwMode="auto">
              <a:xfrm>
                <a:off x="5251356" y="4463153"/>
                <a:ext cx="72031" cy="66886"/>
              </a:xfrm>
              <a:custGeom>
                <a:avLst/>
                <a:gdLst>
                  <a:gd name="T0" fmla="*/ 15 w 42"/>
                  <a:gd name="T1" fmla="*/ 0 h 39"/>
                  <a:gd name="T2" fmla="*/ 42 w 42"/>
                  <a:gd name="T3" fmla="*/ 19 h 39"/>
                  <a:gd name="T4" fmla="*/ 29 w 42"/>
                  <a:gd name="T5" fmla="*/ 39 h 39"/>
                  <a:gd name="T6" fmla="*/ 0 w 42"/>
                  <a:gd name="T7" fmla="*/ 19 h 39"/>
                  <a:gd name="T8" fmla="*/ 15 w 42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9">
                    <a:moveTo>
                      <a:pt x="15" y="0"/>
                    </a:moveTo>
                    <a:lnTo>
                      <a:pt x="42" y="19"/>
                    </a:lnTo>
                    <a:lnTo>
                      <a:pt x="29" y="39"/>
                    </a:lnTo>
                    <a:lnTo>
                      <a:pt x="0" y="1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C4D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6" name="任意多边形: 形状 145"/>
              <p:cNvSpPr/>
              <p:nvPr/>
            </p:nvSpPr>
            <p:spPr bwMode="auto">
              <a:xfrm>
                <a:off x="6932069" y="4764995"/>
                <a:ext cx="336143" cy="478489"/>
              </a:xfrm>
              <a:custGeom>
                <a:avLst/>
                <a:gdLst>
                  <a:gd name="T0" fmla="*/ 92 w 94"/>
                  <a:gd name="T1" fmla="*/ 44 h 134"/>
                  <a:gd name="T2" fmla="*/ 78 w 94"/>
                  <a:gd name="T3" fmla="*/ 12 h 134"/>
                  <a:gd name="T4" fmla="*/ 59 w 94"/>
                  <a:gd name="T5" fmla="*/ 2 h 134"/>
                  <a:gd name="T6" fmla="*/ 58 w 94"/>
                  <a:gd name="T7" fmla="*/ 1 h 134"/>
                  <a:gd name="T8" fmla="*/ 54 w 94"/>
                  <a:gd name="T9" fmla="*/ 1 h 134"/>
                  <a:gd name="T10" fmla="*/ 54 w 94"/>
                  <a:gd name="T11" fmla="*/ 0 h 134"/>
                  <a:gd name="T12" fmla="*/ 50 w 94"/>
                  <a:gd name="T13" fmla="*/ 0 h 134"/>
                  <a:gd name="T14" fmla="*/ 49 w 94"/>
                  <a:gd name="T15" fmla="*/ 0 h 134"/>
                  <a:gd name="T16" fmla="*/ 45 w 94"/>
                  <a:gd name="T17" fmla="*/ 0 h 134"/>
                  <a:gd name="T18" fmla="*/ 45 w 94"/>
                  <a:gd name="T19" fmla="*/ 0 h 134"/>
                  <a:gd name="T20" fmla="*/ 43 w 94"/>
                  <a:gd name="T21" fmla="*/ 0 h 134"/>
                  <a:gd name="T22" fmla="*/ 42 w 94"/>
                  <a:gd name="T23" fmla="*/ 0 h 134"/>
                  <a:gd name="T24" fmla="*/ 39 w 94"/>
                  <a:gd name="T25" fmla="*/ 0 h 134"/>
                  <a:gd name="T26" fmla="*/ 37 w 94"/>
                  <a:gd name="T27" fmla="*/ 1 h 134"/>
                  <a:gd name="T28" fmla="*/ 35 w 94"/>
                  <a:gd name="T29" fmla="*/ 1 h 134"/>
                  <a:gd name="T30" fmla="*/ 33 w 94"/>
                  <a:gd name="T31" fmla="*/ 2 h 134"/>
                  <a:gd name="T32" fmla="*/ 31 w 94"/>
                  <a:gd name="T33" fmla="*/ 2 h 134"/>
                  <a:gd name="T34" fmla="*/ 28 w 94"/>
                  <a:gd name="T35" fmla="*/ 4 h 134"/>
                  <a:gd name="T36" fmla="*/ 27 w 94"/>
                  <a:gd name="T37" fmla="*/ 4 h 134"/>
                  <a:gd name="T38" fmla="*/ 23 w 94"/>
                  <a:gd name="T39" fmla="*/ 6 h 134"/>
                  <a:gd name="T40" fmla="*/ 23 w 94"/>
                  <a:gd name="T41" fmla="*/ 6 h 134"/>
                  <a:gd name="T42" fmla="*/ 13 w 94"/>
                  <a:gd name="T43" fmla="*/ 14 h 134"/>
                  <a:gd name="T44" fmla="*/ 0 w 94"/>
                  <a:gd name="T45" fmla="*/ 47 h 134"/>
                  <a:gd name="T46" fmla="*/ 0 w 94"/>
                  <a:gd name="T47" fmla="*/ 47 h 134"/>
                  <a:gd name="T48" fmla="*/ 1 w 94"/>
                  <a:gd name="T49" fmla="*/ 89 h 134"/>
                  <a:gd name="T50" fmla="*/ 49 w 94"/>
                  <a:gd name="T51" fmla="*/ 133 h 134"/>
                  <a:gd name="T52" fmla="*/ 93 w 94"/>
                  <a:gd name="T53" fmla="*/ 86 h 134"/>
                  <a:gd name="T54" fmla="*/ 92 w 94"/>
                  <a:gd name="T55" fmla="*/ 4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" h="134">
                    <a:moveTo>
                      <a:pt x="92" y="44"/>
                    </a:moveTo>
                    <a:cubicBezTo>
                      <a:pt x="92" y="32"/>
                      <a:pt x="86" y="20"/>
                      <a:pt x="78" y="12"/>
                    </a:cubicBezTo>
                    <a:cubicBezTo>
                      <a:pt x="72" y="7"/>
                      <a:pt x="66" y="4"/>
                      <a:pt x="59" y="2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7" y="1"/>
                      <a:pt x="56" y="1"/>
                      <a:pt x="54" y="1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2" y="0"/>
                      <a:pt x="51" y="0"/>
                      <a:pt x="50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8" y="0"/>
                      <a:pt x="47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4" y="0"/>
                      <a:pt x="44" y="0"/>
                      <a:pt x="43" y="0"/>
                    </a:cubicBezTo>
                    <a:cubicBezTo>
                      <a:pt x="43" y="0"/>
                      <a:pt x="43" y="0"/>
                      <a:pt x="42" y="0"/>
                    </a:cubicBezTo>
                    <a:cubicBezTo>
                      <a:pt x="41" y="0"/>
                      <a:pt x="40" y="0"/>
                      <a:pt x="39" y="0"/>
                    </a:cubicBezTo>
                    <a:cubicBezTo>
                      <a:pt x="39" y="0"/>
                      <a:pt x="38" y="1"/>
                      <a:pt x="37" y="1"/>
                    </a:cubicBezTo>
                    <a:cubicBezTo>
                      <a:pt x="37" y="1"/>
                      <a:pt x="36" y="1"/>
                      <a:pt x="35" y="1"/>
                    </a:cubicBezTo>
                    <a:cubicBezTo>
                      <a:pt x="34" y="1"/>
                      <a:pt x="34" y="2"/>
                      <a:pt x="33" y="2"/>
                    </a:cubicBezTo>
                    <a:cubicBezTo>
                      <a:pt x="32" y="2"/>
                      <a:pt x="32" y="2"/>
                      <a:pt x="31" y="2"/>
                    </a:cubicBezTo>
                    <a:cubicBezTo>
                      <a:pt x="30" y="3"/>
                      <a:pt x="29" y="3"/>
                      <a:pt x="28" y="4"/>
                    </a:cubicBezTo>
                    <a:cubicBezTo>
                      <a:pt x="28" y="4"/>
                      <a:pt x="27" y="4"/>
                      <a:pt x="27" y="4"/>
                    </a:cubicBezTo>
                    <a:cubicBezTo>
                      <a:pt x="26" y="5"/>
                      <a:pt x="25" y="5"/>
                      <a:pt x="23" y="6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19" y="8"/>
                      <a:pt x="16" y="11"/>
                      <a:pt x="13" y="14"/>
                    </a:cubicBezTo>
                    <a:cubicBezTo>
                      <a:pt x="5" y="23"/>
                      <a:pt x="0" y="34"/>
                      <a:pt x="0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2" y="114"/>
                      <a:pt x="23" y="134"/>
                      <a:pt x="49" y="133"/>
                    </a:cubicBezTo>
                    <a:cubicBezTo>
                      <a:pt x="74" y="133"/>
                      <a:pt x="94" y="111"/>
                      <a:pt x="93" y="86"/>
                    </a:cubicBezTo>
                    <a:cubicBezTo>
                      <a:pt x="92" y="44"/>
                      <a:pt x="92" y="44"/>
                      <a:pt x="92" y="44"/>
                    </a:cubicBezTo>
                    <a:close/>
                  </a:path>
                </a:pathLst>
              </a:custGeom>
              <a:solidFill>
                <a:srgbClr val="242630">
                  <a:alpha val="26000"/>
                </a:srgb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7" name="任意多边形: 形状 146"/>
              <p:cNvSpPr/>
              <p:nvPr/>
            </p:nvSpPr>
            <p:spPr bwMode="auto">
              <a:xfrm>
                <a:off x="6928639" y="4644944"/>
                <a:ext cx="336143" cy="480204"/>
              </a:xfrm>
              <a:custGeom>
                <a:avLst/>
                <a:gdLst>
                  <a:gd name="T0" fmla="*/ 49 w 94"/>
                  <a:gd name="T1" fmla="*/ 135 h 135"/>
                  <a:gd name="T2" fmla="*/ 49 w 94"/>
                  <a:gd name="T3" fmla="*/ 135 h 135"/>
                  <a:gd name="T4" fmla="*/ 2 w 94"/>
                  <a:gd name="T5" fmla="*/ 90 h 135"/>
                  <a:gd name="T6" fmla="*/ 0 w 94"/>
                  <a:gd name="T7" fmla="*/ 48 h 135"/>
                  <a:gd name="T8" fmla="*/ 45 w 94"/>
                  <a:gd name="T9" fmla="*/ 1 h 135"/>
                  <a:gd name="T10" fmla="*/ 92 w 94"/>
                  <a:gd name="T11" fmla="*/ 46 h 135"/>
                  <a:gd name="T12" fmla="*/ 93 w 94"/>
                  <a:gd name="T13" fmla="*/ 87 h 135"/>
                  <a:gd name="T14" fmla="*/ 49 w 94"/>
                  <a:gd name="T15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135">
                    <a:moveTo>
                      <a:pt x="49" y="135"/>
                    </a:moveTo>
                    <a:cubicBezTo>
                      <a:pt x="49" y="135"/>
                      <a:pt x="49" y="135"/>
                      <a:pt x="49" y="135"/>
                    </a:cubicBezTo>
                    <a:cubicBezTo>
                      <a:pt x="23" y="135"/>
                      <a:pt x="2" y="115"/>
                      <a:pt x="2" y="9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3"/>
                      <a:pt x="20" y="2"/>
                      <a:pt x="45" y="1"/>
                    </a:cubicBezTo>
                    <a:cubicBezTo>
                      <a:pt x="70" y="0"/>
                      <a:pt x="91" y="20"/>
                      <a:pt x="92" y="46"/>
                    </a:cubicBezTo>
                    <a:cubicBezTo>
                      <a:pt x="93" y="87"/>
                      <a:pt x="93" y="87"/>
                      <a:pt x="93" y="87"/>
                    </a:cubicBezTo>
                    <a:cubicBezTo>
                      <a:pt x="94" y="113"/>
                      <a:pt x="74" y="134"/>
                      <a:pt x="49" y="13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8" name="任意多边形: 形状 147"/>
              <p:cNvSpPr/>
              <p:nvPr/>
            </p:nvSpPr>
            <p:spPr bwMode="auto">
              <a:xfrm>
                <a:off x="6928639" y="4648374"/>
                <a:ext cx="329283" cy="166357"/>
              </a:xfrm>
              <a:custGeom>
                <a:avLst/>
                <a:gdLst>
                  <a:gd name="T0" fmla="*/ 92 w 92"/>
                  <a:gd name="T1" fmla="*/ 45 h 47"/>
                  <a:gd name="T2" fmla="*/ 0 w 92"/>
                  <a:gd name="T3" fmla="*/ 47 h 47"/>
                  <a:gd name="T4" fmla="*/ 13 w 92"/>
                  <a:gd name="T5" fmla="*/ 14 h 47"/>
                  <a:gd name="T6" fmla="*/ 44 w 92"/>
                  <a:gd name="T7" fmla="*/ 0 h 47"/>
                  <a:gd name="T8" fmla="*/ 45 w 92"/>
                  <a:gd name="T9" fmla="*/ 0 h 47"/>
                  <a:gd name="T10" fmla="*/ 45 w 92"/>
                  <a:gd name="T11" fmla="*/ 0 h 47"/>
                  <a:gd name="T12" fmla="*/ 78 w 92"/>
                  <a:gd name="T13" fmla="*/ 13 h 47"/>
                  <a:gd name="T14" fmla="*/ 92 w 92"/>
                  <a:gd name="T15" fmla="*/ 45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" h="47">
                    <a:moveTo>
                      <a:pt x="92" y="45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35"/>
                      <a:pt x="5" y="23"/>
                      <a:pt x="13" y="14"/>
                    </a:cubicBezTo>
                    <a:cubicBezTo>
                      <a:pt x="21" y="6"/>
                      <a:pt x="31" y="1"/>
                      <a:pt x="44" y="0"/>
                    </a:cubicBezTo>
                    <a:cubicBezTo>
                      <a:pt x="44" y="0"/>
                      <a:pt x="44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58" y="0"/>
                      <a:pt x="69" y="5"/>
                      <a:pt x="78" y="13"/>
                    </a:cubicBezTo>
                    <a:cubicBezTo>
                      <a:pt x="86" y="21"/>
                      <a:pt x="92" y="32"/>
                      <a:pt x="92" y="45"/>
                    </a:cubicBezTo>
                    <a:close/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9" name="任意多边形: 形状 148"/>
              <p:cNvSpPr/>
              <p:nvPr/>
            </p:nvSpPr>
            <p:spPr bwMode="auto">
              <a:xfrm>
                <a:off x="7086420" y="4648374"/>
                <a:ext cx="10290" cy="162927"/>
              </a:xfrm>
              <a:custGeom>
                <a:avLst/>
                <a:gdLst>
                  <a:gd name="T0" fmla="*/ 1 w 3"/>
                  <a:gd name="T1" fmla="*/ 0 h 46"/>
                  <a:gd name="T2" fmla="*/ 3 w 3"/>
                  <a:gd name="T3" fmla="*/ 46 h 46"/>
                  <a:gd name="T4" fmla="*/ 1 w 3"/>
                  <a:gd name="T5" fmla="*/ 46 h 46"/>
                  <a:gd name="T6" fmla="*/ 0 w 3"/>
                  <a:gd name="T7" fmla="*/ 0 h 46"/>
                  <a:gd name="T8" fmla="*/ 1 w 3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6">
                    <a:moveTo>
                      <a:pt x="1" y="0"/>
                    </a:moveTo>
                    <a:cubicBezTo>
                      <a:pt x="3" y="46"/>
                      <a:pt x="3" y="46"/>
                      <a:pt x="3" y="46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0" name="任意多边形: 形状 149"/>
              <p:cNvSpPr/>
              <p:nvPr/>
            </p:nvSpPr>
            <p:spPr bwMode="auto">
              <a:xfrm>
                <a:off x="7070985" y="4684390"/>
                <a:ext cx="36016" cy="87466"/>
              </a:xfrm>
              <a:custGeom>
                <a:avLst/>
                <a:gdLst>
                  <a:gd name="T0" fmla="*/ 5 w 10"/>
                  <a:gd name="T1" fmla="*/ 25 h 25"/>
                  <a:gd name="T2" fmla="*/ 5 w 10"/>
                  <a:gd name="T3" fmla="*/ 25 h 25"/>
                  <a:gd name="T4" fmla="*/ 1 w 10"/>
                  <a:gd name="T5" fmla="*/ 20 h 25"/>
                  <a:gd name="T6" fmla="*/ 0 w 10"/>
                  <a:gd name="T7" fmla="*/ 5 h 25"/>
                  <a:gd name="T8" fmla="*/ 5 w 10"/>
                  <a:gd name="T9" fmla="*/ 0 h 25"/>
                  <a:gd name="T10" fmla="*/ 10 w 10"/>
                  <a:gd name="T11" fmla="*/ 5 h 25"/>
                  <a:gd name="T12" fmla="*/ 10 w 10"/>
                  <a:gd name="T13" fmla="*/ 20 h 25"/>
                  <a:gd name="T14" fmla="*/ 5 w 10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5" y="25"/>
                    </a:moveTo>
                    <a:cubicBezTo>
                      <a:pt x="5" y="25"/>
                      <a:pt x="5" y="25"/>
                      <a:pt x="5" y="25"/>
                    </a:cubicBezTo>
                    <a:cubicBezTo>
                      <a:pt x="3" y="25"/>
                      <a:pt x="1" y="23"/>
                      <a:pt x="1" y="2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2"/>
                      <a:pt x="8" y="25"/>
                      <a:pt x="5" y="25"/>
                    </a:cubicBezTo>
                    <a:close/>
                  </a:path>
                </a:pathLst>
              </a:custGeom>
              <a:solidFill>
                <a:srgbClr val="5251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5193424" y="4535595"/>
              <a:ext cx="1792452" cy="1598505"/>
              <a:chOff x="5193424" y="4367968"/>
              <a:chExt cx="1792452" cy="1598505"/>
            </a:xfrm>
          </p:grpSpPr>
          <p:grpSp>
            <p:nvGrpSpPr>
              <p:cNvPr id="37" name="组合 36"/>
              <p:cNvGrpSpPr/>
              <p:nvPr/>
            </p:nvGrpSpPr>
            <p:grpSpPr>
              <a:xfrm>
                <a:off x="5826389" y="4367968"/>
                <a:ext cx="526522" cy="526522"/>
                <a:chOff x="2823545" y="2291865"/>
                <a:chExt cx="354770" cy="354770"/>
              </a:xfrm>
            </p:grpSpPr>
            <p:sp>
              <p:nvSpPr>
                <p:cNvPr id="41" name="椭圆 40"/>
                <p:cNvSpPr/>
                <p:nvPr/>
              </p:nvSpPr>
              <p:spPr>
                <a:xfrm>
                  <a:off x="2823545" y="2291865"/>
                  <a:ext cx="354770" cy="354770"/>
                </a:xfrm>
                <a:prstGeom prst="ellipse">
                  <a:avLst/>
                </a:prstGeom>
                <a:solidFill>
                  <a:schemeClr val="accent1"/>
                </a:solidFill>
                <a:ln w="12700" cap="rnd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lnSpcReduction="10000"/>
                </a:bodyPr>
                <a:lstStyle/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/>
                <p:cNvSpPr/>
                <p:nvPr/>
              </p:nvSpPr>
              <p:spPr>
                <a:xfrm>
                  <a:off x="2912322" y="2400744"/>
                  <a:ext cx="177216" cy="137013"/>
                </a:xfrm>
                <a:custGeom>
                  <a:avLst/>
                  <a:gdLst>
                    <a:gd name="T0" fmla="*/ 325000 h 606722"/>
                    <a:gd name="T1" fmla="*/ 325000 h 606722"/>
                    <a:gd name="T2" fmla="*/ 325000 h 606722"/>
                    <a:gd name="T3" fmla="*/ 325000 h 606722"/>
                    <a:gd name="T4" fmla="*/ 325000 h 606722"/>
                    <a:gd name="T5" fmla="*/ 325000 h 606722"/>
                    <a:gd name="T6" fmla="*/ 325000 h 606722"/>
                    <a:gd name="T7" fmla="*/ 325000 h 606722"/>
                    <a:gd name="T8" fmla="*/ 325000 h 606722"/>
                    <a:gd name="T9" fmla="*/ 325000 h 606722"/>
                    <a:gd name="T10" fmla="*/ 325000 h 606722"/>
                    <a:gd name="T11" fmla="*/ 325000 h 606722"/>
                    <a:gd name="T12" fmla="*/ 325000 h 606722"/>
                    <a:gd name="T13" fmla="*/ 325000 h 606722"/>
                    <a:gd name="T14" fmla="*/ 325000 h 606722"/>
                    <a:gd name="T15" fmla="*/ 325000 h 606722"/>
                    <a:gd name="T16" fmla="*/ 325000 h 606722"/>
                    <a:gd name="T17" fmla="*/ 325000 h 606722"/>
                    <a:gd name="T18" fmla="*/ 325000 h 606722"/>
                    <a:gd name="T19" fmla="*/ 325000 h 606722"/>
                    <a:gd name="T20" fmla="*/ 325000 h 606722"/>
                    <a:gd name="T21" fmla="*/ 325000 h 606722"/>
                    <a:gd name="T22" fmla="*/ 325000 h 606722"/>
                    <a:gd name="T23" fmla="*/ 325000 h 606722"/>
                    <a:gd name="T24" fmla="*/ 325000 h 606722"/>
                    <a:gd name="T25" fmla="*/ 325000 h 606722"/>
                    <a:gd name="T26" fmla="*/ 325000 h 606722"/>
                    <a:gd name="T27" fmla="*/ 325000 h 606722"/>
                    <a:gd name="T28" fmla="*/ 325000 h 606722"/>
                    <a:gd name="T29" fmla="*/ 325000 h 606722"/>
                    <a:gd name="T30" fmla="*/ 325000 h 606722"/>
                    <a:gd name="T31" fmla="*/ 325000 h 606722"/>
                    <a:gd name="T32" fmla="*/ 325000 h 606722"/>
                    <a:gd name="T33" fmla="*/ 325000 h 606722"/>
                    <a:gd name="T34" fmla="*/ 325000 h 606722"/>
                    <a:gd name="T35" fmla="*/ 325000 h 606722"/>
                    <a:gd name="T36" fmla="*/ 325000 h 606722"/>
                    <a:gd name="T37" fmla="*/ 325000 h 606722"/>
                    <a:gd name="T38" fmla="*/ 325000 h 606722"/>
                    <a:gd name="T39" fmla="*/ 325000 h 606722"/>
                    <a:gd name="T40" fmla="*/ 325000 h 606722"/>
                    <a:gd name="T41" fmla="*/ 325000 h 606722"/>
                    <a:gd name="T42" fmla="*/ 325000 h 606722"/>
                    <a:gd name="T43" fmla="*/ 325000 h 606722"/>
                    <a:gd name="T44" fmla="*/ 325000 h 606722"/>
                    <a:gd name="T45" fmla="*/ 325000 h 606722"/>
                    <a:gd name="T46" fmla="*/ 325000 h 606722"/>
                    <a:gd name="T47" fmla="*/ 325000 h 606722"/>
                    <a:gd name="T48" fmla="*/ 325000 h 606722"/>
                    <a:gd name="T49" fmla="*/ 325000 h 606722"/>
                    <a:gd name="T50" fmla="*/ 325000 h 606722"/>
                    <a:gd name="T51" fmla="*/ 325000 h 606722"/>
                    <a:gd name="T52" fmla="*/ 325000 h 606722"/>
                    <a:gd name="T53" fmla="*/ 325000 h 606722"/>
                    <a:gd name="T54" fmla="*/ 325000 h 606722"/>
                    <a:gd name="T55" fmla="*/ 325000 h 606722"/>
                    <a:gd name="T56" fmla="*/ 325000 h 606722"/>
                    <a:gd name="T57" fmla="*/ 325000 h 606722"/>
                    <a:gd name="T58" fmla="*/ 325000 h 606722"/>
                    <a:gd name="T59" fmla="*/ 325000 h 606722"/>
                    <a:gd name="T60" fmla="*/ 325000 h 606722"/>
                    <a:gd name="T61" fmla="*/ 325000 h 606722"/>
                    <a:gd name="T62" fmla="*/ 325000 h 606722"/>
                    <a:gd name="T63" fmla="*/ 325000 h 606722"/>
                    <a:gd name="T64" fmla="*/ 325000 h 606722"/>
                    <a:gd name="T65" fmla="*/ 325000 h 606722"/>
                    <a:gd name="T66" fmla="*/ 325000 h 606722"/>
                    <a:gd name="T67" fmla="*/ 325000 h 606722"/>
                    <a:gd name="T68" fmla="*/ 325000 h 606722"/>
                    <a:gd name="T69" fmla="*/ 325000 h 606722"/>
                    <a:gd name="T70" fmla="*/ 325000 h 606722"/>
                    <a:gd name="T71" fmla="*/ 325000 h 606722"/>
                    <a:gd name="T72" fmla="*/ 325000 h 606722"/>
                    <a:gd name="T73" fmla="*/ 325000 h 606722"/>
                    <a:gd name="T74" fmla="*/ 325000 h 606722"/>
                    <a:gd name="T75" fmla="*/ 325000 h 606722"/>
                    <a:gd name="T76" fmla="*/ 325000 h 606722"/>
                    <a:gd name="T77" fmla="*/ 325000 h 606722"/>
                    <a:gd name="T78" fmla="*/ 325000 h 606722"/>
                    <a:gd name="T79" fmla="*/ 325000 h 606722"/>
                    <a:gd name="T80" fmla="*/ 325000 h 606722"/>
                    <a:gd name="T81" fmla="*/ 325000 h 606722"/>
                    <a:gd name="T82" fmla="*/ 325000 h 606722"/>
                    <a:gd name="T83" fmla="*/ 325000 h 606722"/>
                    <a:gd name="T84" fmla="*/ 325000 h 606722"/>
                    <a:gd name="T85" fmla="*/ 325000 h 606722"/>
                    <a:gd name="T86" fmla="*/ 325000 h 606722"/>
                    <a:gd name="T87" fmla="*/ 325000 h 606722"/>
                    <a:gd name="T88" fmla="*/ 325000 h 606722"/>
                    <a:gd name="T89" fmla="*/ 325000 h 6067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496" h="5030">
                      <a:moveTo>
                        <a:pt x="0" y="3568"/>
                      </a:moveTo>
                      <a:lnTo>
                        <a:pt x="0" y="445"/>
                      </a:lnTo>
                      <a:cubicBezTo>
                        <a:pt x="0" y="200"/>
                        <a:pt x="199" y="0"/>
                        <a:pt x="445" y="0"/>
                      </a:cubicBezTo>
                      <a:lnTo>
                        <a:pt x="5065" y="0"/>
                      </a:lnTo>
                      <a:cubicBezTo>
                        <a:pt x="5311" y="0"/>
                        <a:pt x="5511" y="198"/>
                        <a:pt x="5511" y="445"/>
                      </a:cubicBezTo>
                      <a:lnTo>
                        <a:pt x="5511" y="2238"/>
                      </a:lnTo>
                      <a:cubicBezTo>
                        <a:pt x="5440" y="2229"/>
                        <a:pt x="5368" y="2224"/>
                        <a:pt x="5296" y="2224"/>
                      </a:cubicBezTo>
                      <a:cubicBezTo>
                        <a:pt x="5161" y="2224"/>
                        <a:pt x="5029" y="2241"/>
                        <a:pt x="4904" y="2272"/>
                      </a:cubicBezTo>
                      <a:lnTo>
                        <a:pt x="4904" y="606"/>
                      </a:lnTo>
                      <a:lnTo>
                        <a:pt x="607" y="606"/>
                      </a:lnTo>
                      <a:lnTo>
                        <a:pt x="607" y="3400"/>
                      </a:lnTo>
                      <a:lnTo>
                        <a:pt x="3748" y="3400"/>
                      </a:lnTo>
                      <a:cubicBezTo>
                        <a:pt x="3711" y="3537"/>
                        <a:pt x="3689" y="3680"/>
                        <a:pt x="3689" y="3829"/>
                      </a:cubicBezTo>
                      <a:cubicBezTo>
                        <a:pt x="3689" y="3890"/>
                        <a:pt x="3693" y="3952"/>
                        <a:pt x="3700" y="4012"/>
                      </a:cubicBezTo>
                      <a:lnTo>
                        <a:pt x="3253" y="4012"/>
                      </a:lnTo>
                      <a:lnTo>
                        <a:pt x="3253" y="4508"/>
                      </a:lnTo>
                      <a:lnTo>
                        <a:pt x="3607" y="4508"/>
                      </a:lnTo>
                      <a:cubicBezTo>
                        <a:pt x="3665" y="4508"/>
                        <a:pt x="3713" y="4556"/>
                        <a:pt x="3713" y="4614"/>
                      </a:cubicBezTo>
                      <a:lnTo>
                        <a:pt x="3713" y="4924"/>
                      </a:lnTo>
                      <a:cubicBezTo>
                        <a:pt x="3713" y="4982"/>
                        <a:pt x="3665" y="5030"/>
                        <a:pt x="3607" y="5030"/>
                      </a:cubicBezTo>
                      <a:lnTo>
                        <a:pt x="1904" y="5030"/>
                      </a:lnTo>
                      <a:cubicBezTo>
                        <a:pt x="1845" y="5030"/>
                        <a:pt x="1797" y="4982"/>
                        <a:pt x="1797" y="4924"/>
                      </a:cubicBezTo>
                      <a:lnTo>
                        <a:pt x="1797" y="4614"/>
                      </a:lnTo>
                      <a:cubicBezTo>
                        <a:pt x="1797" y="4556"/>
                        <a:pt x="1845" y="4508"/>
                        <a:pt x="1904" y="4508"/>
                      </a:cubicBezTo>
                      <a:lnTo>
                        <a:pt x="2257" y="4508"/>
                      </a:lnTo>
                      <a:lnTo>
                        <a:pt x="2257" y="4012"/>
                      </a:lnTo>
                      <a:lnTo>
                        <a:pt x="445" y="4012"/>
                      </a:lnTo>
                      <a:cubicBezTo>
                        <a:pt x="199" y="4012"/>
                        <a:pt x="0" y="3813"/>
                        <a:pt x="0" y="3568"/>
                      </a:cubicBezTo>
                      <a:close/>
                      <a:moveTo>
                        <a:pt x="6496" y="3830"/>
                      </a:moveTo>
                      <a:cubicBezTo>
                        <a:pt x="6496" y="4493"/>
                        <a:pt x="5959" y="5030"/>
                        <a:pt x="5296" y="5030"/>
                      </a:cubicBezTo>
                      <a:cubicBezTo>
                        <a:pt x="4633" y="5030"/>
                        <a:pt x="4096" y="4493"/>
                        <a:pt x="4096" y="3830"/>
                      </a:cubicBezTo>
                      <a:cubicBezTo>
                        <a:pt x="4096" y="3168"/>
                        <a:pt x="4633" y="2630"/>
                        <a:pt x="5296" y="2630"/>
                      </a:cubicBezTo>
                      <a:cubicBezTo>
                        <a:pt x="5959" y="2630"/>
                        <a:pt x="6496" y="3168"/>
                        <a:pt x="6496" y="3830"/>
                      </a:cubicBezTo>
                      <a:close/>
                      <a:moveTo>
                        <a:pt x="5785" y="3454"/>
                      </a:moveTo>
                      <a:cubicBezTo>
                        <a:pt x="5723" y="3390"/>
                        <a:pt x="5620" y="3390"/>
                        <a:pt x="5556" y="3454"/>
                      </a:cubicBezTo>
                      <a:lnTo>
                        <a:pt x="5143" y="3865"/>
                      </a:lnTo>
                      <a:lnTo>
                        <a:pt x="5036" y="3757"/>
                      </a:lnTo>
                      <a:cubicBezTo>
                        <a:pt x="4973" y="3693"/>
                        <a:pt x="4871" y="3693"/>
                        <a:pt x="4807" y="3757"/>
                      </a:cubicBezTo>
                      <a:cubicBezTo>
                        <a:pt x="4743" y="3820"/>
                        <a:pt x="4743" y="3922"/>
                        <a:pt x="4805" y="3986"/>
                      </a:cubicBezTo>
                      <a:lnTo>
                        <a:pt x="5027" y="4209"/>
                      </a:lnTo>
                      <a:cubicBezTo>
                        <a:pt x="5057" y="4240"/>
                        <a:pt x="5099" y="4257"/>
                        <a:pt x="5141" y="4257"/>
                      </a:cubicBezTo>
                      <a:lnTo>
                        <a:pt x="5141" y="4257"/>
                      </a:lnTo>
                      <a:cubicBezTo>
                        <a:pt x="5184" y="4257"/>
                        <a:pt x="5225" y="4240"/>
                        <a:pt x="5256" y="4210"/>
                      </a:cubicBezTo>
                      <a:lnTo>
                        <a:pt x="5784" y="3685"/>
                      </a:lnTo>
                      <a:cubicBezTo>
                        <a:pt x="5848" y="3620"/>
                        <a:pt x="5848" y="3517"/>
                        <a:pt x="5785" y="345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8" name="组合 37"/>
              <p:cNvGrpSpPr/>
              <p:nvPr/>
            </p:nvGrpSpPr>
            <p:grpSpPr>
              <a:xfrm>
                <a:off x="5193424" y="4894490"/>
                <a:ext cx="1792452" cy="1071983"/>
                <a:chOff x="3950081" y="1366417"/>
                <a:chExt cx="1724578" cy="1071983"/>
              </a:xfrm>
            </p:grpSpPr>
            <p:sp>
              <p:nvSpPr>
                <p:cNvPr id="39" name="矩形 38"/>
                <p:cNvSpPr/>
                <p:nvPr/>
              </p:nvSpPr>
              <p:spPr bwMode="auto">
                <a:xfrm>
                  <a:off x="3950081" y="1799707"/>
                  <a:ext cx="1724578" cy="63869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矩形 39"/>
                <p:cNvSpPr/>
                <p:nvPr/>
              </p:nvSpPr>
              <p:spPr>
                <a:xfrm>
                  <a:off x="3950081" y="1366417"/>
                  <a:ext cx="1724578" cy="433289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技术方面</a:t>
                  </a:r>
                  <a:endParaRPr lang="en-US" altLang="zh-CN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/>
            <p:cNvGrpSpPr/>
            <p:nvPr/>
          </p:nvGrpSpPr>
          <p:grpSpPr>
            <a:xfrm>
              <a:off x="660400" y="1938207"/>
              <a:ext cx="1792452" cy="1598505"/>
              <a:chOff x="660400" y="2307730"/>
              <a:chExt cx="1792452" cy="1598505"/>
            </a:xfrm>
          </p:grpSpPr>
          <p:grpSp>
            <p:nvGrpSpPr>
              <p:cNvPr id="31" name="组合 30"/>
              <p:cNvGrpSpPr/>
              <p:nvPr/>
            </p:nvGrpSpPr>
            <p:grpSpPr>
              <a:xfrm>
                <a:off x="1926330" y="2307730"/>
                <a:ext cx="526522" cy="526522"/>
                <a:chOff x="2823545" y="2291865"/>
                <a:chExt cx="354770" cy="354770"/>
              </a:xfrm>
            </p:grpSpPr>
            <p:sp>
              <p:nvSpPr>
                <p:cNvPr id="35" name="椭圆 34"/>
                <p:cNvSpPr/>
                <p:nvPr/>
              </p:nvSpPr>
              <p:spPr>
                <a:xfrm>
                  <a:off x="2823545" y="2291865"/>
                  <a:ext cx="354770" cy="354770"/>
                </a:xfrm>
                <a:prstGeom prst="ellipse">
                  <a:avLst/>
                </a:prstGeom>
                <a:solidFill>
                  <a:schemeClr val="accent1"/>
                </a:solidFill>
                <a:ln w="12700" cap="rnd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lnSpcReduction="10000"/>
                </a:bodyPr>
                <a:lstStyle/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任意多边形: 形状 35"/>
                <p:cNvSpPr/>
                <p:nvPr/>
              </p:nvSpPr>
              <p:spPr>
                <a:xfrm>
                  <a:off x="2912322" y="2400744"/>
                  <a:ext cx="177216" cy="137013"/>
                </a:xfrm>
                <a:custGeom>
                  <a:avLst/>
                  <a:gdLst>
                    <a:gd name="T0" fmla="*/ 325000 h 606722"/>
                    <a:gd name="T1" fmla="*/ 325000 h 606722"/>
                    <a:gd name="T2" fmla="*/ 325000 h 606722"/>
                    <a:gd name="T3" fmla="*/ 325000 h 606722"/>
                    <a:gd name="T4" fmla="*/ 325000 h 606722"/>
                    <a:gd name="T5" fmla="*/ 325000 h 606722"/>
                    <a:gd name="T6" fmla="*/ 325000 h 606722"/>
                    <a:gd name="T7" fmla="*/ 325000 h 606722"/>
                    <a:gd name="T8" fmla="*/ 325000 h 606722"/>
                    <a:gd name="T9" fmla="*/ 325000 h 606722"/>
                    <a:gd name="T10" fmla="*/ 325000 h 606722"/>
                    <a:gd name="T11" fmla="*/ 325000 h 606722"/>
                    <a:gd name="T12" fmla="*/ 325000 h 606722"/>
                    <a:gd name="T13" fmla="*/ 325000 h 606722"/>
                    <a:gd name="T14" fmla="*/ 325000 h 606722"/>
                    <a:gd name="T15" fmla="*/ 325000 h 606722"/>
                    <a:gd name="T16" fmla="*/ 325000 h 606722"/>
                    <a:gd name="T17" fmla="*/ 325000 h 606722"/>
                    <a:gd name="T18" fmla="*/ 325000 h 606722"/>
                    <a:gd name="T19" fmla="*/ 325000 h 606722"/>
                    <a:gd name="T20" fmla="*/ 325000 h 606722"/>
                    <a:gd name="T21" fmla="*/ 325000 h 606722"/>
                    <a:gd name="T22" fmla="*/ 325000 h 606722"/>
                    <a:gd name="T23" fmla="*/ 325000 h 606722"/>
                    <a:gd name="T24" fmla="*/ 325000 h 606722"/>
                    <a:gd name="T25" fmla="*/ 325000 h 606722"/>
                    <a:gd name="T26" fmla="*/ 325000 h 606722"/>
                    <a:gd name="T27" fmla="*/ 325000 h 606722"/>
                    <a:gd name="T28" fmla="*/ 325000 h 606722"/>
                    <a:gd name="T29" fmla="*/ 325000 h 606722"/>
                    <a:gd name="T30" fmla="*/ 325000 h 606722"/>
                    <a:gd name="T31" fmla="*/ 325000 h 606722"/>
                    <a:gd name="T32" fmla="*/ 325000 h 606722"/>
                    <a:gd name="T33" fmla="*/ 325000 h 606722"/>
                    <a:gd name="T34" fmla="*/ 325000 h 606722"/>
                    <a:gd name="T35" fmla="*/ 325000 h 606722"/>
                    <a:gd name="T36" fmla="*/ 325000 h 606722"/>
                    <a:gd name="T37" fmla="*/ 325000 h 606722"/>
                    <a:gd name="T38" fmla="*/ 325000 h 606722"/>
                    <a:gd name="T39" fmla="*/ 325000 h 606722"/>
                    <a:gd name="T40" fmla="*/ 325000 h 606722"/>
                    <a:gd name="T41" fmla="*/ 325000 h 606722"/>
                    <a:gd name="T42" fmla="*/ 325000 h 606722"/>
                    <a:gd name="T43" fmla="*/ 325000 h 606722"/>
                    <a:gd name="T44" fmla="*/ 325000 h 606722"/>
                    <a:gd name="T45" fmla="*/ 325000 h 606722"/>
                    <a:gd name="T46" fmla="*/ 325000 h 606722"/>
                    <a:gd name="T47" fmla="*/ 325000 h 606722"/>
                    <a:gd name="T48" fmla="*/ 325000 h 606722"/>
                    <a:gd name="T49" fmla="*/ 325000 h 606722"/>
                    <a:gd name="T50" fmla="*/ 325000 h 606722"/>
                    <a:gd name="T51" fmla="*/ 325000 h 606722"/>
                    <a:gd name="T52" fmla="*/ 325000 h 606722"/>
                    <a:gd name="T53" fmla="*/ 325000 h 606722"/>
                    <a:gd name="T54" fmla="*/ 325000 h 606722"/>
                    <a:gd name="T55" fmla="*/ 325000 h 606722"/>
                    <a:gd name="T56" fmla="*/ 325000 h 606722"/>
                    <a:gd name="T57" fmla="*/ 325000 h 606722"/>
                    <a:gd name="T58" fmla="*/ 325000 h 606722"/>
                    <a:gd name="T59" fmla="*/ 325000 h 606722"/>
                    <a:gd name="T60" fmla="*/ 325000 h 606722"/>
                    <a:gd name="T61" fmla="*/ 325000 h 606722"/>
                    <a:gd name="T62" fmla="*/ 325000 h 606722"/>
                    <a:gd name="T63" fmla="*/ 325000 h 606722"/>
                    <a:gd name="T64" fmla="*/ 325000 h 606722"/>
                    <a:gd name="T65" fmla="*/ 325000 h 606722"/>
                    <a:gd name="T66" fmla="*/ 325000 h 606722"/>
                    <a:gd name="T67" fmla="*/ 325000 h 606722"/>
                    <a:gd name="T68" fmla="*/ 325000 h 606722"/>
                    <a:gd name="T69" fmla="*/ 325000 h 606722"/>
                    <a:gd name="T70" fmla="*/ 325000 h 606722"/>
                    <a:gd name="T71" fmla="*/ 325000 h 606722"/>
                    <a:gd name="T72" fmla="*/ 325000 h 606722"/>
                    <a:gd name="T73" fmla="*/ 325000 h 606722"/>
                    <a:gd name="T74" fmla="*/ 325000 h 606722"/>
                    <a:gd name="T75" fmla="*/ 325000 h 606722"/>
                    <a:gd name="T76" fmla="*/ 325000 h 606722"/>
                    <a:gd name="T77" fmla="*/ 325000 h 606722"/>
                    <a:gd name="T78" fmla="*/ 325000 h 606722"/>
                    <a:gd name="T79" fmla="*/ 325000 h 606722"/>
                    <a:gd name="T80" fmla="*/ 325000 h 606722"/>
                    <a:gd name="T81" fmla="*/ 325000 h 606722"/>
                    <a:gd name="T82" fmla="*/ 325000 h 606722"/>
                    <a:gd name="T83" fmla="*/ 325000 h 606722"/>
                    <a:gd name="T84" fmla="*/ 325000 h 606722"/>
                    <a:gd name="T85" fmla="*/ 325000 h 606722"/>
                    <a:gd name="T86" fmla="*/ 325000 h 606722"/>
                    <a:gd name="T87" fmla="*/ 325000 h 606722"/>
                    <a:gd name="T88" fmla="*/ 325000 h 606722"/>
                    <a:gd name="T89" fmla="*/ 325000 h 6067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496" h="5030">
                      <a:moveTo>
                        <a:pt x="0" y="3568"/>
                      </a:moveTo>
                      <a:lnTo>
                        <a:pt x="0" y="445"/>
                      </a:lnTo>
                      <a:cubicBezTo>
                        <a:pt x="0" y="200"/>
                        <a:pt x="199" y="0"/>
                        <a:pt x="445" y="0"/>
                      </a:cubicBezTo>
                      <a:lnTo>
                        <a:pt x="5065" y="0"/>
                      </a:lnTo>
                      <a:cubicBezTo>
                        <a:pt x="5311" y="0"/>
                        <a:pt x="5511" y="198"/>
                        <a:pt x="5511" y="445"/>
                      </a:cubicBezTo>
                      <a:lnTo>
                        <a:pt x="5511" y="2238"/>
                      </a:lnTo>
                      <a:cubicBezTo>
                        <a:pt x="5440" y="2229"/>
                        <a:pt x="5368" y="2224"/>
                        <a:pt x="5296" y="2224"/>
                      </a:cubicBezTo>
                      <a:cubicBezTo>
                        <a:pt x="5161" y="2224"/>
                        <a:pt x="5029" y="2241"/>
                        <a:pt x="4904" y="2272"/>
                      </a:cubicBezTo>
                      <a:lnTo>
                        <a:pt x="4904" y="606"/>
                      </a:lnTo>
                      <a:lnTo>
                        <a:pt x="607" y="606"/>
                      </a:lnTo>
                      <a:lnTo>
                        <a:pt x="607" y="3400"/>
                      </a:lnTo>
                      <a:lnTo>
                        <a:pt x="3748" y="3400"/>
                      </a:lnTo>
                      <a:cubicBezTo>
                        <a:pt x="3711" y="3537"/>
                        <a:pt x="3689" y="3680"/>
                        <a:pt x="3689" y="3829"/>
                      </a:cubicBezTo>
                      <a:cubicBezTo>
                        <a:pt x="3689" y="3890"/>
                        <a:pt x="3693" y="3952"/>
                        <a:pt x="3700" y="4012"/>
                      </a:cubicBezTo>
                      <a:lnTo>
                        <a:pt x="3253" y="4012"/>
                      </a:lnTo>
                      <a:lnTo>
                        <a:pt x="3253" y="4508"/>
                      </a:lnTo>
                      <a:lnTo>
                        <a:pt x="3607" y="4508"/>
                      </a:lnTo>
                      <a:cubicBezTo>
                        <a:pt x="3665" y="4508"/>
                        <a:pt x="3713" y="4556"/>
                        <a:pt x="3713" y="4614"/>
                      </a:cubicBezTo>
                      <a:lnTo>
                        <a:pt x="3713" y="4924"/>
                      </a:lnTo>
                      <a:cubicBezTo>
                        <a:pt x="3713" y="4982"/>
                        <a:pt x="3665" y="5030"/>
                        <a:pt x="3607" y="5030"/>
                      </a:cubicBezTo>
                      <a:lnTo>
                        <a:pt x="1904" y="5030"/>
                      </a:lnTo>
                      <a:cubicBezTo>
                        <a:pt x="1845" y="5030"/>
                        <a:pt x="1797" y="4982"/>
                        <a:pt x="1797" y="4924"/>
                      </a:cubicBezTo>
                      <a:lnTo>
                        <a:pt x="1797" y="4614"/>
                      </a:lnTo>
                      <a:cubicBezTo>
                        <a:pt x="1797" y="4556"/>
                        <a:pt x="1845" y="4508"/>
                        <a:pt x="1904" y="4508"/>
                      </a:cubicBezTo>
                      <a:lnTo>
                        <a:pt x="2257" y="4508"/>
                      </a:lnTo>
                      <a:lnTo>
                        <a:pt x="2257" y="4012"/>
                      </a:lnTo>
                      <a:lnTo>
                        <a:pt x="445" y="4012"/>
                      </a:lnTo>
                      <a:cubicBezTo>
                        <a:pt x="199" y="4012"/>
                        <a:pt x="0" y="3813"/>
                        <a:pt x="0" y="3568"/>
                      </a:cubicBezTo>
                      <a:close/>
                      <a:moveTo>
                        <a:pt x="6496" y="3830"/>
                      </a:moveTo>
                      <a:cubicBezTo>
                        <a:pt x="6496" y="4493"/>
                        <a:pt x="5959" y="5030"/>
                        <a:pt x="5296" y="5030"/>
                      </a:cubicBezTo>
                      <a:cubicBezTo>
                        <a:pt x="4633" y="5030"/>
                        <a:pt x="4096" y="4493"/>
                        <a:pt x="4096" y="3830"/>
                      </a:cubicBezTo>
                      <a:cubicBezTo>
                        <a:pt x="4096" y="3168"/>
                        <a:pt x="4633" y="2630"/>
                        <a:pt x="5296" y="2630"/>
                      </a:cubicBezTo>
                      <a:cubicBezTo>
                        <a:pt x="5959" y="2630"/>
                        <a:pt x="6496" y="3168"/>
                        <a:pt x="6496" y="3830"/>
                      </a:cubicBezTo>
                      <a:close/>
                      <a:moveTo>
                        <a:pt x="5785" y="3454"/>
                      </a:moveTo>
                      <a:cubicBezTo>
                        <a:pt x="5723" y="3390"/>
                        <a:pt x="5620" y="3390"/>
                        <a:pt x="5556" y="3454"/>
                      </a:cubicBezTo>
                      <a:lnTo>
                        <a:pt x="5143" y="3865"/>
                      </a:lnTo>
                      <a:lnTo>
                        <a:pt x="5036" y="3757"/>
                      </a:lnTo>
                      <a:cubicBezTo>
                        <a:pt x="4973" y="3693"/>
                        <a:pt x="4871" y="3693"/>
                        <a:pt x="4807" y="3757"/>
                      </a:cubicBezTo>
                      <a:cubicBezTo>
                        <a:pt x="4743" y="3820"/>
                        <a:pt x="4743" y="3922"/>
                        <a:pt x="4805" y="3986"/>
                      </a:cubicBezTo>
                      <a:lnTo>
                        <a:pt x="5027" y="4209"/>
                      </a:lnTo>
                      <a:cubicBezTo>
                        <a:pt x="5057" y="4240"/>
                        <a:pt x="5099" y="4257"/>
                        <a:pt x="5141" y="4257"/>
                      </a:cubicBezTo>
                      <a:lnTo>
                        <a:pt x="5141" y="4257"/>
                      </a:lnTo>
                      <a:cubicBezTo>
                        <a:pt x="5184" y="4257"/>
                        <a:pt x="5225" y="4240"/>
                        <a:pt x="5256" y="4210"/>
                      </a:cubicBezTo>
                      <a:lnTo>
                        <a:pt x="5784" y="3685"/>
                      </a:lnTo>
                      <a:cubicBezTo>
                        <a:pt x="5848" y="3620"/>
                        <a:pt x="5848" y="3517"/>
                        <a:pt x="5785" y="345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2" name="组合 31"/>
              <p:cNvGrpSpPr/>
              <p:nvPr/>
            </p:nvGrpSpPr>
            <p:grpSpPr>
              <a:xfrm>
                <a:off x="660400" y="2834252"/>
                <a:ext cx="1792452" cy="1071983"/>
                <a:chOff x="3950081" y="1366417"/>
                <a:chExt cx="1724578" cy="1071983"/>
              </a:xfrm>
            </p:grpSpPr>
            <p:sp>
              <p:nvSpPr>
                <p:cNvPr id="33" name="矩形 32"/>
                <p:cNvSpPr/>
                <p:nvPr/>
              </p:nvSpPr>
              <p:spPr bwMode="auto">
                <a:xfrm>
                  <a:off x="3950081" y="1799707"/>
                  <a:ext cx="1724578" cy="63869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 algn="r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marL="171450" indent="-171450" algn="r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矩形 33"/>
                <p:cNvSpPr/>
                <p:nvPr/>
              </p:nvSpPr>
              <p:spPr>
                <a:xfrm>
                  <a:off x="3950081" y="1366417"/>
                  <a:ext cx="1724578" cy="433289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技术方面</a:t>
                  </a:r>
                  <a:endParaRPr lang="en-US" altLang="zh-CN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0" name="组合 9"/>
            <p:cNvGrpSpPr/>
            <p:nvPr/>
          </p:nvGrpSpPr>
          <p:grpSpPr>
            <a:xfrm>
              <a:off x="9726448" y="1938207"/>
              <a:ext cx="1792452" cy="1598505"/>
              <a:chOff x="9726448" y="1938207"/>
              <a:chExt cx="1792452" cy="1598505"/>
            </a:xfrm>
          </p:grpSpPr>
          <p:grpSp>
            <p:nvGrpSpPr>
              <p:cNvPr id="25" name="组合 24"/>
              <p:cNvGrpSpPr/>
              <p:nvPr/>
            </p:nvGrpSpPr>
            <p:grpSpPr>
              <a:xfrm>
                <a:off x="9726448" y="1938207"/>
                <a:ext cx="526522" cy="526522"/>
                <a:chOff x="2823545" y="2291865"/>
                <a:chExt cx="354770" cy="354770"/>
              </a:xfrm>
            </p:grpSpPr>
            <p:sp>
              <p:nvSpPr>
                <p:cNvPr id="29" name="椭圆 28"/>
                <p:cNvSpPr/>
                <p:nvPr/>
              </p:nvSpPr>
              <p:spPr>
                <a:xfrm>
                  <a:off x="2823545" y="2291865"/>
                  <a:ext cx="354770" cy="354770"/>
                </a:xfrm>
                <a:prstGeom prst="ellipse">
                  <a:avLst/>
                </a:prstGeom>
                <a:solidFill>
                  <a:schemeClr val="accent1"/>
                </a:solidFill>
                <a:ln w="12700" cap="rnd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lnSpcReduction="10000"/>
                </a:bodyPr>
                <a:lstStyle/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/>
                <p:cNvSpPr/>
                <p:nvPr/>
              </p:nvSpPr>
              <p:spPr>
                <a:xfrm>
                  <a:off x="2912322" y="2400744"/>
                  <a:ext cx="177216" cy="137013"/>
                </a:xfrm>
                <a:custGeom>
                  <a:avLst/>
                  <a:gdLst>
                    <a:gd name="T0" fmla="*/ 325000 h 606722"/>
                    <a:gd name="T1" fmla="*/ 325000 h 606722"/>
                    <a:gd name="T2" fmla="*/ 325000 h 606722"/>
                    <a:gd name="T3" fmla="*/ 325000 h 606722"/>
                    <a:gd name="T4" fmla="*/ 325000 h 606722"/>
                    <a:gd name="T5" fmla="*/ 325000 h 606722"/>
                    <a:gd name="T6" fmla="*/ 325000 h 606722"/>
                    <a:gd name="T7" fmla="*/ 325000 h 606722"/>
                    <a:gd name="T8" fmla="*/ 325000 h 606722"/>
                    <a:gd name="T9" fmla="*/ 325000 h 606722"/>
                    <a:gd name="T10" fmla="*/ 325000 h 606722"/>
                    <a:gd name="T11" fmla="*/ 325000 h 606722"/>
                    <a:gd name="T12" fmla="*/ 325000 h 606722"/>
                    <a:gd name="T13" fmla="*/ 325000 h 606722"/>
                    <a:gd name="T14" fmla="*/ 325000 h 606722"/>
                    <a:gd name="T15" fmla="*/ 325000 h 606722"/>
                    <a:gd name="T16" fmla="*/ 325000 h 606722"/>
                    <a:gd name="T17" fmla="*/ 325000 h 606722"/>
                    <a:gd name="T18" fmla="*/ 325000 h 606722"/>
                    <a:gd name="T19" fmla="*/ 325000 h 606722"/>
                    <a:gd name="T20" fmla="*/ 325000 h 606722"/>
                    <a:gd name="T21" fmla="*/ 325000 h 606722"/>
                    <a:gd name="T22" fmla="*/ 325000 h 606722"/>
                    <a:gd name="T23" fmla="*/ 325000 h 606722"/>
                    <a:gd name="T24" fmla="*/ 325000 h 606722"/>
                    <a:gd name="T25" fmla="*/ 325000 h 606722"/>
                    <a:gd name="T26" fmla="*/ 325000 h 606722"/>
                    <a:gd name="T27" fmla="*/ 325000 h 606722"/>
                    <a:gd name="T28" fmla="*/ 325000 h 606722"/>
                    <a:gd name="T29" fmla="*/ 325000 h 606722"/>
                    <a:gd name="T30" fmla="*/ 325000 h 606722"/>
                    <a:gd name="T31" fmla="*/ 325000 h 606722"/>
                    <a:gd name="T32" fmla="*/ 325000 h 606722"/>
                    <a:gd name="T33" fmla="*/ 325000 h 606722"/>
                    <a:gd name="T34" fmla="*/ 325000 h 606722"/>
                    <a:gd name="T35" fmla="*/ 325000 h 606722"/>
                    <a:gd name="T36" fmla="*/ 325000 h 606722"/>
                    <a:gd name="T37" fmla="*/ 325000 h 606722"/>
                    <a:gd name="T38" fmla="*/ 325000 h 606722"/>
                    <a:gd name="T39" fmla="*/ 325000 h 606722"/>
                    <a:gd name="T40" fmla="*/ 325000 h 606722"/>
                    <a:gd name="T41" fmla="*/ 325000 h 606722"/>
                    <a:gd name="T42" fmla="*/ 325000 h 606722"/>
                    <a:gd name="T43" fmla="*/ 325000 h 606722"/>
                    <a:gd name="T44" fmla="*/ 325000 h 606722"/>
                    <a:gd name="T45" fmla="*/ 325000 h 606722"/>
                    <a:gd name="T46" fmla="*/ 325000 h 606722"/>
                    <a:gd name="T47" fmla="*/ 325000 h 606722"/>
                    <a:gd name="T48" fmla="*/ 325000 h 606722"/>
                    <a:gd name="T49" fmla="*/ 325000 h 606722"/>
                    <a:gd name="T50" fmla="*/ 325000 h 606722"/>
                    <a:gd name="T51" fmla="*/ 325000 h 606722"/>
                    <a:gd name="T52" fmla="*/ 325000 h 606722"/>
                    <a:gd name="T53" fmla="*/ 325000 h 606722"/>
                    <a:gd name="T54" fmla="*/ 325000 h 606722"/>
                    <a:gd name="T55" fmla="*/ 325000 h 606722"/>
                    <a:gd name="T56" fmla="*/ 325000 h 606722"/>
                    <a:gd name="T57" fmla="*/ 325000 h 606722"/>
                    <a:gd name="T58" fmla="*/ 325000 h 606722"/>
                    <a:gd name="T59" fmla="*/ 325000 h 606722"/>
                    <a:gd name="T60" fmla="*/ 325000 h 606722"/>
                    <a:gd name="T61" fmla="*/ 325000 h 606722"/>
                    <a:gd name="T62" fmla="*/ 325000 h 606722"/>
                    <a:gd name="T63" fmla="*/ 325000 h 606722"/>
                    <a:gd name="T64" fmla="*/ 325000 h 606722"/>
                    <a:gd name="T65" fmla="*/ 325000 h 606722"/>
                    <a:gd name="T66" fmla="*/ 325000 h 606722"/>
                    <a:gd name="T67" fmla="*/ 325000 h 606722"/>
                    <a:gd name="T68" fmla="*/ 325000 h 606722"/>
                    <a:gd name="T69" fmla="*/ 325000 h 606722"/>
                    <a:gd name="T70" fmla="*/ 325000 h 606722"/>
                    <a:gd name="T71" fmla="*/ 325000 h 606722"/>
                    <a:gd name="T72" fmla="*/ 325000 h 606722"/>
                    <a:gd name="T73" fmla="*/ 325000 h 606722"/>
                    <a:gd name="T74" fmla="*/ 325000 h 606722"/>
                    <a:gd name="T75" fmla="*/ 325000 h 606722"/>
                    <a:gd name="T76" fmla="*/ 325000 h 606722"/>
                    <a:gd name="T77" fmla="*/ 325000 h 606722"/>
                    <a:gd name="T78" fmla="*/ 325000 h 606722"/>
                    <a:gd name="T79" fmla="*/ 325000 h 606722"/>
                    <a:gd name="T80" fmla="*/ 325000 h 606722"/>
                    <a:gd name="T81" fmla="*/ 325000 h 606722"/>
                    <a:gd name="T82" fmla="*/ 325000 h 606722"/>
                    <a:gd name="T83" fmla="*/ 325000 h 606722"/>
                    <a:gd name="T84" fmla="*/ 325000 h 606722"/>
                    <a:gd name="T85" fmla="*/ 325000 h 606722"/>
                    <a:gd name="T86" fmla="*/ 325000 h 606722"/>
                    <a:gd name="T87" fmla="*/ 325000 h 606722"/>
                    <a:gd name="T88" fmla="*/ 325000 h 606722"/>
                    <a:gd name="T89" fmla="*/ 325000 h 6067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496" h="5030">
                      <a:moveTo>
                        <a:pt x="0" y="3568"/>
                      </a:moveTo>
                      <a:lnTo>
                        <a:pt x="0" y="445"/>
                      </a:lnTo>
                      <a:cubicBezTo>
                        <a:pt x="0" y="200"/>
                        <a:pt x="199" y="0"/>
                        <a:pt x="445" y="0"/>
                      </a:cubicBezTo>
                      <a:lnTo>
                        <a:pt x="5065" y="0"/>
                      </a:lnTo>
                      <a:cubicBezTo>
                        <a:pt x="5311" y="0"/>
                        <a:pt x="5511" y="198"/>
                        <a:pt x="5511" y="445"/>
                      </a:cubicBezTo>
                      <a:lnTo>
                        <a:pt x="5511" y="2238"/>
                      </a:lnTo>
                      <a:cubicBezTo>
                        <a:pt x="5440" y="2229"/>
                        <a:pt x="5368" y="2224"/>
                        <a:pt x="5296" y="2224"/>
                      </a:cubicBezTo>
                      <a:cubicBezTo>
                        <a:pt x="5161" y="2224"/>
                        <a:pt x="5029" y="2241"/>
                        <a:pt x="4904" y="2272"/>
                      </a:cubicBezTo>
                      <a:lnTo>
                        <a:pt x="4904" y="606"/>
                      </a:lnTo>
                      <a:lnTo>
                        <a:pt x="607" y="606"/>
                      </a:lnTo>
                      <a:lnTo>
                        <a:pt x="607" y="3400"/>
                      </a:lnTo>
                      <a:lnTo>
                        <a:pt x="3748" y="3400"/>
                      </a:lnTo>
                      <a:cubicBezTo>
                        <a:pt x="3711" y="3537"/>
                        <a:pt x="3689" y="3680"/>
                        <a:pt x="3689" y="3829"/>
                      </a:cubicBezTo>
                      <a:cubicBezTo>
                        <a:pt x="3689" y="3890"/>
                        <a:pt x="3693" y="3952"/>
                        <a:pt x="3700" y="4012"/>
                      </a:cubicBezTo>
                      <a:lnTo>
                        <a:pt x="3253" y="4012"/>
                      </a:lnTo>
                      <a:lnTo>
                        <a:pt x="3253" y="4508"/>
                      </a:lnTo>
                      <a:lnTo>
                        <a:pt x="3607" y="4508"/>
                      </a:lnTo>
                      <a:cubicBezTo>
                        <a:pt x="3665" y="4508"/>
                        <a:pt x="3713" y="4556"/>
                        <a:pt x="3713" y="4614"/>
                      </a:cubicBezTo>
                      <a:lnTo>
                        <a:pt x="3713" y="4924"/>
                      </a:lnTo>
                      <a:cubicBezTo>
                        <a:pt x="3713" y="4982"/>
                        <a:pt x="3665" y="5030"/>
                        <a:pt x="3607" y="5030"/>
                      </a:cubicBezTo>
                      <a:lnTo>
                        <a:pt x="1904" y="5030"/>
                      </a:lnTo>
                      <a:cubicBezTo>
                        <a:pt x="1845" y="5030"/>
                        <a:pt x="1797" y="4982"/>
                        <a:pt x="1797" y="4924"/>
                      </a:cubicBezTo>
                      <a:lnTo>
                        <a:pt x="1797" y="4614"/>
                      </a:lnTo>
                      <a:cubicBezTo>
                        <a:pt x="1797" y="4556"/>
                        <a:pt x="1845" y="4508"/>
                        <a:pt x="1904" y="4508"/>
                      </a:cubicBezTo>
                      <a:lnTo>
                        <a:pt x="2257" y="4508"/>
                      </a:lnTo>
                      <a:lnTo>
                        <a:pt x="2257" y="4012"/>
                      </a:lnTo>
                      <a:lnTo>
                        <a:pt x="445" y="4012"/>
                      </a:lnTo>
                      <a:cubicBezTo>
                        <a:pt x="199" y="4012"/>
                        <a:pt x="0" y="3813"/>
                        <a:pt x="0" y="3568"/>
                      </a:cubicBezTo>
                      <a:close/>
                      <a:moveTo>
                        <a:pt x="6496" y="3830"/>
                      </a:moveTo>
                      <a:cubicBezTo>
                        <a:pt x="6496" y="4493"/>
                        <a:pt x="5959" y="5030"/>
                        <a:pt x="5296" y="5030"/>
                      </a:cubicBezTo>
                      <a:cubicBezTo>
                        <a:pt x="4633" y="5030"/>
                        <a:pt x="4096" y="4493"/>
                        <a:pt x="4096" y="3830"/>
                      </a:cubicBezTo>
                      <a:cubicBezTo>
                        <a:pt x="4096" y="3168"/>
                        <a:pt x="4633" y="2630"/>
                        <a:pt x="5296" y="2630"/>
                      </a:cubicBezTo>
                      <a:cubicBezTo>
                        <a:pt x="5959" y="2630"/>
                        <a:pt x="6496" y="3168"/>
                        <a:pt x="6496" y="3830"/>
                      </a:cubicBezTo>
                      <a:close/>
                      <a:moveTo>
                        <a:pt x="5785" y="3454"/>
                      </a:moveTo>
                      <a:cubicBezTo>
                        <a:pt x="5723" y="3390"/>
                        <a:pt x="5620" y="3390"/>
                        <a:pt x="5556" y="3454"/>
                      </a:cubicBezTo>
                      <a:lnTo>
                        <a:pt x="5143" y="3865"/>
                      </a:lnTo>
                      <a:lnTo>
                        <a:pt x="5036" y="3757"/>
                      </a:lnTo>
                      <a:cubicBezTo>
                        <a:pt x="4973" y="3693"/>
                        <a:pt x="4871" y="3693"/>
                        <a:pt x="4807" y="3757"/>
                      </a:cubicBezTo>
                      <a:cubicBezTo>
                        <a:pt x="4743" y="3820"/>
                        <a:pt x="4743" y="3922"/>
                        <a:pt x="4805" y="3986"/>
                      </a:cubicBezTo>
                      <a:lnTo>
                        <a:pt x="5027" y="4209"/>
                      </a:lnTo>
                      <a:cubicBezTo>
                        <a:pt x="5057" y="4240"/>
                        <a:pt x="5099" y="4257"/>
                        <a:pt x="5141" y="4257"/>
                      </a:cubicBezTo>
                      <a:lnTo>
                        <a:pt x="5141" y="4257"/>
                      </a:lnTo>
                      <a:cubicBezTo>
                        <a:pt x="5184" y="4257"/>
                        <a:pt x="5225" y="4240"/>
                        <a:pt x="5256" y="4210"/>
                      </a:cubicBezTo>
                      <a:lnTo>
                        <a:pt x="5784" y="3685"/>
                      </a:lnTo>
                      <a:cubicBezTo>
                        <a:pt x="5848" y="3620"/>
                        <a:pt x="5848" y="3517"/>
                        <a:pt x="5785" y="345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6" name="组合 25"/>
              <p:cNvGrpSpPr/>
              <p:nvPr/>
            </p:nvGrpSpPr>
            <p:grpSpPr>
              <a:xfrm>
                <a:off x="9726448" y="2464729"/>
                <a:ext cx="1792452" cy="1071983"/>
                <a:chOff x="3950081" y="1366417"/>
                <a:chExt cx="1724578" cy="1071983"/>
              </a:xfrm>
            </p:grpSpPr>
            <p:sp>
              <p:nvSpPr>
                <p:cNvPr id="27" name="矩形 26"/>
                <p:cNvSpPr/>
                <p:nvPr/>
              </p:nvSpPr>
              <p:spPr bwMode="auto">
                <a:xfrm>
                  <a:off x="3950081" y="1799707"/>
                  <a:ext cx="1724578" cy="63869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矩形 27"/>
                <p:cNvSpPr/>
                <p:nvPr/>
              </p:nvSpPr>
              <p:spPr>
                <a:xfrm>
                  <a:off x="3950081" y="1366417"/>
                  <a:ext cx="1724578" cy="433289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技术方面</a:t>
                  </a:r>
                  <a:endParaRPr lang="en-US" altLang="zh-CN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/>
            <p:cNvGrpSpPr/>
            <p:nvPr/>
          </p:nvGrpSpPr>
          <p:grpSpPr>
            <a:xfrm>
              <a:off x="2169759" y="3877596"/>
              <a:ext cx="1792452" cy="1598505"/>
              <a:chOff x="2097595" y="4126188"/>
              <a:chExt cx="1792452" cy="1598505"/>
            </a:xfrm>
          </p:grpSpPr>
          <p:grpSp>
            <p:nvGrpSpPr>
              <p:cNvPr id="19" name="组合 18"/>
              <p:cNvGrpSpPr/>
              <p:nvPr/>
            </p:nvGrpSpPr>
            <p:grpSpPr>
              <a:xfrm>
                <a:off x="3363525" y="4126188"/>
                <a:ext cx="526522" cy="526522"/>
                <a:chOff x="2823545" y="2291865"/>
                <a:chExt cx="354770" cy="354770"/>
              </a:xfrm>
            </p:grpSpPr>
            <p:sp>
              <p:nvSpPr>
                <p:cNvPr id="23" name="椭圆 22"/>
                <p:cNvSpPr/>
                <p:nvPr/>
              </p:nvSpPr>
              <p:spPr>
                <a:xfrm>
                  <a:off x="2823545" y="2291865"/>
                  <a:ext cx="354770" cy="354770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 cap="rnd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lnSpcReduction="10000"/>
                </a:bodyPr>
                <a:lstStyle/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任意多边形: 形状 23"/>
                <p:cNvSpPr/>
                <p:nvPr/>
              </p:nvSpPr>
              <p:spPr>
                <a:xfrm>
                  <a:off x="2912322" y="2400744"/>
                  <a:ext cx="177216" cy="137013"/>
                </a:xfrm>
                <a:custGeom>
                  <a:avLst/>
                  <a:gdLst>
                    <a:gd name="T0" fmla="*/ 325000 h 606722"/>
                    <a:gd name="T1" fmla="*/ 325000 h 606722"/>
                    <a:gd name="T2" fmla="*/ 325000 h 606722"/>
                    <a:gd name="T3" fmla="*/ 325000 h 606722"/>
                    <a:gd name="T4" fmla="*/ 325000 h 606722"/>
                    <a:gd name="T5" fmla="*/ 325000 h 606722"/>
                    <a:gd name="T6" fmla="*/ 325000 h 606722"/>
                    <a:gd name="T7" fmla="*/ 325000 h 606722"/>
                    <a:gd name="T8" fmla="*/ 325000 h 606722"/>
                    <a:gd name="T9" fmla="*/ 325000 h 606722"/>
                    <a:gd name="T10" fmla="*/ 325000 h 606722"/>
                    <a:gd name="T11" fmla="*/ 325000 h 606722"/>
                    <a:gd name="T12" fmla="*/ 325000 h 606722"/>
                    <a:gd name="T13" fmla="*/ 325000 h 606722"/>
                    <a:gd name="T14" fmla="*/ 325000 h 606722"/>
                    <a:gd name="T15" fmla="*/ 325000 h 606722"/>
                    <a:gd name="T16" fmla="*/ 325000 h 606722"/>
                    <a:gd name="T17" fmla="*/ 325000 h 606722"/>
                    <a:gd name="T18" fmla="*/ 325000 h 606722"/>
                    <a:gd name="T19" fmla="*/ 325000 h 606722"/>
                    <a:gd name="T20" fmla="*/ 325000 h 606722"/>
                    <a:gd name="T21" fmla="*/ 325000 h 606722"/>
                    <a:gd name="T22" fmla="*/ 325000 h 606722"/>
                    <a:gd name="T23" fmla="*/ 325000 h 606722"/>
                    <a:gd name="T24" fmla="*/ 325000 h 606722"/>
                    <a:gd name="T25" fmla="*/ 325000 h 606722"/>
                    <a:gd name="T26" fmla="*/ 325000 h 606722"/>
                    <a:gd name="T27" fmla="*/ 325000 h 606722"/>
                    <a:gd name="T28" fmla="*/ 325000 h 606722"/>
                    <a:gd name="T29" fmla="*/ 325000 h 606722"/>
                    <a:gd name="T30" fmla="*/ 325000 h 606722"/>
                    <a:gd name="T31" fmla="*/ 325000 h 606722"/>
                    <a:gd name="T32" fmla="*/ 325000 h 606722"/>
                    <a:gd name="T33" fmla="*/ 325000 h 606722"/>
                    <a:gd name="T34" fmla="*/ 325000 h 606722"/>
                    <a:gd name="T35" fmla="*/ 325000 h 606722"/>
                    <a:gd name="T36" fmla="*/ 325000 h 606722"/>
                    <a:gd name="T37" fmla="*/ 325000 h 606722"/>
                    <a:gd name="T38" fmla="*/ 325000 h 606722"/>
                    <a:gd name="T39" fmla="*/ 325000 h 606722"/>
                    <a:gd name="T40" fmla="*/ 325000 h 606722"/>
                    <a:gd name="T41" fmla="*/ 325000 h 606722"/>
                    <a:gd name="T42" fmla="*/ 325000 h 606722"/>
                    <a:gd name="T43" fmla="*/ 325000 h 606722"/>
                    <a:gd name="T44" fmla="*/ 325000 h 606722"/>
                    <a:gd name="T45" fmla="*/ 325000 h 606722"/>
                    <a:gd name="T46" fmla="*/ 325000 h 606722"/>
                    <a:gd name="T47" fmla="*/ 325000 h 606722"/>
                    <a:gd name="T48" fmla="*/ 325000 h 606722"/>
                    <a:gd name="T49" fmla="*/ 325000 h 606722"/>
                    <a:gd name="T50" fmla="*/ 325000 h 606722"/>
                    <a:gd name="T51" fmla="*/ 325000 h 606722"/>
                    <a:gd name="T52" fmla="*/ 325000 h 606722"/>
                    <a:gd name="T53" fmla="*/ 325000 h 606722"/>
                    <a:gd name="T54" fmla="*/ 325000 h 606722"/>
                    <a:gd name="T55" fmla="*/ 325000 h 606722"/>
                    <a:gd name="T56" fmla="*/ 325000 h 606722"/>
                    <a:gd name="T57" fmla="*/ 325000 h 606722"/>
                    <a:gd name="T58" fmla="*/ 325000 h 606722"/>
                    <a:gd name="T59" fmla="*/ 325000 h 606722"/>
                    <a:gd name="T60" fmla="*/ 325000 h 606722"/>
                    <a:gd name="T61" fmla="*/ 325000 h 606722"/>
                    <a:gd name="T62" fmla="*/ 325000 h 606722"/>
                    <a:gd name="T63" fmla="*/ 325000 h 606722"/>
                    <a:gd name="T64" fmla="*/ 325000 h 606722"/>
                    <a:gd name="T65" fmla="*/ 325000 h 606722"/>
                    <a:gd name="T66" fmla="*/ 325000 h 606722"/>
                    <a:gd name="T67" fmla="*/ 325000 h 606722"/>
                    <a:gd name="T68" fmla="*/ 325000 h 606722"/>
                    <a:gd name="T69" fmla="*/ 325000 h 606722"/>
                    <a:gd name="T70" fmla="*/ 325000 h 606722"/>
                    <a:gd name="T71" fmla="*/ 325000 h 606722"/>
                    <a:gd name="T72" fmla="*/ 325000 h 606722"/>
                    <a:gd name="T73" fmla="*/ 325000 h 606722"/>
                    <a:gd name="T74" fmla="*/ 325000 h 606722"/>
                    <a:gd name="T75" fmla="*/ 325000 h 606722"/>
                    <a:gd name="T76" fmla="*/ 325000 h 606722"/>
                    <a:gd name="T77" fmla="*/ 325000 h 606722"/>
                    <a:gd name="T78" fmla="*/ 325000 h 606722"/>
                    <a:gd name="T79" fmla="*/ 325000 h 606722"/>
                    <a:gd name="T80" fmla="*/ 325000 h 606722"/>
                    <a:gd name="T81" fmla="*/ 325000 h 606722"/>
                    <a:gd name="T82" fmla="*/ 325000 h 606722"/>
                    <a:gd name="T83" fmla="*/ 325000 h 606722"/>
                    <a:gd name="T84" fmla="*/ 325000 h 606722"/>
                    <a:gd name="T85" fmla="*/ 325000 h 606722"/>
                    <a:gd name="T86" fmla="*/ 325000 h 606722"/>
                    <a:gd name="T87" fmla="*/ 325000 h 606722"/>
                    <a:gd name="T88" fmla="*/ 325000 h 606722"/>
                    <a:gd name="T89" fmla="*/ 325000 h 6067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496" h="5030">
                      <a:moveTo>
                        <a:pt x="0" y="3568"/>
                      </a:moveTo>
                      <a:lnTo>
                        <a:pt x="0" y="445"/>
                      </a:lnTo>
                      <a:cubicBezTo>
                        <a:pt x="0" y="200"/>
                        <a:pt x="199" y="0"/>
                        <a:pt x="445" y="0"/>
                      </a:cubicBezTo>
                      <a:lnTo>
                        <a:pt x="5065" y="0"/>
                      </a:lnTo>
                      <a:cubicBezTo>
                        <a:pt x="5311" y="0"/>
                        <a:pt x="5511" y="198"/>
                        <a:pt x="5511" y="445"/>
                      </a:cubicBezTo>
                      <a:lnTo>
                        <a:pt x="5511" y="2238"/>
                      </a:lnTo>
                      <a:cubicBezTo>
                        <a:pt x="5440" y="2229"/>
                        <a:pt x="5368" y="2224"/>
                        <a:pt x="5296" y="2224"/>
                      </a:cubicBezTo>
                      <a:cubicBezTo>
                        <a:pt x="5161" y="2224"/>
                        <a:pt x="5029" y="2241"/>
                        <a:pt x="4904" y="2272"/>
                      </a:cubicBezTo>
                      <a:lnTo>
                        <a:pt x="4904" y="606"/>
                      </a:lnTo>
                      <a:lnTo>
                        <a:pt x="607" y="606"/>
                      </a:lnTo>
                      <a:lnTo>
                        <a:pt x="607" y="3400"/>
                      </a:lnTo>
                      <a:lnTo>
                        <a:pt x="3748" y="3400"/>
                      </a:lnTo>
                      <a:cubicBezTo>
                        <a:pt x="3711" y="3537"/>
                        <a:pt x="3689" y="3680"/>
                        <a:pt x="3689" y="3829"/>
                      </a:cubicBezTo>
                      <a:cubicBezTo>
                        <a:pt x="3689" y="3890"/>
                        <a:pt x="3693" y="3952"/>
                        <a:pt x="3700" y="4012"/>
                      </a:cubicBezTo>
                      <a:lnTo>
                        <a:pt x="3253" y="4012"/>
                      </a:lnTo>
                      <a:lnTo>
                        <a:pt x="3253" y="4508"/>
                      </a:lnTo>
                      <a:lnTo>
                        <a:pt x="3607" y="4508"/>
                      </a:lnTo>
                      <a:cubicBezTo>
                        <a:pt x="3665" y="4508"/>
                        <a:pt x="3713" y="4556"/>
                        <a:pt x="3713" y="4614"/>
                      </a:cubicBezTo>
                      <a:lnTo>
                        <a:pt x="3713" y="4924"/>
                      </a:lnTo>
                      <a:cubicBezTo>
                        <a:pt x="3713" y="4982"/>
                        <a:pt x="3665" y="5030"/>
                        <a:pt x="3607" y="5030"/>
                      </a:cubicBezTo>
                      <a:lnTo>
                        <a:pt x="1904" y="5030"/>
                      </a:lnTo>
                      <a:cubicBezTo>
                        <a:pt x="1845" y="5030"/>
                        <a:pt x="1797" y="4982"/>
                        <a:pt x="1797" y="4924"/>
                      </a:cubicBezTo>
                      <a:lnTo>
                        <a:pt x="1797" y="4614"/>
                      </a:lnTo>
                      <a:cubicBezTo>
                        <a:pt x="1797" y="4556"/>
                        <a:pt x="1845" y="4508"/>
                        <a:pt x="1904" y="4508"/>
                      </a:cubicBezTo>
                      <a:lnTo>
                        <a:pt x="2257" y="4508"/>
                      </a:lnTo>
                      <a:lnTo>
                        <a:pt x="2257" y="4012"/>
                      </a:lnTo>
                      <a:lnTo>
                        <a:pt x="445" y="4012"/>
                      </a:lnTo>
                      <a:cubicBezTo>
                        <a:pt x="199" y="4012"/>
                        <a:pt x="0" y="3813"/>
                        <a:pt x="0" y="3568"/>
                      </a:cubicBezTo>
                      <a:close/>
                      <a:moveTo>
                        <a:pt x="6496" y="3830"/>
                      </a:moveTo>
                      <a:cubicBezTo>
                        <a:pt x="6496" y="4493"/>
                        <a:pt x="5959" y="5030"/>
                        <a:pt x="5296" y="5030"/>
                      </a:cubicBezTo>
                      <a:cubicBezTo>
                        <a:pt x="4633" y="5030"/>
                        <a:pt x="4096" y="4493"/>
                        <a:pt x="4096" y="3830"/>
                      </a:cubicBezTo>
                      <a:cubicBezTo>
                        <a:pt x="4096" y="3168"/>
                        <a:pt x="4633" y="2630"/>
                        <a:pt x="5296" y="2630"/>
                      </a:cubicBezTo>
                      <a:cubicBezTo>
                        <a:pt x="5959" y="2630"/>
                        <a:pt x="6496" y="3168"/>
                        <a:pt x="6496" y="3830"/>
                      </a:cubicBezTo>
                      <a:close/>
                      <a:moveTo>
                        <a:pt x="5785" y="3454"/>
                      </a:moveTo>
                      <a:cubicBezTo>
                        <a:pt x="5723" y="3390"/>
                        <a:pt x="5620" y="3390"/>
                        <a:pt x="5556" y="3454"/>
                      </a:cubicBezTo>
                      <a:lnTo>
                        <a:pt x="5143" y="3865"/>
                      </a:lnTo>
                      <a:lnTo>
                        <a:pt x="5036" y="3757"/>
                      </a:lnTo>
                      <a:cubicBezTo>
                        <a:pt x="4973" y="3693"/>
                        <a:pt x="4871" y="3693"/>
                        <a:pt x="4807" y="3757"/>
                      </a:cubicBezTo>
                      <a:cubicBezTo>
                        <a:pt x="4743" y="3820"/>
                        <a:pt x="4743" y="3922"/>
                        <a:pt x="4805" y="3986"/>
                      </a:cubicBezTo>
                      <a:lnTo>
                        <a:pt x="5027" y="4209"/>
                      </a:lnTo>
                      <a:cubicBezTo>
                        <a:pt x="5057" y="4240"/>
                        <a:pt x="5099" y="4257"/>
                        <a:pt x="5141" y="4257"/>
                      </a:cubicBezTo>
                      <a:lnTo>
                        <a:pt x="5141" y="4257"/>
                      </a:lnTo>
                      <a:cubicBezTo>
                        <a:pt x="5184" y="4257"/>
                        <a:pt x="5225" y="4240"/>
                        <a:pt x="5256" y="4210"/>
                      </a:cubicBezTo>
                      <a:lnTo>
                        <a:pt x="5784" y="3685"/>
                      </a:lnTo>
                      <a:cubicBezTo>
                        <a:pt x="5848" y="3620"/>
                        <a:pt x="5848" y="3517"/>
                        <a:pt x="5785" y="345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/>
              <p:cNvGrpSpPr/>
              <p:nvPr/>
            </p:nvGrpSpPr>
            <p:grpSpPr>
              <a:xfrm>
                <a:off x="2097595" y="4652710"/>
                <a:ext cx="1792452" cy="1071983"/>
                <a:chOff x="3950081" y="1366417"/>
                <a:chExt cx="1724578" cy="1071983"/>
              </a:xfrm>
            </p:grpSpPr>
            <p:sp>
              <p:nvSpPr>
                <p:cNvPr id="21" name="矩形 20"/>
                <p:cNvSpPr/>
                <p:nvPr/>
              </p:nvSpPr>
              <p:spPr bwMode="auto">
                <a:xfrm>
                  <a:off x="3950081" y="1799707"/>
                  <a:ext cx="1724578" cy="63869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 algn="r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marL="171450" indent="-171450" algn="r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矩形 21"/>
                <p:cNvSpPr/>
                <p:nvPr/>
              </p:nvSpPr>
              <p:spPr>
                <a:xfrm>
                  <a:off x="3950081" y="1366417"/>
                  <a:ext cx="1724578" cy="433289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技术方面</a:t>
                  </a:r>
                  <a:endParaRPr lang="en-US" altLang="zh-CN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/>
            <p:cNvGrpSpPr/>
            <p:nvPr/>
          </p:nvGrpSpPr>
          <p:grpSpPr>
            <a:xfrm>
              <a:off x="8217089" y="3877596"/>
              <a:ext cx="1792452" cy="1598505"/>
              <a:chOff x="8217089" y="3877596"/>
              <a:chExt cx="1792452" cy="1598505"/>
            </a:xfrm>
          </p:grpSpPr>
          <p:grpSp>
            <p:nvGrpSpPr>
              <p:cNvPr id="13" name="组合 12"/>
              <p:cNvGrpSpPr/>
              <p:nvPr/>
            </p:nvGrpSpPr>
            <p:grpSpPr>
              <a:xfrm>
                <a:off x="8217089" y="3877596"/>
                <a:ext cx="526522" cy="526522"/>
                <a:chOff x="2823545" y="2291865"/>
                <a:chExt cx="354770" cy="354770"/>
              </a:xfrm>
            </p:grpSpPr>
            <p:sp>
              <p:nvSpPr>
                <p:cNvPr id="17" name="椭圆 16"/>
                <p:cNvSpPr/>
                <p:nvPr/>
              </p:nvSpPr>
              <p:spPr>
                <a:xfrm>
                  <a:off x="2823545" y="2291865"/>
                  <a:ext cx="354770" cy="354770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2700" cap="rnd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lnSpcReduction="10000"/>
                </a:bodyPr>
                <a:lstStyle/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任意多边形: 形状 17"/>
                <p:cNvSpPr/>
                <p:nvPr/>
              </p:nvSpPr>
              <p:spPr>
                <a:xfrm>
                  <a:off x="2912322" y="2400744"/>
                  <a:ext cx="177216" cy="137013"/>
                </a:xfrm>
                <a:custGeom>
                  <a:avLst/>
                  <a:gdLst>
                    <a:gd name="T0" fmla="*/ 325000 h 606722"/>
                    <a:gd name="T1" fmla="*/ 325000 h 606722"/>
                    <a:gd name="T2" fmla="*/ 325000 h 606722"/>
                    <a:gd name="T3" fmla="*/ 325000 h 606722"/>
                    <a:gd name="T4" fmla="*/ 325000 h 606722"/>
                    <a:gd name="T5" fmla="*/ 325000 h 606722"/>
                    <a:gd name="T6" fmla="*/ 325000 h 606722"/>
                    <a:gd name="T7" fmla="*/ 325000 h 606722"/>
                    <a:gd name="T8" fmla="*/ 325000 h 606722"/>
                    <a:gd name="T9" fmla="*/ 325000 h 606722"/>
                    <a:gd name="T10" fmla="*/ 325000 h 606722"/>
                    <a:gd name="T11" fmla="*/ 325000 h 606722"/>
                    <a:gd name="T12" fmla="*/ 325000 h 606722"/>
                    <a:gd name="T13" fmla="*/ 325000 h 606722"/>
                    <a:gd name="T14" fmla="*/ 325000 h 606722"/>
                    <a:gd name="T15" fmla="*/ 325000 h 606722"/>
                    <a:gd name="T16" fmla="*/ 325000 h 606722"/>
                    <a:gd name="T17" fmla="*/ 325000 h 606722"/>
                    <a:gd name="T18" fmla="*/ 325000 h 606722"/>
                    <a:gd name="T19" fmla="*/ 325000 h 606722"/>
                    <a:gd name="T20" fmla="*/ 325000 h 606722"/>
                    <a:gd name="T21" fmla="*/ 325000 h 606722"/>
                    <a:gd name="T22" fmla="*/ 325000 h 606722"/>
                    <a:gd name="T23" fmla="*/ 325000 h 606722"/>
                    <a:gd name="T24" fmla="*/ 325000 h 606722"/>
                    <a:gd name="T25" fmla="*/ 325000 h 606722"/>
                    <a:gd name="T26" fmla="*/ 325000 h 606722"/>
                    <a:gd name="T27" fmla="*/ 325000 h 606722"/>
                    <a:gd name="T28" fmla="*/ 325000 h 606722"/>
                    <a:gd name="T29" fmla="*/ 325000 h 606722"/>
                    <a:gd name="T30" fmla="*/ 325000 h 606722"/>
                    <a:gd name="T31" fmla="*/ 325000 h 606722"/>
                    <a:gd name="T32" fmla="*/ 325000 h 606722"/>
                    <a:gd name="T33" fmla="*/ 325000 h 606722"/>
                    <a:gd name="T34" fmla="*/ 325000 h 606722"/>
                    <a:gd name="T35" fmla="*/ 325000 h 606722"/>
                    <a:gd name="T36" fmla="*/ 325000 h 606722"/>
                    <a:gd name="T37" fmla="*/ 325000 h 606722"/>
                    <a:gd name="T38" fmla="*/ 325000 h 606722"/>
                    <a:gd name="T39" fmla="*/ 325000 h 606722"/>
                    <a:gd name="T40" fmla="*/ 325000 h 606722"/>
                    <a:gd name="T41" fmla="*/ 325000 h 606722"/>
                    <a:gd name="T42" fmla="*/ 325000 h 606722"/>
                    <a:gd name="T43" fmla="*/ 325000 h 606722"/>
                    <a:gd name="T44" fmla="*/ 325000 h 606722"/>
                    <a:gd name="T45" fmla="*/ 325000 h 606722"/>
                    <a:gd name="T46" fmla="*/ 325000 h 606722"/>
                    <a:gd name="T47" fmla="*/ 325000 h 606722"/>
                    <a:gd name="T48" fmla="*/ 325000 h 606722"/>
                    <a:gd name="T49" fmla="*/ 325000 h 606722"/>
                    <a:gd name="T50" fmla="*/ 325000 h 606722"/>
                    <a:gd name="T51" fmla="*/ 325000 h 606722"/>
                    <a:gd name="T52" fmla="*/ 325000 h 606722"/>
                    <a:gd name="T53" fmla="*/ 325000 h 606722"/>
                    <a:gd name="T54" fmla="*/ 325000 h 606722"/>
                    <a:gd name="T55" fmla="*/ 325000 h 606722"/>
                    <a:gd name="T56" fmla="*/ 325000 h 606722"/>
                    <a:gd name="T57" fmla="*/ 325000 h 606722"/>
                    <a:gd name="T58" fmla="*/ 325000 h 606722"/>
                    <a:gd name="T59" fmla="*/ 325000 h 606722"/>
                    <a:gd name="T60" fmla="*/ 325000 h 606722"/>
                    <a:gd name="T61" fmla="*/ 325000 h 606722"/>
                    <a:gd name="T62" fmla="*/ 325000 h 606722"/>
                    <a:gd name="T63" fmla="*/ 325000 h 606722"/>
                    <a:gd name="T64" fmla="*/ 325000 h 606722"/>
                    <a:gd name="T65" fmla="*/ 325000 h 606722"/>
                    <a:gd name="T66" fmla="*/ 325000 h 606722"/>
                    <a:gd name="T67" fmla="*/ 325000 h 606722"/>
                    <a:gd name="T68" fmla="*/ 325000 h 606722"/>
                    <a:gd name="T69" fmla="*/ 325000 h 606722"/>
                    <a:gd name="T70" fmla="*/ 325000 h 606722"/>
                    <a:gd name="T71" fmla="*/ 325000 h 606722"/>
                    <a:gd name="T72" fmla="*/ 325000 h 606722"/>
                    <a:gd name="T73" fmla="*/ 325000 h 606722"/>
                    <a:gd name="T74" fmla="*/ 325000 h 606722"/>
                    <a:gd name="T75" fmla="*/ 325000 h 606722"/>
                    <a:gd name="T76" fmla="*/ 325000 h 606722"/>
                    <a:gd name="T77" fmla="*/ 325000 h 606722"/>
                    <a:gd name="T78" fmla="*/ 325000 h 606722"/>
                    <a:gd name="T79" fmla="*/ 325000 h 606722"/>
                    <a:gd name="T80" fmla="*/ 325000 h 606722"/>
                    <a:gd name="T81" fmla="*/ 325000 h 606722"/>
                    <a:gd name="T82" fmla="*/ 325000 h 606722"/>
                    <a:gd name="T83" fmla="*/ 325000 h 606722"/>
                    <a:gd name="T84" fmla="*/ 325000 h 606722"/>
                    <a:gd name="T85" fmla="*/ 325000 h 606722"/>
                    <a:gd name="T86" fmla="*/ 325000 h 606722"/>
                    <a:gd name="T87" fmla="*/ 325000 h 606722"/>
                    <a:gd name="T88" fmla="*/ 325000 h 606722"/>
                    <a:gd name="T89" fmla="*/ 325000 h 6067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496" h="5030">
                      <a:moveTo>
                        <a:pt x="0" y="3568"/>
                      </a:moveTo>
                      <a:lnTo>
                        <a:pt x="0" y="445"/>
                      </a:lnTo>
                      <a:cubicBezTo>
                        <a:pt x="0" y="200"/>
                        <a:pt x="199" y="0"/>
                        <a:pt x="445" y="0"/>
                      </a:cubicBezTo>
                      <a:lnTo>
                        <a:pt x="5065" y="0"/>
                      </a:lnTo>
                      <a:cubicBezTo>
                        <a:pt x="5311" y="0"/>
                        <a:pt x="5511" y="198"/>
                        <a:pt x="5511" y="445"/>
                      </a:cubicBezTo>
                      <a:lnTo>
                        <a:pt x="5511" y="2238"/>
                      </a:lnTo>
                      <a:cubicBezTo>
                        <a:pt x="5440" y="2229"/>
                        <a:pt x="5368" y="2224"/>
                        <a:pt x="5296" y="2224"/>
                      </a:cubicBezTo>
                      <a:cubicBezTo>
                        <a:pt x="5161" y="2224"/>
                        <a:pt x="5029" y="2241"/>
                        <a:pt x="4904" y="2272"/>
                      </a:cubicBezTo>
                      <a:lnTo>
                        <a:pt x="4904" y="606"/>
                      </a:lnTo>
                      <a:lnTo>
                        <a:pt x="607" y="606"/>
                      </a:lnTo>
                      <a:lnTo>
                        <a:pt x="607" y="3400"/>
                      </a:lnTo>
                      <a:lnTo>
                        <a:pt x="3748" y="3400"/>
                      </a:lnTo>
                      <a:cubicBezTo>
                        <a:pt x="3711" y="3537"/>
                        <a:pt x="3689" y="3680"/>
                        <a:pt x="3689" y="3829"/>
                      </a:cubicBezTo>
                      <a:cubicBezTo>
                        <a:pt x="3689" y="3890"/>
                        <a:pt x="3693" y="3952"/>
                        <a:pt x="3700" y="4012"/>
                      </a:cubicBezTo>
                      <a:lnTo>
                        <a:pt x="3253" y="4012"/>
                      </a:lnTo>
                      <a:lnTo>
                        <a:pt x="3253" y="4508"/>
                      </a:lnTo>
                      <a:lnTo>
                        <a:pt x="3607" y="4508"/>
                      </a:lnTo>
                      <a:cubicBezTo>
                        <a:pt x="3665" y="4508"/>
                        <a:pt x="3713" y="4556"/>
                        <a:pt x="3713" y="4614"/>
                      </a:cubicBezTo>
                      <a:lnTo>
                        <a:pt x="3713" y="4924"/>
                      </a:lnTo>
                      <a:cubicBezTo>
                        <a:pt x="3713" y="4982"/>
                        <a:pt x="3665" y="5030"/>
                        <a:pt x="3607" y="5030"/>
                      </a:cubicBezTo>
                      <a:lnTo>
                        <a:pt x="1904" y="5030"/>
                      </a:lnTo>
                      <a:cubicBezTo>
                        <a:pt x="1845" y="5030"/>
                        <a:pt x="1797" y="4982"/>
                        <a:pt x="1797" y="4924"/>
                      </a:cubicBezTo>
                      <a:lnTo>
                        <a:pt x="1797" y="4614"/>
                      </a:lnTo>
                      <a:cubicBezTo>
                        <a:pt x="1797" y="4556"/>
                        <a:pt x="1845" y="4508"/>
                        <a:pt x="1904" y="4508"/>
                      </a:cubicBezTo>
                      <a:lnTo>
                        <a:pt x="2257" y="4508"/>
                      </a:lnTo>
                      <a:lnTo>
                        <a:pt x="2257" y="4012"/>
                      </a:lnTo>
                      <a:lnTo>
                        <a:pt x="445" y="4012"/>
                      </a:lnTo>
                      <a:cubicBezTo>
                        <a:pt x="199" y="4012"/>
                        <a:pt x="0" y="3813"/>
                        <a:pt x="0" y="3568"/>
                      </a:cubicBezTo>
                      <a:close/>
                      <a:moveTo>
                        <a:pt x="6496" y="3830"/>
                      </a:moveTo>
                      <a:cubicBezTo>
                        <a:pt x="6496" y="4493"/>
                        <a:pt x="5959" y="5030"/>
                        <a:pt x="5296" y="5030"/>
                      </a:cubicBezTo>
                      <a:cubicBezTo>
                        <a:pt x="4633" y="5030"/>
                        <a:pt x="4096" y="4493"/>
                        <a:pt x="4096" y="3830"/>
                      </a:cubicBezTo>
                      <a:cubicBezTo>
                        <a:pt x="4096" y="3168"/>
                        <a:pt x="4633" y="2630"/>
                        <a:pt x="5296" y="2630"/>
                      </a:cubicBezTo>
                      <a:cubicBezTo>
                        <a:pt x="5959" y="2630"/>
                        <a:pt x="6496" y="3168"/>
                        <a:pt x="6496" y="3830"/>
                      </a:cubicBezTo>
                      <a:close/>
                      <a:moveTo>
                        <a:pt x="5785" y="3454"/>
                      </a:moveTo>
                      <a:cubicBezTo>
                        <a:pt x="5723" y="3390"/>
                        <a:pt x="5620" y="3390"/>
                        <a:pt x="5556" y="3454"/>
                      </a:cubicBezTo>
                      <a:lnTo>
                        <a:pt x="5143" y="3865"/>
                      </a:lnTo>
                      <a:lnTo>
                        <a:pt x="5036" y="3757"/>
                      </a:lnTo>
                      <a:cubicBezTo>
                        <a:pt x="4973" y="3693"/>
                        <a:pt x="4871" y="3693"/>
                        <a:pt x="4807" y="3757"/>
                      </a:cubicBezTo>
                      <a:cubicBezTo>
                        <a:pt x="4743" y="3820"/>
                        <a:pt x="4743" y="3922"/>
                        <a:pt x="4805" y="3986"/>
                      </a:cubicBezTo>
                      <a:lnTo>
                        <a:pt x="5027" y="4209"/>
                      </a:lnTo>
                      <a:cubicBezTo>
                        <a:pt x="5057" y="4240"/>
                        <a:pt x="5099" y="4257"/>
                        <a:pt x="5141" y="4257"/>
                      </a:cubicBezTo>
                      <a:lnTo>
                        <a:pt x="5141" y="4257"/>
                      </a:lnTo>
                      <a:cubicBezTo>
                        <a:pt x="5184" y="4257"/>
                        <a:pt x="5225" y="4240"/>
                        <a:pt x="5256" y="4210"/>
                      </a:cubicBezTo>
                      <a:lnTo>
                        <a:pt x="5784" y="3685"/>
                      </a:lnTo>
                      <a:cubicBezTo>
                        <a:pt x="5848" y="3620"/>
                        <a:pt x="5848" y="3517"/>
                        <a:pt x="5785" y="345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4" name="组合 13"/>
              <p:cNvGrpSpPr/>
              <p:nvPr/>
            </p:nvGrpSpPr>
            <p:grpSpPr>
              <a:xfrm>
                <a:off x="8217089" y="4404118"/>
                <a:ext cx="1792452" cy="1071983"/>
                <a:chOff x="3950081" y="1366417"/>
                <a:chExt cx="1724578" cy="1071983"/>
              </a:xfrm>
            </p:grpSpPr>
            <p:sp>
              <p:nvSpPr>
                <p:cNvPr id="15" name="矩形 14"/>
                <p:cNvSpPr/>
                <p:nvPr/>
              </p:nvSpPr>
              <p:spPr bwMode="auto">
                <a:xfrm>
                  <a:off x="3950081" y="1799707"/>
                  <a:ext cx="1724578" cy="63869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矩形 15"/>
                <p:cNvSpPr/>
                <p:nvPr/>
              </p:nvSpPr>
              <p:spPr>
                <a:xfrm>
                  <a:off x="3950081" y="1366417"/>
                  <a:ext cx="1724578" cy="433289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技术方面</a:t>
                  </a:r>
                  <a:endParaRPr lang="en-US" altLang="zh-CN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实践难点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1417" y="1130301"/>
            <a:ext cx="10869166" cy="5007668"/>
            <a:chOff x="661417" y="1130301"/>
            <a:chExt cx="10869166" cy="5007668"/>
          </a:xfrm>
        </p:grpSpPr>
        <p:cxnSp>
          <p:nvCxnSpPr>
            <p:cNvPr id="6" name="直接连接符 5"/>
            <p:cNvCxnSpPr/>
            <p:nvPr/>
          </p:nvCxnSpPr>
          <p:spPr>
            <a:xfrm>
              <a:off x="1963538" y="3300003"/>
              <a:ext cx="2" cy="214258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" name="泪滴形 6"/>
            <p:cNvSpPr/>
            <p:nvPr/>
          </p:nvSpPr>
          <p:spPr>
            <a:xfrm rot="2700000" flipV="1">
              <a:off x="1597447" y="2395494"/>
              <a:ext cx="732184" cy="732186"/>
            </a:xfrm>
            <a:prstGeom prst="teardrop">
              <a:avLst>
                <a:gd name="adj" fmla="val 103995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1350" dirty="0">
                <a:cs typeface="+mn-ea"/>
                <a:sym typeface="+mn-lt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61417" y="3514261"/>
              <a:ext cx="2604245" cy="4616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solidFill>
                    <a:schemeClr val="tx1"/>
                  </a:solidFill>
                  <a:cs typeface="+mn-ea"/>
                  <a:sym typeface="+mn-lt"/>
                </a:rPr>
                <a:t>难点</a:t>
              </a:r>
              <a:endParaRPr lang="en-US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9" name="直接连接符 8"/>
            <p:cNvCxnSpPr/>
            <p:nvPr/>
          </p:nvCxnSpPr>
          <p:spPr>
            <a:xfrm>
              <a:off x="4718517" y="2952015"/>
              <a:ext cx="1" cy="562246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" name="泪滴形 9"/>
            <p:cNvSpPr/>
            <p:nvPr/>
          </p:nvSpPr>
          <p:spPr>
            <a:xfrm rot="2700000" flipV="1">
              <a:off x="4352425" y="2047507"/>
              <a:ext cx="732184" cy="732185"/>
            </a:xfrm>
            <a:prstGeom prst="teardrop">
              <a:avLst>
                <a:gd name="adj" fmla="val 103995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1350" dirty="0">
                <a:cs typeface="+mn-ea"/>
                <a:sym typeface="+mn-lt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3416395" y="3514261"/>
              <a:ext cx="2604245" cy="4616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solidFill>
                    <a:schemeClr val="tx1"/>
                  </a:solidFill>
                  <a:cs typeface="+mn-ea"/>
                  <a:sym typeface="+mn-lt"/>
                </a:rPr>
                <a:t>难点</a:t>
              </a:r>
              <a:endParaRPr lang="en-US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12" name="直接连接符 11"/>
            <p:cNvCxnSpPr/>
            <p:nvPr/>
          </p:nvCxnSpPr>
          <p:spPr>
            <a:xfrm>
              <a:off x="7473484" y="2565506"/>
              <a:ext cx="2" cy="948755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泪滴形 12"/>
            <p:cNvSpPr/>
            <p:nvPr/>
          </p:nvSpPr>
          <p:spPr>
            <a:xfrm rot="2700000" flipV="1">
              <a:off x="7107393" y="1660997"/>
              <a:ext cx="732184" cy="732186"/>
            </a:xfrm>
            <a:prstGeom prst="teardrop">
              <a:avLst>
                <a:gd name="adj" fmla="val 103995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1350" dirty="0">
                <a:cs typeface="+mn-ea"/>
                <a:sym typeface="+mn-lt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6171363" y="3514261"/>
              <a:ext cx="2604245" cy="4616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solidFill>
                    <a:schemeClr val="tx1"/>
                  </a:solidFill>
                  <a:cs typeface="+mn-ea"/>
                  <a:sym typeface="+mn-lt"/>
                </a:rPr>
                <a:t>难点</a:t>
              </a:r>
              <a:endParaRPr lang="en-US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15" name="直接连接符 14"/>
            <p:cNvCxnSpPr/>
            <p:nvPr/>
          </p:nvCxnSpPr>
          <p:spPr>
            <a:xfrm>
              <a:off x="10228459" y="2034809"/>
              <a:ext cx="2" cy="1479456"/>
            </a:xfrm>
            <a:prstGeom prst="line">
              <a:avLst/>
            </a:prstGeom>
            <a:ln w="9525">
              <a:solidFill>
                <a:schemeClr val="accent1"/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" name="泪滴形 15"/>
            <p:cNvSpPr/>
            <p:nvPr/>
          </p:nvSpPr>
          <p:spPr>
            <a:xfrm rot="2700000" flipV="1">
              <a:off x="9862368" y="1130300"/>
              <a:ext cx="732184" cy="732186"/>
            </a:xfrm>
            <a:prstGeom prst="teardrop">
              <a:avLst>
                <a:gd name="adj" fmla="val 10399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1350" dirty="0">
                <a:cs typeface="+mn-ea"/>
                <a:sym typeface="+mn-lt"/>
              </a:endParaRPr>
            </a:p>
          </p:txBody>
        </p:sp>
        <p:sp>
          <p:nvSpPr>
            <p:cNvPr id="17" name="矩形 16"/>
            <p:cNvSpPr/>
            <p:nvPr/>
          </p:nvSpPr>
          <p:spPr>
            <a:xfrm>
              <a:off x="8926338" y="3514265"/>
              <a:ext cx="2604245" cy="46162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难点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任意多边形: 形状 17"/>
            <p:cNvSpPr/>
            <p:nvPr/>
          </p:nvSpPr>
          <p:spPr bwMode="auto">
            <a:xfrm>
              <a:off x="1805668" y="2634109"/>
              <a:ext cx="315740" cy="254956"/>
            </a:xfrm>
            <a:custGeom>
              <a:avLst/>
              <a:gdLst>
                <a:gd name="connsiteX0" fmla="*/ 499361 w 608838"/>
                <a:gd name="connsiteY0" fmla="*/ 285654 h 491629"/>
                <a:gd name="connsiteX1" fmla="*/ 499361 w 608838"/>
                <a:gd name="connsiteY1" fmla="*/ 344437 h 491629"/>
                <a:gd name="connsiteX2" fmla="*/ 558245 w 608838"/>
                <a:gd name="connsiteY2" fmla="*/ 344437 h 491629"/>
                <a:gd name="connsiteX3" fmla="*/ 558245 w 608838"/>
                <a:gd name="connsiteY3" fmla="*/ 285654 h 491629"/>
                <a:gd name="connsiteX4" fmla="*/ 50593 w 608838"/>
                <a:gd name="connsiteY4" fmla="*/ 285654 h 491629"/>
                <a:gd name="connsiteX5" fmla="*/ 50593 w 608838"/>
                <a:gd name="connsiteY5" fmla="*/ 344437 h 491629"/>
                <a:gd name="connsiteX6" fmla="*/ 109477 w 608838"/>
                <a:gd name="connsiteY6" fmla="*/ 344437 h 491629"/>
                <a:gd name="connsiteX7" fmla="*/ 109477 w 608838"/>
                <a:gd name="connsiteY7" fmla="*/ 285654 h 491629"/>
                <a:gd name="connsiteX8" fmla="*/ 324062 w 608838"/>
                <a:gd name="connsiteY8" fmla="*/ 265425 h 491629"/>
                <a:gd name="connsiteX9" fmla="*/ 324062 w 608838"/>
                <a:gd name="connsiteY9" fmla="*/ 329947 h 491629"/>
                <a:gd name="connsiteX10" fmla="*/ 388693 w 608838"/>
                <a:gd name="connsiteY10" fmla="*/ 329947 h 491629"/>
                <a:gd name="connsiteX11" fmla="*/ 388693 w 608838"/>
                <a:gd name="connsiteY11" fmla="*/ 265425 h 491629"/>
                <a:gd name="connsiteX12" fmla="*/ 220144 w 608838"/>
                <a:gd name="connsiteY12" fmla="*/ 265425 h 491629"/>
                <a:gd name="connsiteX13" fmla="*/ 220144 w 608838"/>
                <a:gd name="connsiteY13" fmla="*/ 329947 h 491629"/>
                <a:gd name="connsiteX14" fmla="*/ 284775 w 608838"/>
                <a:gd name="connsiteY14" fmla="*/ 329947 h 491629"/>
                <a:gd name="connsiteX15" fmla="*/ 284775 w 608838"/>
                <a:gd name="connsiteY15" fmla="*/ 265425 h 491629"/>
                <a:gd name="connsiteX16" fmla="*/ 499361 w 608838"/>
                <a:gd name="connsiteY16" fmla="*/ 191225 h 491629"/>
                <a:gd name="connsiteX17" fmla="*/ 499361 w 608838"/>
                <a:gd name="connsiteY17" fmla="*/ 250008 h 491629"/>
                <a:gd name="connsiteX18" fmla="*/ 558245 w 608838"/>
                <a:gd name="connsiteY18" fmla="*/ 250008 h 491629"/>
                <a:gd name="connsiteX19" fmla="*/ 558245 w 608838"/>
                <a:gd name="connsiteY19" fmla="*/ 191225 h 491629"/>
                <a:gd name="connsiteX20" fmla="*/ 50593 w 608838"/>
                <a:gd name="connsiteY20" fmla="*/ 191225 h 491629"/>
                <a:gd name="connsiteX21" fmla="*/ 50593 w 608838"/>
                <a:gd name="connsiteY21" fmla="*/ 250008 h 491629"/>
                <a:gd name="connsiteX22" fmla="*/ 109477 w 608838"/>
                <a:gd name="connsiteY22" fmla="*/ 250008 h 491629"/>
                <a:gd name="connsiteX23" fmla="*/ 109477 w 608838"/>
                <a:gd name="connsiteY23" fmla="*/ 191225 h 491629"/>
                <a:gd name="connsiteX24" fmla="*/ 324062 w 608838"/>
                <a:gd name="connsiteY24" fmla="*/ 161682 h 491629"/>
                <a:gd name="connsiteX25" fmla="*/ 324062 w 608838"/>
                <a:gd name="connsiteY25" fmla="*/ 226204 h 491629"/>
                <a:gd name="connsiteX26" fmla="*/ 388693 w 608838"/>
                <a:gd name="connsiteY26" fmla="*/ 226204 h 491629"/>
                <a:gd name="connsiteX27" fmla="*/ 388693 w 608838"/>
                <a:gd name="connsiteY27" fmla="*/ 161682 h 491629"/>
                <a:gd name="connsiteX28" fmla="*/ 220144 w 608838"/>
                <a:gd name="connsiteY28" fmla="*/ 161682 h 491629"/>
                <a:gd name="connsiteX29" fmla="*/ 220144 w 608838"/>
                <a:gd name="connsiteY29" fmla="*/ 226204 h 491629"/>
                <a:gd name="connsiteX30" fmla="*/ 284775 w 608838"/>
                <a:gd name="connsiteY30" fmla="*/ 226204 h 491629"/>
                <a:gd name="connsiteX31" fmla="*/ 284775 w 608838"/>
                <a:gd name="connsiteY31" fmla="*/ 161682 h 491629"/>
                <a:gd name="connsiteX32" fmla="*/ 499361 w 608838"/>
                <a:gd name="connsiteY32" fmla="*/ 96797 h 491629"/>
                <a:gd name="connsiteX33" fmla="*/ 499361 w 608838"/>
                <a:gd name="connsiteY33" fmla="*/ 155579 h 491629"/>
                <a:gd name="connsiteX34" fmla="*/ 558245 w 608838"/>
                <a:gd name="connsiteY34" fmla="*/ 155579 h 491629"/>
                <a:gd name="connsiteX35" fmla="*/ 558245 w 608838"/>
                <a:gd name="connsiteY35" fmla="*/ 96797 h 491629"/>
                <a:gd name="connsiteX36" fmla="*/ 50593 w 608838"/>
                <a:gd name="connsiteY36" fmla="*/ 96797 h 491629"/>
                <a:gd name="connsiteX37" fmla="*/ 50593 w 608838"/>
                <a:gd name="connsiteY37" fmla="*/ 155579 h 491629"/>
                <a:gd name="connsiteX38" fmla="*/ 109477 w 608838"/>
                <a:gd name="connsiteY38" fmla="*/ 155579 h 491629"/>
                <a:gd name="connsiteX39" fmla="*/ 109477 w 608838"/>
                <a:gd name="connsiteY39" fmla="*/ 96797 h 491629"/>
                <a:gd name="connsiteX40" fmla="*/ 324062 w 608838"/>
                <a:gd name="connsiteY40" fmla="*/ 57938 h 491629"/>
                <a:gd name="connsiteX41" fmla="*/ 324062 w 608838"/>
                <a:gd name="connsiteY41" fmla="*/ 122461 h 491629"/>
                <a:gd name="connsiteX42" fmla="*/ 388693 w 608838"/>
                <a:gd name="connsiteY42" fmla="*/ 122461 h 491629"/>
                <a:gd name="connsiteX43" fmla="*/ 388693 w 608838"/>
                <a:gd name="connsiteY43" fmla="*/ 57938 h 491629"/>
                <a:gd name="connsiteX44" fmla="*/ 220144 w 608838"/>
                <a:gd name="connsiteY44" fmla="*/ 57938 h 491629"/>
                <a:gd name="connsiteX45" fmla="*/ 220144 w 608838"/>
                <a:gd name="connsiteY45" fmla="*/ 122461 h 491629"/>
                <a:gd name="connsiteX46" fmla="*/ 284775 w 608838"/>
                <a:gd name="connsiteY46" fmla="*/ 122461 h 491629"/>
                <a:gd name="connsiteX47" fmla="*/ 284775 w 608838"/>
                <a:gd name="connsiteY47" fmla="*/ 57938 h 491629"/>
                <a:gd name="connsiteX48" fmla="*/ 469401 w 608838"/>
                <a:gd name="connsiteY48" fmla="*/ 44033 h 491629"/>
                <a:gd name="connsiteX49" fmla="*/ 608838 w 608838"/>
                <a:gd name="connsiteY49" fmla="*/ 44033 h 491629"/>
                <a:gd name="connsiteX50" fmla="*/ 608838 w 608838"/>
                <a:gd name="connsiteY50" fmla="*/ 491629 h 491629"/>
                <a:gd name="connsiteX51" fmla="*/ 510950 w 608838"/>
                <a:gd name="connsiteY51" fmla="*/ 491629 h 491629"/>
                <a:gd name="connsiteX52" fmla="*/ 510950 w 608838"/>
                <a:gd name="connsiteY52" fmla="*/ 391651 h 491629"/>
                <a:gd name="connsiteX53" fmla="*/ 469401 w 608838"/>
                <a:gd name="connsiteY53" fmla="*/ 391651 h 491629"/>
                <a:gd name="connsiteX54" fmla="*/ 0 w 608838"/>
                <a:gd name="connsiteY54" fmla="*/ 44033 h 491629"/>
                <a:gd name="connsiteX55" fmla="*/ 139437 w 608838"/>
                <a:gd name="connsiteY55" fmla="*/ 44033 h 491629"/>
                <a:gd name="connsiteX56" fmla="*/ 139437 w 608838"/>
                <a:gd name="connsiteY56" fmla="*/ 391651 h 491629"/>
                <a:gd name="connsiteX57" fmla="*/ 97889 w 608838"/>
                <a:gd name="connsiteY57" fmla="*/ 391651 h 491629"/>
                <a:gd name="connsiteX58" fmla="*/ 97889 w 608838"/>
                <a:gd name="connsiteY58" fmla="*/ 491629 h 491629"/>
                <a:gd name="connsiteX59" fmla="*/ 0 w 608838"/>
                <a:gd name="connsiteY59" fmla="*/ 491629 h 491629"/>
                <a:gd name="connsiteX60" fmla="*/ 164558 w 608838"/>
                <a:gd name="connsiteY60" fmla="*/ 0 h 491629"/>
                <a:gd name="connsiteX61" fmla="*/ 444279 w 608838"/>
                <a:gd name="connsiteY61" fmla="*/ 0 h 491629"/>
                <a:gd name="connsiteX62" fmla="*/ 444279 w 608838"/>
                <a:gd name="connsiteY62" fmla="*/ 491629 h 491629"/>
                <a:gd name="connsiteX63" fmla="*/ 336781 w 608838"/>
                <a:gd name="connsiteY63" fmla="*/ 491629 h 491629"/>
                <a:gd name="connsiteX64" fmla="*/ 336781 w 608838"/>
                <a:gd name="connsiteY64" fmla="*/ 381866 h 491629"/>
                <a:gd name="connsiteX65" fmla="*/ 272056 w 608838"/>
                <a:gd name="connsiteY65" fmla="*/ 381866 h 491629"/>
                <a:gd name="connsiteX66" fmla="*/ 272056 w 608838"/>
                <a:gd name="connsiteY66" fmla="*/ 491629 h 491629"/>
                <a:gd name="connsiteX67" fmla="*/ 164558 w 608838"/>
                <a:gd name="connsiteY67" fmla="*/ 491629 h 49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08838" h="491629">
                  <a:moveTo>
                    <a:pt x="499361" y="285654"/>
                  </a:moveTo>
                  <a:lnTo>
                    <a:pt x="499361" y="344437"/>
                  </a:lnTo>
                  <a:lnTo>
                    <a:pt x="558245" y="344437"/>
                  </a:lnTo>
                  <a:lnTo>
                    <a:pt x="558245" y="285654"/>
                  </a:lnTo>
                  <a:close/>
                  <a:moveTo>
                    <a:pt x="50593" y="285654"/>
                  </a:moveTo>
                  <a:lnTo>
                    <a:pt x="50593" y="344437"/>
                  </a:lnTo>
                  <a:lnTo>
                    <a:pt x="109477" y="344437"/>
                  </a:lnTo>
                  <a:lnTo>
                    <a:pt x="109477" y="285654"/>
                  </a:lnTo>
                  <a:close/>
                  <a:moveTo>
                    <a:pt x="324062" y="265425"/>
                  </a:moveTo>
                  <a:lnTo>
                    <a:pt x="324062" y="329947"/>
                  </a:lnTo>
                  <a:lnTo>
                    <a:pt x="388693" y="329947"/>
                  </a:lnTo>
                  <a:lnTo>
                    <a:pt x="388693" y="265425"/>
                  </a:lnTo>
                  <a:close/>
                  <a:moveTo>
                    <a:pt x="220144" y="265425"/>
                  </a:moveTo>
                  <a:lnTo>
                    <a:pt x="220144" y="329947"/>
                  </a:lnTo>
                  <a:lnTo>
                    <a:pt x="284775" y="329947"/>
                  </a:lnTo>
                  <a:lnTo>
                    <a:pt x="284775" y="265425"/>
                  </a:lnTo>
                  <a:close/>
                  <a:moveTo>
                    <a:pt x="499361" y="191225"/>
                  </a:moveTo>
                  <a:lnTo>
                    <a:pt x="499361" y="250008"/>
                  </a:lnTo>
                  <a:lnTo>
                    <a:pt x="558245" y="250008"/>
                  </a:lnTo>
                  <a:lnTo>
                    <a:pt x="558245" y="191225"/>
                  </a:lnTo>
                  <a:close/>
                  <a:moveTo>
                    <a:pt x="50593" y="191225"/>
                  </a:moveTo>
                  <a:lnTo>
                    <a:pt x="50593" y="250008"/>
                  </a:lnTo>
                  <a:lnTo>
                    <a:pt x="109477" y="250008"/>
                  </a:lnTo>
                  <a:lnTo>
                    <a:pt x="109477" y="191225"/>
                  </a:lnTo>
                  <a:close/>
                  <a:moveTo>
                    <a:pt x="324062" y="161682"/>
                  </a:moveTo>
                  <a:lnTo>
                    <a:pt x="324062" y="226204"/>
                  </a:lnTo>
                  <a:lnTo>
                    <a:pt x="388693" y="226204"/>
                  </a:lnTo>
                  <a:lnTo>
                    <a:pt x="388693" y="161682"/>
                  </a:lnTo>
                  <a:close/>
                  <a:moveTo>
                    <a:pt x="220144" y="161682"/>
                  </a:moveTo>
                  <a:lnTo>
                    <a:pt x="220144" y="226204"/>
                  </a:lnTo>
                  <a:lnTo>
                    <a:pt x="284775" y="226204"/>
                  </a:lnTo>
                  <a:lnTo>
                    <a:pt x="284775" y="161682"/>
                  </a:lnTo>
                  <a:close/>
                  <a:moveTo>
                    <a:pt x="499361" y="96797"/>
                  </a:moveTo>
                  <a:lnTo>
                    <a:pt x="499361" y="155579"/>
                  </a:lnTo>
                  <a:lnTo>
                    <a:pt x="558245" y="155579"/>
                  </a:lnTo>
                  <a:lnTo>
                    <a:pt x="558245" y="96797"/>
                  </a:lnTo>
                  <a:close/>
                  <a:moveTo>
                    <a:pt x="50593" y="96797"/>
                  </a:moveTo>
                  <a:lnTo>
                    <a:pt x="50593" y="155579"/>
                  </a:lnTo>
                  <a:lnTo>
                    <a:pt x="109477" y="155579"/>
                  </a:lnTo>
                  <a:lnTo>
                    <a:pt x="109477" y="96797"/>
                  </a:lnTo>
                  <a:close/>
                  <a:moveTo>
                    <a:pt x="324062" y="57938"/>
                  </a:moveTo>
                  <a:lnTo>
                    <a:pt x="324062" y="122461"/>
                  </a:lnTo>
                  <a:lnTo>
                    <a:pt x="388693" y="122461"/>
                  </a:lnTo>
                  <a:lnTo>
                    <a:pt x="388693" y="57938"/>
                  </a:lnTo>
                  <a:close/>
                  <a:moveTo>
                    <a:pt x="220144" y="57938"/>
                  </a:moveTo>
                  <a:lnTo>
                    <a:pt x="220144" y="122461"/>
                  </a:lnTo>
                  <a:lnTo>
                    <a:pt x="284775" y="122461"/>
                  </a:lnTo>
                  <a:lnTo>
                    <a:pt x="284775" y="57938"/>
                  </a:lnTo>
                  <a:close/>
                  <a:moveTo>
                    <a:pt x="469401" y="44033"/>
                  </a:moveTo>
                  <a:lnTo>
                    <a:pt x="608838" y="44033"/>
                  </a:lnTo>
                  <a:lnTo>
                    <a:pt x="608838" y="491629"/>
                  </a:lnTo>
                  <a:lnTo>
                    <a:pt x="510950" y="491629"/>
                  </a:lnTo>
                  <a:lnTo>
                    <a:pt x="510950" y="391651"/>
                  </a:lnTo>
                  <a:lnTo>
                    <a:pt x="469401" y="391651"/>
                  </a:lnTo>
                  <a:close/>
                  <a:moveTo>
                    <a:pt x="0" y="44033"/>
                  </a:moveTo>
                  <a:lnTo>
                    <a:pt x="139437" y="44033"/>
                  </a:lnTo>
                  <a:lnTo>
                    <a:pt x="139437" y="391651"/>
                  </a:lnTo>
                  <a:lnTo>
                    <a:pt x="97889" y="391651"/>
                  </a:lnTo>
                  <a:lnTo>
                    <a:pt x="97889" y="491629"/>
                  </a:lnTo>
                  <a:lnTo>
                    <a:pt x="0" y="491629"/>
                  </a:lnTo>
                  <a:close/>
                  <a:moveTo>
                    <a:pt x="164558" y="0"/>
                  </a:moveTo>
                  <a:lnTo>
                    <a:pt x="444279" y="0"/>
                  </a:lnTo>
                  <a:lnTo>
                    <a:pt x="444279" y="491629"/>
                  </a:lnTo>
                  <a:lnTo>
                    <a:pt x="336781" y="491629"/>
                  </a:lnTo>
                  <a:lnTo>
                    <a:pt x="336781" y="381866"/>
                  </a:lnTo>
                  <a:lnTo>
                    <a:pt x="272056" y="381866"/>
                  </a:lnTo>
                  <a:lnTo>
                    <a:pt x="272056" y="491629"/>
                  </a:lnTo>
                  <a:lnTo>
                    <a:pt x="164558" y="4916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9" name="任意多边形: 形状 18"/>
            <p:cNvSpPr/>
            <p:nvPr/>
          </p:nvSpPr>
          <p:spPr bwMode="auto">
            <a:xfrm>
              <a:off x="4560636" y="2288458"/>
              <a:ext cx="315740" cy="254956"/>
            </a:xfrm>
            <a:custGeom>
              <a:avLst/>
              <a:gdLst>
                <a:gd name="connsiteX0" fmla="*/ 499361 w 608838"/>
                <a:gd name="connsiteY0" fmla="*/ 285654 h 491629"/>
                <a:gd name="connsiteX1" fmla="*/ 499361 w 608838"/>
                <a:gd name="connsiteY1" fmla="*/ 344437 h 491629"/>
                <a:gd name="connsiteX2" fmla="*/ 558245 w 608838"/>
                <a:gd name="connsiteY2" fmla="*/ 344437 h 491629"/>
                <a:gd name="connsiteX3" fmla="*/ 558245 w 608838"/>
                <a:gd name="connsiteY3" fmla="*/ 285654 h 491629"/>
                <a:gd name="connsiteX4" fmla="*/ 50593 w 608838"/>
                <a:gd name="connsiteY4" fmla="*/ 285654 h 491629"/>
                <a:gd name="connsiteX5" fmla="*/ 50593 w 608838"/>
                <a:gd name="connsiteY5" fmla="*/ 344437 h 491629"/>
                <a:gd name="connsiteX6" fmla="*/ 109477 w 608838"/>
                <a:gd name="connsiteY6" fmla="*/ 344437 h 491629"/>
                <a:gd name="connsiteX7" fmla="*/ 109477 w 608838"/>
                <a:gd name="connsiteY7" fmla="*/ 285654 h 491629"/>
                <a:gd name="connsiteX8" fmla="*/ 324062 w 608838"/>
                <a:gd name="connsiteY8" fmla="*/ 265425 h 491629"/>
                <a:gd name="connsiteX9" fmla="*/ 324062 w 608838"/>
                <a:gd name="connsiteY9" fmla="*/ 329947 h 491629"/>
                <a:gd name="connsiteX10" fmla="*/ 388693 w 608838"/>
                <a:gd name="connsiteY10" fmla="*/ 329947 h 491629"/>
                <a:gd name="connsiteX11" fmla="*/ 388693 w 608838"/>
                <a:gd name="connsiteY11" fmla="*/ 265425 h 491629"/>
                <a:gd name="connsiteX12" fmla="*/ 220144 w 608838"/>
                <a:gd name="connsiteY12" fmla="*/ 265425 h 491629"/>
                <a:gd name="connsiteX13" fmla="*/ 220144 w 608838"/>
                <a:gd name="connsiteY13" fmla="*/ 329947 h 491629"/>
                <a:gd name="connsiteX14" fmla="*/ 284775 w 608838"/>
                <a:gd name="connsiteY14" fmla="*/ 329947 h 491629"/>
                <a:gd name="connsiteX15" fmla="*/ 284775 w 608838"/>
                <a:gd name="connsiteY15" fmla="*/ 265425 h 491629"/>
                <a:gd name="connsiteX16" fmla="*/ 499361 w 608838"/>
                <a:gd name="connsiteY16" fmla="*/ 191225 h 491629"/>
                <a:gd name="connsiteX17" fmla="*/ 499361 w 608838"/>
                <a:gd name="connsiteY17" fmla="*/ 250008 h 491629"/>
                <a:gd name="connsiteX18" fmla="*/ 558245 w 608838"/>
                <a:gd name="connsiteY18" fmla="*/ 250008 h 491629"/>
                <a:gd name="connsiteX19" fmla="*/ 558245 w 608838"/>
                <a:gd name="connsiteY19" fmla="*/ 191225 h 491629"/>
                <a:gd name="connsiteX20" fmla="*/ 50593 w 608838"/>
                <a:gd name="connsiteY20" fmla="*/ 191225 h 491629"/>
                <a:gd name="connsiteX21" fmla="*/ 50593 w 608838"/>
                <a:gd name="connsiteY21" fmla="*/ 250008 h 491629"/>
                <a:gd name="connsiteX22" fmla="*/ 109477 w 608838"/>
                <a:gd name="connsiteY22" fmla="*/ 250008 h 491629"/>
                <a:gd name="connsiteX23" fmla="*/ 109477 w 608838"/>
                <a:gd name="connsiteY23" fmla="*/ 191225 h 491629"/>
                <a:gd name="connsiteX24" fmla="*/ 324062 w 608838"/>
                <a:gd name="connsiteY24" fmla="*/ 161682 h 491629"/>
                <a:gd name="connsiteX25" fmla="*/ 324062 w 608838"/>
                <a:gd name="connsiteY25" fmla="*/ 226204 h 491629"/>
                <a:gd name="connsiteX26" fmla="*/ 388693 w 608838"/>
                <a:gd name="connsiteY26" fmla="*/ 226204 h 491629"/>
                <a:gd name="connsiteX27" fmla="*/ 388693 w 608838"/>
                <a:gd name="connsiteY27" fmla="*/ 161682 h 491629"/>
                <a:gd name="connsiteX28" fmla="*/ 220144 w 608838"/>
                <a:gd name="connsiteY28" fmla="*/ 161682 h 491629"/>
                <a:gd name="connsiteX29" fmla="*/ 220144 w 608838"/>
                <a:gd name="connsiteY29" fmla="*/ 226204 h 491629"/>
                <a:gd name="connsiteX30" fmla="*/ 284775 w 608838"/>
                <a:gd name="connsiteY30" fmla="*/ 226204 h 491629"/>
                <a:gd name="connsiteX31" fmla="*/ 284775 w 608838"/>
                <a:gd name="connsiteY31" fmla="*/ 161682 h 491629"/>
                <a:gd name="connsiteX32" fmla="*/ 499361 w 608838"/>
                <a:gd name="connsiteY32" fmla="*/ 96797 h 491629"/>
                <a:gd name="connsiteX33" fmla="*/ 499361 w 608838"/>
                <a:gd name="connsiteY33" fmla="*/ 155579 h 491629"/>
                <a:gd name="connsiteX34" fmla="*/ 558245 w 608838"/>
                <a:gd name="connsiteY34" fmla="*/ 155579 h 491629"/>
                <a:gd name="connsiteX35" fmla="*/ 558245 w 608838"/>
                <a:gd name="connsiteY35" fmla="*/ 96797 h 491629"/>
                <a:gd name="connsiteX36" fmla="*/ 50593 w 608838"/>
                <a:gd name="connsiteY36" fmla="*/ 96797 h 491629"/>
                <a:gd name="connsiteX37" fmla="*/ 50593 w 608838"/>
                <a:gd name="connsiteY37" fmla="*/ 155579 h 491629"/>
                <a:gd name="connsiteX38" fmla="*/ 109477 w 608838"/>
                <a:gd name="connsiteY38" fmla="*/ 155579 h 491629"/>
                <a:gd name="connsiteX39" fmla="*/ 109477 w 608838"/>
                <a:gd name="connsiteY39" fmla="*/ 96797 h 491629"/>
                <a:gd name="connsiteX40" fmla="*/ 324062 w 608838"/>
                <a:gd name="connsiteY40" fmla="*/ 57938 h 491629"/>
                <a:gd name="connsiteX41" fmla="*/ 324062 w 608838"/>
                <a:gd name="connsiteY41" fmla="*/ 122461 h 491629"/>
                <a:gd name="connsiteX42" fmla="*/ 388693 w 608838"/>
                <a:gd name="connsiteY42" fmla="*/ 122461 h 491629"/>
                <a:gd name="connsiteX43" fmla="*/ 388693 w 608838"/>
                <a:gd name="connsiteY43" fmla="*/ 57938 h 491629"/>
                <a:gd name="connsiteX44" fmla="*/ 220144 w 608838"/>
                <a:gd name="connsiteY44" fmla="*/ 57938 h 491629"/>
                <a:gd name="connsiteX45" fmla="*/ 220144 w 608838"/>
                <a:gd name="connsiteY45" fmla="*/ 122461 h 491629"/>
                <a:gd name="connsiteX46" fmla="*/ 284775 w 608838"/>
                <a:gd name="connsiteY46" fmla="*/ 122461 h 491629"/>
                <a:gd name="connsiteX47" fmla="*/ 284775 w 608838"/>
                <a:gd name="connsiteY47" fmla="*/ 57938 h 491629"/>
                <a:gd name="connsiteX48" fmla="*/ 469401 w 608838"/>
                <a:gd name="connsiteY48" fmla="*/ 44033 h 491629"/>
                <a:gd name="connsiteX49" fmla="*/ 608838 w 608838"/>
                <a:gd name="connsiteY49" fmla="*/ 44033 h 491629"/>
                <a:gd name="connsiteX50" fmla="*/ 608838 w 608838"/>
                <a:gd name="connsiteY50" fmla="*/ 491629 h 491629"/>
                <a:gd name="connsiteX51" fmla="*/ 510950 w 608838"/>
                <a:gd name="connsiteY51" fmla="*/ 491629 h 491629"/>
                <a:gd name="connsiteX52" fmla="*/ 510950 w 608838"/>
                <a:gd name="connsiteY52" fmla="*/ 391651 h 491629"/>
                <a:gd name="connsiteX53" fmla="*/ 469401 w 608838"/>
                <a:gd name="connsiteY53" fmla="*/ 391651 h 491629"/>
                <a:gd name="connsiteX54" fmla="*/ 0 w 608838"/>
                <a:gd name="connsiteY54" fmla="*/ 44033 h 491629"/>
                <a:gd name="connsiteX55" fmla="*/ 139437 w 608838"/>
                <a:gd name="connsiteY55" fmla="*/ 44033 h 491629"/>
                <a:gd name="connsiteX56" fmla="*/ 139437 w 608838"/>
                <a:gd name="connsiteY56" fmla="*/ 391651 h 491629"/>
                <a:gd name="connsiteX57" fmla="*/ 97889 w 608838"/>
                <a:gd name="connsiteY57" fmla="*/ 391651 h 491629"/>
                <a:gd name="connsiteX58" fmla="*/ 97889 w 608838"/>
                <a:gd name="connsiteY58" fmla="*/ 491629 h 491629"/>
                <a:gd name="connsiteX59" fmla="*/ 0 w 608838"/>
                <a:gd name="connsiteY59" fmla="*/ 491629 h 491629"/>
                <a:gd name="connsiteX60" fmla="*/ 164558 w 608838"/>
                <a:gd name="connsiteY60" fmla="*/ 0 h 491629"/>
                <a:gd name="connsiteX61" fmla="*/ 444279 w 608838"/>
                <a:gd name="connsiteY61" fmla="*/ 0 h 491629"/>
                <a:gd name="connsiteX62" fmla="*/ 444279 w 608838"/>
                <a:gd name="connsiteY62" fmla="*/ 491629 h 491629"/>
                <a:gd name="connsiteX63" fmla="*/ 336781 w 608838"/>
                <a:gd name="connsiteY63" fmla="*/ 491629 h 491629"/>
                <a:gd name="connsiteX64" fmla="*/ 336781 w 608838"/>
                <a:gd name="connsiteY64" fmla="*/ 381866 h 491629"/>
                <a:gd name="connsiteX65" fmla="*/ 272056 w 608838"/>
                <a:gd name="connsiteY65" fmla="*/ 381866 h 491629"/>
                <a:gd name="connsiteX66" fmla="*/ 272056 w 608838"/>
                <a:gd name="connsiteY66" fmla="*/ 491629 h 491629"/>
                <a:gd name="connsiteX67" fmla="*/ 164558 w 608838"/>
                <a:gd name="connsiteY67" fmla="*/ 491629 h 49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08838" h="491629">
                  <a:moveTo>
                    <a:pt x="499361" y="285654"/>
                  </a:moveTo>
                  <a:lnTo>
                    <a:pt x="499361" y="344437"/>
                  </a:lnTo>
                  <a:lnTo>
                    <a:pt x="558245" y="344437"/>
                  </a:lnTo>
                  <a:lnTo>
                    <a:pt x="558245" y="285654"/>
                  </a:lnTo>
                  <a:close/>
                  <a:moveTo>
                    <a:pt x="50593" y="285654"/>
                  </a:moveTo>
                  <a:lnTo>
                    <a:pt x="50593" y="344437"/>
                  </a:lnTo>
                  <a:lnTo>
                    <a:pt x="109477" y="344437"/>
                  </a:lnTo>
                  <a:lnTo>
                    <a:pt x="109477" y="285654"/>
                  </a:lnTo>
                  <a:close/>
                  <a:moveTo>
                    <a:pt x="324062" y="265425"/>
                  </a:moveTo>
                  <a:lnTo>
                    <a:pt x="324062" y="329947"/>
                  </a:lnTo>
                  <a:lnTo>
                    <a:pt x="388693" y="329947"/>
                  </a:lnTo>
                  <a:lnTo>
                    <a:pt x="388693" y="265425"/>
                  </a:lnTo>
                  <a:close/>
                  <a:moveTo>
                    <a:pt x="220144" y="265425"/>
                  </a:moveTo>
                  <a:lnTo>
                    <a:pt x="220144" y="329947"/>
                  </a:lnTo>
                  <a:lnTo>
                    <a:pt x="284775" y="329947"/>
                  </a:lnTo>
                  <a:lnTo>
                    <a:pt x="284775" y="265425"/>
                  </a:lnTo>
                  <a:close/>
                  <a:moveTo>
                    <a:pt x="499361" y="191225"/>
                  </a:moveTo>
                  <a:lnTo>
                    <a:pt x="499361" y="250008"/>
                  </a:lnTo>
                  <a:lnTo>
                    <a:pt x="558245" y="250008"/>
                  </a:lnTo>
                  <a:lnTo>
                    <a:pt x="558245" y="191225"/>
                  </a:lnTo>
                  <a:close/>
                  <a:moveTo>
                    <a:pt x="50593" y="191225"/>
                  </a:moveTo>
                  <a:lnTo>
                    <a:pt x="50593" y="250008"/>
                  </a:lnTo>
                  <a:lnTo>
                    <a:pt x="109477" y="250008"/>
                  </a:lnTo>
                  <a:lnTo>
                    <a:pt x="109477" y="191225"/>
                  </a:lnTo>
                  <a:close/>
                  <a:moveTo>
                    <a:pt x="324062" y="161682"/>
                  </a:moveTo>
                  <a:lnTo>
                    <a:pt x="324062" y="226204"/>
                  </a:lnTo>
                  <a:lnTo>
                    <a:pt x="388693" y="226204"/>
                  </a:lnTo>
                  <a:lnTo>
                    <a:pt x="388693" y="161682"/>
                  </a:lnTo>
                  <a:close/>
                  <a:moveTo>
                    <a:pt x="220144" y="161682"/>
                  </a:moveTo>
                  <a:lnTo>
                    <a:pt x="220144" y="226204"/>
                  </a:lnTo>
                  <a:lnTo>
                    <a:pt x="284775" y="226204"/>
                  </a:lnTo>
                  <a:lnTo>
                    <a:pt x="284775" y="161682"/>
                  </a:lnTo>
                  <a:close/>
                  <a:moveTo>
                    <a:pt x="499361" y="96797"/>
                  </a:moveTo>
                  <a:lnTo>
                    <a:pt x="499361" y="155579"/>
                  </a:lnTo>
                  <a:lnTo>
                    <a:pt x="558245" y="155579"/>
                  </a:lnTo>
                  <a:lnTo>
                    <a:pt x="558245" y="96797"/>
                  </a:lnTo>
                  <a:close/>
                  <a:moveTo>
                    <a:pt x="50593" y="96797"/>
                  </a:moveTo>
                  <a:lnTo>
                    <a:pt x="50593" y="155579"/>
                  </a:lnTo>
                  <a:lnTo>
                    <a:pt x="109477" y="155579"/>
                  </a:lnTo>
                  <a:lnTo>
                    <a:pt x="109477" y="96797"/>
                  </a:lnTo>
                  <a:close/>
                  <a:moveTo>
                    <a:pt x="324062" y="57938"/>
                  </a:moveTo>
                  <a:lnTo>
                    <a:pt x="324062" y="122461"/>
                  </a:lnTo>
                  <a:lnTo>
                    <a:pt x="388693" y="122461"/>
                  </a:lnTo>
                  <a:lnTo>
                    <a:pt x="388693" y="57938"/>
                  </a:lnTo>
                  <a:close/>
                  <a:moveTo>
                    <a:pt x="220144" y="57938"/>
                  </a:moveTo>
                  <a:lnTo>
                    <a:pt x="220144" y="122461"/>
                  </a:lnTo>
                  <a:lnTo>
                    <a:pt x="284775" y="122461"/>
                  </a:lnTo>
                  <a:lnTo>
                    <a:pt x="284775" y="57938"/>
                  </a:lnTo>
                  <a:close/>
                  <a:moveTo>
                    <a:pt x="469401" y="44033"/>
                  </a:moveTo>
                  <a:lnTo>
                    <a:pt x="608838" y="44033"/>
                  </a:lnTo>
                  <a:lnTo>
                    <a:pt x="608838" y="491629"/>
                  </a:lnTo>
                  <a:lnTo>
                    <a:pt x="510950" y="491629"/>
                  </a:lnTo>
                  <a:lnTo>
                    <a:pt x="510950" y="391651"/>
                  </a:lnTo>
                  <a:lnTo>
                    <a:pt x="469401" y="391651"/>
                  </a:lnTo>
                  <a:close/>
                  <a:moveTo>
                    <a:pt x="0" y="44033"/>
                  </a:moveTo>
                  <a:lnTo>
                    <a:pt x="139437" y="44033"/>
                  </a:lnTo>
                  <a:lnTo>
                    <a:pt x="139437" y="391651"/>
                  </a:lnTo>
                  <a:lnTo>
                    <a:pt x="97889" y="391651"/>
                  </a:lnTo>
                  <a:lnTo>
                    <a:pt x="97889" y="491629"/>
                  </a:lnTo>
                  <a:lnTo>
                    <a:pt x="0" y="491629"/>
                  </a:lnTo>
                  <a:close/>
                  <a:moveTo>
                    <a:pt x="164558" y="0"/>
                  </a:moveTo>
                  <a:lnTo>
                    <a:pt x="444279" y="0"/>
                  </a:lnTo>
                  <a:lnTo>
                    <a:pt x="444279" y="491629"/>
                  </a:lnTo>
                  <a:lnTo>
                    <a:pt x="336781" y="491629"/>
                  </a:lnTo>
                  <a:lnTo>
                    <a:pt x="336781" y="381866"/>
                  </a:lnTo>
                  <a:lnTo>
                    <a:pt x="272056" y="381866"/>
                  </a:lnTo>
                  <a:lnTo>
                    <a:pt x="272056" y="491629"/>
                  </a:lnTo>
                  <a:lnTo>
                    <a:pt x="164558" y="4916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0" name="任意多边形: 形状 19"/>
            <p:cNvSpPr/>
            <p:nvPr/>
          </p:nvSpPr>
          <p:spPr bwMode="auto">
            <a:xfrm>
              <a:off x="7315611" y="1914080"/>
              <a:ext cx="315740" cy="254956"/>
            </a:xfrm>
            <a:custGeom>
              <a:avLst/>
              <a:gdLst>
                <a:gd name="connsiteX0" fmla="*/ 499361 w 608838"/>
                <a:gd name="connsiteY0" fmla="*/ 285654 h 491629"/>
                <a:gd name="connsiteX1" fmla="*/ 499361 w 608838"/>
                <a:gd name="connsiteY1" fmla="*/ 344437 h 491629"/>
                <a:gd name="connsiteX2" fmla="*/ 558245 w 608838"/>
                <a:gd name="connsiteY2" fmla="*/ 344437 h 491629"/>
                <a:gd name="connsiteX3" fmla="*/ 558245 w 608838"/>
                <a:gd name="connsiteY3" fmla="*/ 285654 h 491629"/>
                <a:gd name="connsiteX4" fmla="*/ 50593 w 608838"/>
                <a:gd name="connsiteY4" fmla="*/ 285654 h 491629"/>
                <a:gd name="connsiteX5" fmla="*/ 50593 w 608838"/>
                <a:gd name="connsiteY5" fmla="*/ 344437 h 491629"/>
                <a:gd name="connsiteX6" fmla="*/ 109477 w 608838"/>
                <a:gd name="connsiteY6" fmla="*/ 344437 h 491629"/>
                <a:gd name="connsiteX7" fmla="*/ 109477 w 608838"/>
                <a:gd name="connsiteY7" fmla="*/ 285654 h 491629"/>
                <a:gd name="connsiteX8" fmla="*/ 324062 w 608838"/>
                <a:gd name="connsiteY8" fmla="*/ 265425 h 491629"/>
                <a:gd name="connsiteX9" fmla="*/ 324062 w 608838"/>
                <a:gd name="connsiteY9" fmla="*/ 329947 h 491629"/>
                <a:gd name="connsiteX10" fmla="*/ 388693 w 608838"/>
                <a:gd name="connsiteY10" fmla="*/ 329947 h 491629"/>
                <a:gd name="connsiteX11" fmla="*/ 388693 w 608838"/>
                <a:gd name="connsiteY11" fmla="*/ 265425 h 491629"/>
                <a:gd name="connsiteX12" fmla="*/ 220144 w 608838"/>
                <a:gd name="connsiteY12" fmla="*/ 265425 h 491629"/>
                <a:gd name="connsiteX13" fmla="*/ 220144 w 608838"/>
                <a:gd name="connsiteY13" fmla="*/ 329947 h 491629"/>
                <a:gd name="connsiteX14" fmla="*/ 284775 w 608838"/>
                <a:gd name="connsiteY14" fmla="*/ 329947 h 491629"/>
                <a:gd name="connsiteX15" fmla="*/ 284775 w 608838"/>
                <a:gd name="connsiteY15" fmla="*/ 265425 h 491629"/>
                <a:gd name="connsiteX16" fmla="*/ 499361 w 608838"/>
                <a:gd name="connsiteY16" fmla="*/ 191225 h 491629"/>
                <a:gd name="connsiteX17" fmla="*/ 499361 w 608838"/>
                <a:gd name="connsiteY17" fmla="*/ 250008 h 491629"/>
                <a:gd name="connsiteX18" fmla="*/ 558245 w 608838"/>
                <a:gd name="connsiteY18" fmla="*/ 250008 h 491629"/>
                <a:gd name="connsiteX19" fmla="*/ 558245 w 608838"/>
                <a:gd name="connsiteY19" fmla="*/ 191225 h 491629"/>
                <a:gd name="connsiteX20" fmla="*/ 50593 w 608838"/>
                <a:gd name="connsiteY20" fmla="*/ 191225 h 491629"/>
                <a:gd name="connsiteX21" fmla="*/ 50593 w 608838"/>
                <a:gd name="connsiteY21" fmla="*/ 250008 h 491629"/>
                <a:gd name="connsiteX22" fmla="*/ 109477 w 608838"/>
                <a:gd name="connsiteY22" fmla="*/ 250008 h 491629"/>
                <a:gd name="connsiteX23" fmla="*/ 109477 w 608838"/>
                <a:gd name="connsiteY23" fmla="*/ 191225 h 491629"/>
                <a:gd name="connsiteX24" fmla="*/ 324062 w 608838"/>
                <a:gd name="connsiteY24" fmla="*/ 161682 h 491629"/>
                <a:gd name="connsiteX25" fmla="*/ 324062 w 608838"/>
                <a:gd name="connsiteY25" fmla="*/ 226204 h 491629"/>
                <a:gd name="connsiteX26" fmla="*/ 388693 w 608838"/>
                <a:gd name="connsiteY26" fmla="*/ 226204 h 491629"/>
                <a:gd name="connsiteX27" fmla="*/ 388693 w 608838"/>
                <a:gd name="connsiteY27" fmla="*/ 161682 h 491629"/>
                <a:gd name="connsiteX28" fmla="*/ 220144 w 608838"/>
                <a:gd name="connsiteY28" fmla="*/ 161682 h 491629"/>
                <a:gd name="connsiteX29" fmla="*/ 220144 w 608838"/>
                <a:gd name="connsiteY29" fmla="*/ 226204 h 491629"/>
                <a:gd name="connsiteX30" fmla="*/ 284775 w 608838"/>
                <a:gd name="connsiteY30" fmla="*/ 226204 h 491629"/>
                <a:gd name="connsiteX31" fmla="*/ 284775 w 608838"/>
                <a:gd name="connsiteY31" fmla="*/ 161682 h 491629"/>
                <a:gd name="connsiteX32" fmla="*/ 499361 w 608838"/>
                <a:gd name="connsiteY32" fmla="*/ 96797 h 491629"/>
                <a:gd name="connsiteX33" fmla="*/ 499361 w 608838"/>
                <a:gd name="connsiteY33" fmla="*/ 155579 h 491629"/>
                <a:gd name="connsiteX34" fmla="*/ 558245 w 608838"/>
                <a:gd name="connsiteY34" fmla="*/ 155579 h 491629"/>
                <a:gd name="connsiteX35" fmla="*/ 558245 w 608838"/>
                <a:gd name="connsiteY35" fmla="*/ 96797 h 491629"/>
                <a:gd name="connsiteX36" fmla="*/ 50593 w 608838"/>
                <a:gd name="connsiteY36" fmla="*/ 96797 h 491629"/>
                <a:gd name="connsiteX37" fmla="*/ 50593 w 608838"/>
                <a:gd name="connsiteY37" fmla="*/ 155579 h 491629"/>
                <a:gd name="connsiteX38" fmla="*/ 109477 w 608838"/>
                <a:gd name="connsiteY38" fmla="*/ 155579 h 491629"/>
                <a:gd name="connsiteX39" fmla="*/ 109477 w 608838"/>
                <a:gd name="connsiteY39" fmla="*/ 96797 h 491629"/>
                <a:gd name="connsiteX40" fmla="*/ 324062 w 608838"/>
                <a:gd name="connsiteY40" fmla="*/ 57938 h 491629"/>
                <a:gd name="connsiteX41" fmla="*/ 324062 w 608838"/>
                <a:gd name="connsiteY41" fmla="*/ 122461 h 491629"/>
                <a:gd name="connsiteX42" fmla="*/ 388693 w 608838"/>
                <a:gd name="connsiteY42" fmla="*/ 122461 h 491629"/>
                <a:gd name="connsiteX43" fmla="*/ 388693 w 608838"/>
                <a:gd name="connsiteY43" fmla="*/ 57938 h 491629"/>
                <a:gd name="connsiteX44" fmla="*/ 220144 w 608838"/>
                <a:gd name="connsiteY44" fmla="*/ 57938 h 491629"/>
                <a:gd name="connsiteX45" fmla="*/ 220144 w 608838"/>
                <a:gd name="connsiteY45" fmla="*/ 122461 h 491629"/>
                <a:gd name="connsiteX46" fmla="*/ 284775 w 608838"/>
                <a:gd name="connsiteY46" fmla="*/ 122461 h 491629"/>
                <a:gd name="connsiteX47" fmla="*/ 284775 w 608838"/>
                <a:gd name="connsiteY47" fmla="*/ 57938 h 491629"/>
                <a:gd name="connsiteX48" fmla="*/ 469401 w 608838"/>
                <a:gd name="connsiteY48" fmla="*/ 44033 h 491629"/>
                <a:gd name="connsiteX49" fmla="*/ 608838 w 608838"/>
                <a:gd name="connsiteY49" fmla="*/ 44033 h 491629"/>
                <a:gd name="connsiteX50" fmla="*/ 608838 w 608838"/>
                <a:gd name="connsiteY50" fmla="*/ 491629 h 491629"/>
                <a:gd name="connsiteX51" fmla="*/ 510950 w 608838"/>
                <a:gd name="connsiteY51" fmla="*/ 491629 h 491629"/>
                <a:gd name="connsiteX52" fmla="*/ 510950 w 608838"/>
                <a:gd name="connsiteY52" fmla="*/ 391651 h 491629"/>
                <a:gd name="connsiteX53" fmla="*/ 469401 w 608838"/>
                <a:gd name="connsiteY53" fmla="*/ 391651 h 491629"/>
                <a:gd name="connsiteX54" fmla="*/ 0 w 608838"/>
                <a:gd name="connsiteY54" fmla="*/ 44033 h 491629"/>
                <a:gd name="connsiteX55" fmla="*/ 139437 w 608838"/>
                <a:gd name="connsiteY55" fmla="*/ 44033 h 491629"/>
                <a:gd name="connsiteX56" fmla="*/ 139437 w 608838"/>
                <a:gd name="connsiteY56" fmla="*/ 391651 h 491629"/>
                <a:gd name="connsiteX57" fmla="*/ 97889 w 608838"/>
                <a:gd name="connsiteY57" fmla="*/ 391651 h 491629"/>
                <a:gd name="connsiteX58" fmla="*/ 97889 w 608838"/>
                <a:gd name="connsiteY58" fmla="*/ 491629 h 491629"/>
                <a:gd name="connsiteX59" fmla="*/ 0 w 608838"/>
                <a:gd name="connsiteY59" fmla="*/ 491629 h 491629"/>
                <a:gd name="connsiteX60" fmla="*/ 164558 w 608838"/>
                <a:gd name="connsiteY60" fmla="*/ 0 h 491629"/>
                <a:gd name="connsiteX61" fmla="*/ 444279 w 608838"/>
                <a:gd name="connsiteY61" fmla="*/ 0 h 491629"/>
                <a:gd name="connsiteX62" fmla="*/ 444279 w 608838"/>
                <a:gd name="connsiteY62" fmla="*/ 491629 h 491629"/>
                <a:gd name="connsiteX63" fmla="*/ 336781 w 608838"/>
                <a:gd name="connsiteY63" fmla="*/ 491629 h 491629"/>
                <a:gd name="connsiteX64" fmla="*/ 336781 w 608838"/>
                <a:gd name="connsiteY64" fmla="*/ 381866 h 491629"/>
                <a:gd name="connsiteX65" fmla="*/ 272056 w 608838"/>
                <a:gd name="connsiteY65" fmla="*/ 381866 h 491629"/>
                <a:gd name="connsiteX66" fmla="*/ 272056 w 608838"/>
                <a:gd name="connsiteY66" fmla="*/ 491629 h 491629"/>
                <a:gd name="connsiteX67" fmla="*/ 164558 w 608838"/>
                <a:gd name="connsiteY67" fmla="*/ 491629 h 49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08838" h="491629">
                  <a:moveTo>
                    <a:pt x="499361" y="285654"/>
                  </a:moveTo>
                  <a:lnTo>
                    <a:pt x="499361" y="344437"/>
                  </a:lnTo>
                  <a:lnTo>
                    <a:pt x="558245" y="344437"/>
                  </a:lnTo>
                  <a:lnTo>
                    <a:pt x="558245" y="285654"/>
                  </a:lnTo>
                  <a:close/>
                  <a:moveTo>
                    <a:pt x="50593" y="285654"/>
                  </a:moveTo>
                  <a:lnTo>
                    <a:pt x="50593" y="344437"/>
                  </a:lnTo>
                  <a:lnTo>
                    <a:pt x="109477" y="344437"/>
                  </a:lnTo>
                  <a:lnTo>
                    <a:pt x="109477" y="285654"/>
                  </a:lnTo>
                  <a:close/>
                  <a:moveTo>
                    <a:pt x="324062" y="265425"/>
                  </a:moveTo>
                  <a:lnTo>
                    <a:pt x="324062" y="329947"/>
                  </a:lnTo>
                  <a:lnTo>
                    <a:pt x="388693" y="329947"/>
                  </a:lnTo>
                  <a:lnTo>
                    <a:pt x="388693" y="265425"/>
                  </a:lnTo>
                  <a:close/>
                  <a:moveTo>
                    <a:pt x="220144" y="265425"/>
                  </a:moveTo>
                  <a:lnTo>
                    <a:pt x="220144" y="329947"/>
                  </a:lnTo>
                  <a:lnTo>
                    <a:pt x="284775" y="329947"/>
                  </a:lnTo>
                  <a:lnTo>
                    <a:pt x="284775" y="265425"/>
                  </a:lnTo>
                  <a:close/>
                  <a:moveTo>
                    <a:pt x="499361" y="191225"/>
                  </a:moveTo>
                  <a:lnTo>
                    <a:pt x="499361" y="250008"/>
                  </a:lnTo>
                  <a:lnTo>
                    <a:pt x="558245" y="250008"/>
                  </a:lnTo>
                  <a:lnTo>
                    <a:pt x="558245" y="191225"/>
                  </a:lnTo>
                  <a:close/>
                  <a:moveTo>
                    <a:pt x="50593" y="191225"/>
                  </a:moveTo>
                  <a:lnTo>
                    <a:pt x="50593" y="250008"/>
                  </a:lnTo>
                  <a:lnTo>
                    <a:pt x="109477" y="250008"/>
                  </a:lnTo>
                  <a:lnTo>
                    <a:pt x="109477" y="191225"/>
                  </a:lnTo>
                  <a:close/>
                  <a:moveTo>
                    <a:pt x="324062" y="161682"/>
                  </a:moveTo>
                  <a:lnTo>
                    <a:pt x="324062" y="226204"/>
                  </a:lnTo>
                  <a:lnTo>
                    <a:pt x="388693" y="226204"/>
                  </a:lnTo>
                  <a:lnTo>
                    <a:pt x="388693" y="161682"/>
                  </a:lnTo>
                  <a:close/>
                  <a:moveTo>
                    <a:pt x="220144" y="161682"/>
                  </a:moveTo>
                  <a:lnTo>
                    <a:pt x="220144" y="226204"/>
                  </a:lnTo>
                  <a:lnTo>
                    <a:pt x="284775" y="226204"/>
                  </a:lnTo>
                  <a:lnTo>
                    <a:pt x="284775" y="161682"/>
                  </a:lnTo>
                  <a:close/>
                  <a:moveTo>
                    <a:pt x="499361" y="96797"/>
                  </a:moveTo>
                  <a:lnTo>
                    <a:pt x="499361" y="155579"/>
                  </a:lnTo>
                  <a:lnTo>
                    <a:pt x="558245" y="155579"/>
                  </a:lnTo>
                  <a:lnTo>
                    <a:pt x="558245" y="96797"/>
                  </a:lnTo>
                  <a:close/>
                  <a:moveTo>
                    <a:pt x="50593" y="96797"/>
                  </a:moveTo>
                  <a:lnTo>
                    <a:pt x="50593" y="155579"/>
                  </a:lnTo>
                  <a:lnTo>
                    <a:pt x="109477" y="155579"/>
                  </a:lnTo>
                  <a:lnTo>
                    <a:pt x="109477" y="96797"/>
                  </a:lnTo>
                  <a:close/>
                  <a:moveTo>
                    <a:pt x="324062" y="57938"/>
                  </a:moveTo>
                  <a:lnTo>
                    <a:pt x="324062" y="122461"/>
                  </a:lnTo>
                  <a:lnTo>
                    <a:pt x="388693" y="122461"/>
                  </a:lnTo>
                  <a:lnTo>
                    <a:pt x="388693" y="57938"/>
                  </a:lnTo>
                  <a:close/>
                  <a:moveTo>
                    <a:pt x="220144" y="57938"/>
                  </a:moveTo>
                  <a:lnTo>
                    <a:pt x="220144" y="122461"/>
                  </a:lnTo>
                  <a:lnTo>
                    <a:pt x="284775" y="122461"/>
                  </a:lnTo>
                  <a:lnTo>
                    <a:pt x="284775" y="57938"/>
                  </a:lnTo>
                  <a:close/>
                  <a:moveTo>
                    <a:pt x="469401" y="44033"/>
                  </a:moveTo>
                  <a:lnTo>
                    <a:pt x="608838" y="44033"/>
                  </a:lnTo>
                  <a:lnTo>
                    <a:pt x="608838" y="491629"/>
                  </a:lnTo>
                  <a:lnTo>
                    <a:pt x="510950" y="491629"/>
                  </a:lnTo>
                  <a:lnTo>
                    <a:pt x="510950" y="391651"/>
                  </a:lnTo>
                  <a:lnTo>
                    <a:pt x="469401" y="391651"/>
                  </a:lnTo>
                  <a:close/>
                  <a:moveTo>
                    <a:pt x="0" y="44033"/>
                  </a:moveTo>
                  <a:lnTo>
                    <a:pt x="139437" y="44033"/>
                  </a:lnTo>
                  <a:lnTo>
                    <a:pt x="139437" y="391651"/>
                  </a:lnTo>
                  <a:lnTo>
                    <a:pt x="97889" y="391651"/>
                  </a:lnTo>
                  <a:lnTo>
                    <a:pt x="97889" y="491629"/>
                  </a:lnTo>
                  <a:lnTo>
                    <a:pt x="0" y="491629"/>
                  </a:lnTo>
                  <a:close/>
                  <a:moveTo>
                    <a:pt x="164558" y="0"/>
                  </a:moveTo>
                  <a:lnTo>
                    <a:pt x="444279" y="0"/>
                  </a:lnTo>
                  <a:lnTo>
                    <a:pt x="444279" y="491629"/>
                  </a:lnTo>
                  <a:lnTo>
                    <a:pt x="336781" y="491629"/>
                  </a:lnTo>
                  <a:lnTo>
                    <a:pt x="336781" y="381866"/>
                  </a:lnTo>
                  <a:lnTo>
                    <a:pt x="272056" y="381866"/>
                  </a:lnTo>
                  <a:lnTo>
                    <a:pt x="272056" y="491629"/>
                  </a:lnTo>
                  <a:lnTo>
                    <a:pt x="164558" y="4916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任意多边形: 形状 20"/>
            <p:cNvSpPr/>
            <p:nvPr/>
          </p:nvSpPr>
          <p:spPr bwMode="auto">
            <a:xfrm>
              <a:off x="10070590" y="1368915"/>
              <a:ext cx="315740" cy="254956"/>
            </a:xfrm>
            <a:custGeom>
              <a:avLst/>
              <a:gdLst>
                <a:gd name="connsiteX0" fmla="*/ 499361 w 608838"/>
                <a:gd name="connsiteY0" fmla="*/ 285654 h 491629"/>
                <a:gd name="connsiteX1" fmla="*/ 499361 w 608838"/>
                <a:gd name="connsiteY1" fmla="*/ 344437 h 491629"/>
                <a:gd name="connsiteX2" fmla="*/ 558245 w 608838"/>
                <a:gd name="connsiteY2" fmla="*/ 344437 h 491629"/>
                <a:gd name="connsiteX3" fmla="*/ 558245 w 608838"/>
                <a:gd name="connsiteY3" fmla="*/ 285654 h 491629"/>
                <a:gd name="connsiteX4" fmla="*/ 50593 w 608838"/>
                <a:gd name="connsiteY4" fmla="*/ 285654 h 491629"/>
                <a:gd name="connsiteX5" fmla="*/ 50593 w 608838"/>
                <a:gd name="connsiteY5" fmla="*/ 344437 h 491629"/>
                <a:gd name="connsiteX6" fmla="*/ 109477 w 608838"/>
                <a:gd name="connsiteY6" fmla="*/ 344437 h 491629"/>
                <a:gd name="connsiteX7" fmla="*/ 109477 w 608838"/>
                <a:gd name="connsiteY7" fmla="*/ 285654 h 491629"/>
                <a:gd name="connsiteX8" fmla="*/ 324062 w 608838"/>
                <a:gd name="connsiteY8" fmla="*/ 265425 h 491629"/>
                <a:gd name="connsiteX9" fmla="*/ 324062 w 608838"/>
                <a:gd name="connsiteY9" fmla="*/ 329947 h 491629"/>
                <a:gd name="connsiteX10" fmla="*/ 388693 w 608838"/>
                <a:gd name="connsiteY10" fmla="*/ 329947 h 491629"/>
                <a:gd name="connsiteX11" fmla="*/ 388693 w 608838"/>
                <a:gd name="connsiteY11" fmla="*/ 265425 h 491629"/>
                <a:gd name="connsiteX12" fmla="*/ 220144 w 608838"/>
                <a:gd name="connsiteY12" fmla="*/ 265425 h 491629"/>
                <a:gd name="connsiteX13" fmla="*/ 220144 w 608838"/>
                <a:gd name="connsiteY13" fmla="*/ 329947 h 491629"/>
                <a:gd name="connsiteX14" fmla="*/ 284775 w 608838"/>
                <a:gd name="connsiteY14" fmla="*/ 329947 h 491629"/>
                <a:gd name="connsiteX15" fmla="*/ 284775 w 608838"/>
                <a:gd name="connsiteY15" fmla="*/ 265425 h 491629"/>
                <a:gd name="connsiteX16" fmla="*/ 499361 w 608838"/>
                <a:gd name="connsiteY16" fmla="*/ 191225 h 491629"/>
                <a:gd name="connsiteX17" fmla="*/ 499361 w 608838"/>
                <a:gd name="connsiteY17" fmla="*/ 250008 h 491629"/>
                <a:gd name="connsiteX18" fmla="*/ 558245 w 608838"/>
                <a:gd name="connsiteY18" fmla="*/ 250008 h 491629"/>
                <a:gd name="connsiteX19" fmla="*/ 558245 w 608838"/>
                <a:gd name="connsiteY19" fmla="*/ 191225 h 491629"/>
                <a:gd name="connsiteX20" fmla="*/ 50593 w 608838"/>
                <a:gd name="connsiteY20" fmla="*/ 191225 h 491629"/>
                <a:gd name="connsiteX21" fmla="*/ 50593 w 608838"/>
                <a:gd name="connsiteY21" fmla="*/ 250008 h 491629"/>
                <a:gd name="connsiteX22" fmla="*/ 109477 w 608838"/>
                <a:gd name="connsiteY22" fmla="*/ 250008 h 491629"/>
                <a:gd name="connsiteX23" fmla="*/ 109477 w 608838"/>
                <a:gd name="connsiteY23" fmla="*/ 191225 h 491629"/>
                <a:gd name="connsiteX24" fmla="*/ 324062 w 608838"/>
                <a:gd name="connsiteY24" fmla="*/ 161682 h 491629"/>
                <a:gd name="connsiteX25" fmla="*/ 324062 w 608838"/>
                <a:gd name="connsiteY25" fmla="*/ 226204 h 491629"/>
                <a:gd name="connsiteX26" fmla="*/ 388693 w 608838"/>
                <a:gd name="connsiteY26" fmla="*/ 226204 h 491629"/>
                <a:gd name="connsiteX27" fmla="*/ 388693 w 608838"/>
                <a:gd name="connsiteY27" fmla="*/ 161682 h 491629"/>
                <a:gd name="connsiteX28" fmla="*/ 220144 w 608838"/>
                <a:gd name="connsiteY28" fmla="*/ 161682 h 491629"/>
                <a:gd name="connsiteX29" fmla="*/ 220144 w 608838"/>
                <a:gd name="connsiteY29" fmla="*/ 226204 h 491629"/>
                <a:gd name="connsiteX30" fmla="*/ 284775 w 608838"/>
                <a:gd name="connsiteY30" fmla="*/ 226204 h 491629"/>
                <a:gd name="connsiteX31" fmla="*/ 284775 w 608838"/>
                <a:gd name="connsiteY31" fmla="*/ 161682 h 491629"/>
                <a:gd name="connsiteX32" fmla="*/ 499361 w 608838"/>
                <a:gd name="connsiteY32" fmla="*/ 96797 h 491629"/>
                <a:gd name="connsiteX33" fmla="*/ 499361 w 608838"/>
                <a:gd name="connsiteY33" fmla="*/ 155579 h 491629"/>
                <a:gd name="connsiteX34" fmla="*/ 558245 w 608838"/>
                <a:gd name="connsiteY34" fmla="*/ 155579 h 491629"/>
                <a:gd name="connsiteX35" fmla="*/ 558245 w 608838"/>
                <a:gd name="connsiteY35" fmla="*/ 96797 h 491629"/>
                <a:gd name="connsiteX36" fmla="*/ 50593 w 608838"/>
                <a:gd name="connsiteY36" fmla="*/ 96797 h 491629"/>
                <a:gd name="connsiteX37" fmla="*/ 50593 w 608838"/>
                <a:gd name="connsiteY37" fmla="*/ 155579 h 491629"/>
                <a:gd name="connsiteX38" fmla="*/ 109477 w 608838"/>
                <a:gd name="connsiteY38" fmla="*/ 155579 h 491629"/>
                <a:gd name="connsiteX39" fmla="*/ 109477 w 608838"/>
                <a:gd name="connsiteY39" fmla="*/ 96797 h 491629"/>
                <a:gd name="connsiteX40" fmla="*/ 324062 w 608838"/>
                <a:gd name="connsiteY40" fmla="*/ 57938 h 491629"/>
                <a:gd name="connsiteX41" fmla="*/ 324062 w 608838"/>
                <a:gd name="connsiteY41" fmla="*/ 122461 h 491629"/>
                <a:gd name="connsiteX42" fmla="*/ 388693 w 608838"/>
                <a:gd name="connsiteY42" fmla="*/ 122461 h 491629"/>
                <a:gd name="connsiteX43" fmla="*/ 388693 w 608838"/>
                <a:gd name="connsiteY43" fmla="*/ 57938 h 491629"/>
                <a:gd name="connsiteX44" fmla="*/ 220144 w 608838"/>
                <a:gd name="connsiteY44" fmla="*/ 57938 h 491629"/>
                <a:gd name="connsiteX45" fmla="*/ 220144 w 608838"/>
                <a:gd name="connsiteY45" fmla="*/ 122461 h 491629"/>
                <a:gd name="connsiteX46" fmla="*/ 284775 w 608838"/>
                <a:gd name="connsiteY46" fmla="*/ 122461 h 491629"/>
                <a:gd name="connsiteX47" fmla="*/ 284775 w 608838"/>
                <a:gd name="connsiteY47" fmla="*/ 57938 h 491629"/>
                <a:gd name="connsiteX48" fmla="*/ 469401 w 608838"/>
                <a:gd name="connsiteY48" fmla="*/ 44033 h 491629"/>
                <a:gd name="connsiteX49" fmla="*/ 608838 w 608838"/>
                <a:gd name="connsiteY49" fmla="*/ 44033 h 491629"/>
                <a:gd name="connsiteX50" fmla="*/ 608838 w 608838"/>
                <a:gd name="connsiteY50" fmla="*/ 491629 h 491629"/>
                <a:gd name="connsiteX51" fmla="*/ 510950 w 608838"/>
                <a:gd name="connsiteY51" fmla="*/ 491629 h 491629"/>
                <a:gd name="connsiteX52" fmla="*/ 510950 w 608838"/>
                <a:gd name="connsiteY52" fmla="*/ 391651 h 491629"/>
                <a:gd name="connsiteX53" fmla="*/ 469401 w 608838"/>
                <a:gd name="connsiteY53" fmla="*/ 391651 h 491629"/>
                <a:gd name="connsiteX54" fmla="*/ 0 w 608838"/>
                <a:gd name="connsiteY54" fmla="*/ 44033 h 491629"/>
                <a:gd name="connsiteX55" fmla="*/ 139437 w 608838"/>
                <a:gd name="connsiteY55" fmla="*/ 44033 h 491629"/>
                <a:gd name="connsiteX56" fmla="*/ 139437 w 608838"/>
                <a:gd name="connsiteY56" fmla="*/ 391651 h 491629"/>
                <a:gd name="connsiteX57" fmla="*/ 97889 w 608838"/>
                <a:gd name="connsiteY57" fmla="*/ 391651 h 491629"/>
                <a:gd name="connsiteX58" fmla="*/ 97889 w 608838"/>
                <a:gd name="connsiteY58" fmla="*/ 491629 h 491629"/>
                <a:gd name="connsiteX59" fmla="*/ 0 w 608838"/>
                <a:gd name="connsiteY59" fmla="*/ 491629 h 491629"/>
                <a:gd name="connsiteX60" fmla="*/ 164558 w 608838"/>
                <a:gd name="connsiteY60" fmla="*/ 0 h 491629"/>
                <a:gd name="connsiteX61" fmla="*/ 444279 w 608838"/>
                <a:gd name="connsiteY61" fmla="*/ 0 h 491629"/>
                <a:gd name="connsiteX62" fmla="*/ 444279 w 608838"/>
                <a:gd name="connsiteY62" fmla="*/ 491629 h 491629"/>
                <a:gd name="connsiteX63" fmla="*/ 336781 w 608838"/>
                <a:gd name="connsiteY63" fmla="*/ 491629 h 491629"/>
                <a:gd name="connsiteX64" fmla="*/ 336781 w 608838"/>
                <a:gd name="connsiteY64" fmla="*/ 381866 h 491629"/>
                <a:gd name="connsiteX65" fmla="*/ 272056 w 608838"/>
                <a:gd name="connsiteY65" fmla="*/ 381866 h 491629"/>
                <a:gd name="connsiteX66" fmla="*/ 272056 w 608838"/>
                <a:gd name="connsiteY66" fmla="*/ 491629 h 491629"/>
                <a:gd name="connsiteX67" fmla="*/ 164558 w 608838"/>
                <a:gd name="connsiteY67" fmla="*/ 491629 h 49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08838" h="491629">
                  <a:moveTo>
                    <a:pt x="499361" y="285654"/>
                  </a:moveTo>
                  <a:lnTo>
                    <a:pt x="499361" y="344437"/>
                  </a:lnTo>
                  <a:lnTo>
                    <a:pt x="558245" y="344437"/>
                  </a:lnTo>
                  <a:lnTo>
                    <a:pt x="558245" y="285654"/>
                  </a:lnTo>
                  <a:close/>
                  <a:moveTo>
                    <a:pt x="50593" y="285654"/>
                  </a:moveTo>
                  <a:lnTo>
                    <a:pt x="50593" y="344437"/>
                  </a:lnTo>
                  <a:lnTo>
                    <a:pt x="109477" y="344437"/>
                  </a:lnTo>
                  <a:lnTo>
                    <a:pt x="109477" y="285654"/>
                  </a:lnTo>
                  <a:close/>
                  <a:moveTo>
                    <a:pt x="324062" y="265425"/>
                  </a:moveTo>
                  <a:lnTo>
                    <a:pt x="324062" y="329947"/>
                  </a:lnTo>
                  <a:lnTo>
                    <a:pt x="388693" y="329947"/>
                  </a:lnTo>
                  <a:lnTo>
                    <a:pt x="388693" y="265425"/>
                  </a:lnTo>
                  <a:close/>
                  <a:moveTo>
                    <a:pt x="220144" y="265425"/>
                  </a:moveTo>
                  <a:lnTo>
                    <a:pt x="220144" y="329947"/>
                  </a:lnTo>
                  <a:lnTo>
                    <a:pt x="284775" y="329947"/>
                  </a:lnTo>
                  <a:lnTo>
                    <a:pt x="284775" y="265425"/>
                  </a:lnTo>
                  <a:close/>
                  <a:moveTo>
                    <a:pt x="499361" y="191225"/>
                  </a:moveTo>
                  <a:lnTo>
                    <a:pt x="499361" y="250008"/>
                  </a:lnTo>
                  <a:lnTo>
                    <a:pt x="558245" y="250008"/>
                  </a:lnTo>
                  <a:lnTo>
                    <a:pt x="558245" y="191225"/>
                  </a:lnTo>
                  <a:close/>
                  <a:moveTo>
                    <a:pt x="50593" y="191225"/>
                  </a:moveTo>
                  <a:lnTo>
                    <a:pt x="50593" y="250008"/>
                  </a:lnTo>
                  <a:lnTo>
                    <a:pt x="109477" y="250008"/>
                  </a:lnTo>
                  <a:lnTo>
                    <a:pt x="109477" y="191225"/>
                  </a:lnTo>
                  <a:close/>
                  <a:moveTo>
                    <a:pt x="324062" y="161682"/>
                  </a:moveTo>
                  <a:lnTo>
                    <a:pt x="324062" y="226204"/>
                  </a:lnTo>
                  <a:lnTo>
                    <a:pt x="388693" y="226204"/>
                  </a:lnTo>
                  <a:lnTo>
                    <a:pt x="388693" y="161682"/>
                  </a:lnTo>
                  <a:close/>
                  <a:moveTo>
                    <a:pt x="220144" y="161682"/>
                  </a:moveTo>
                  <a:lnTo>
                    <a:pt x="220144" y="226204"/>
                  </a:lnTo>
                  <a:lnTo>
                    <a:pt x="284775" y="226204"/>
                  </a:lnTo>
                  <a:lnTo>
                    <a:pt x="284775" y="161682"/>
                  </a:lnTo>
                  <a:close/>
                  <a:moveTo>
                    <a:pt x="499361" y="96797"/>
                  </a:moveTo>
                  <a:lnTo>
                    <a:pt x="499361" y="155579"/>
                  </a:lnTo>
                  <a:lnTo>
                    <a:pt x="558245" y="155579"/>
                  </a:lnTo>
                  <a:lnTo>
                    <a:pt x="558245" y="96797"/>
                  </a:lnTo>
                  <a:close/>
                  <a:moveTo>
                    <a:pt x="50593" y="96797"/>
                  </a:moveTo>
                  <a:lnTo>
                    <a:pt x="50593" y="155579"/>
                  </a:lnTo>
                  <a:lnTo>
                    <a:pt x="109477" y="155579"/>
                  </a:lnTo>
                  <a:lnTo>
                    <a:pt x="109477" y="96797"/>
                  </a:lnTo>
                  <a:close/>
                  <a:moveTo>
                    <a:pt x="324062" y="57938"/>
                  </a:moveTo>
                  <a:lnTo>
                    <a:pt x="324062" y="122461"/>
                  </a:lnTo>
                  <a:lnTo>
                    <a:pt x="388693" y="122461"/>
                  </a:lnTo>
                  <a:lnTo>
                    <a:pt x="388693" y="57938"/>
                  </a:lnTo>
                  <a:close/>
                  <a:moveTo>
                    <a:pt x="220144" y="57938"/>
                  </a:moveTo>
                  <a:lnTo>
                    <a:pt x="220144" y="122461"/>
                  </a:lnTo>
                  <a:lnTo>
                    <a:pt x="284775" y="122461"/>
                  </a:lnTo>
                  <a:lnTo>
                    <a:pt x="284775" y="57938"/>
                  </a:lnTo>
                  <a:close/>
                  <a:moveTo>
                    <a:pt x="469401" y="44033"/>
                  </a:moveTo>
                  <a:lnTo>
                    <a:pt x="608838" y="44033"/>
                  </a:lnTo>
                  <a:lnTo>
                    <a:pt x="608838" y="491629"/>
                  </a:lnTo>
                  <a:lnTo>
                    <a:pt x="510950" y="491629"/>
                  </a:lnTo>
                  <a:lnTo>
                    <a:pt x="510950" y="391651"/>
                  </a:lnTo>
                  <a:lnTo>
                    <a:pt x="469401" y="391651"/>
                  </a:lnTo>
                  <a:close/>
                  <a:moveTo>
                    <a:pt x="0" y="44033"/>
                  </a:moveTo>
                  <a:lnTo>
                    <a:pt x="139437" y="44033"/>
                  </a:lnTo>
                  <a:lnTo>
                    <a:pt x="139437" y="391651"/>
                  </a:lnTo>
                  <a:lnTo>
                    <a:pt x="97889" y="391651"/>
                  </a:lnTo>
                  <a:lnTo>
                    <a:pt x="97889" y="491629"/>
                  </a:lnTo>
                  <a:lnTo>
                    <a:pt x="0" y="491629"/>
                  </a:lnTo>
                  <a:close/>
                  <a:moveTo>
                    <a:pt x="164558" y="0"/>
                  </a:moveTo>
                  <a:lnTo>
                    <a:pt x="444279" y="0"/>
                  </a:lnTo>
                  <a:lnTo>
                    <a:pt x="444279" y="491629"/>
                  </a:lnTo>
                  <a:lnTo>
                    <a:pt x="336781" y="491629"/>
                  </a:lnTo>
                  <a:lnTo>
                    <a:pt x="336781" y="381866"/>
                  </a:lnTo>
                  <a:lnTo>
                    <a:pt x="272056" y="381866"/>
                  </a:lnTo>
                  <a:lnTo>
                    <a:pt x="272056" y="491629"/>
                  </a:lnTo>
                  <a:lnTo>
                    <a:pt x="164558" y="4916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2" name="矩形 21"/>
            <p:cNvSpPr/>
            <p:nvPr/>
          </p:nvSpPr>
          <p:spPr bwMode="auto">
            <a:xfrm>
              <a:off x="673099" y="4076507"/>
              <a:ext cx="2592563" cy="926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3" name="矩形 22"/>
            <p:cNvSpPr/>
            <p:nvPr/>
          </p:nvSpPr>
          <p:spPr bwMode="auto">
            <a:xfrm>
              <a:off x="3426126" y="4076507"/>
              <a:ext cx="2592563" cy="926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4" name="矩形 23"/>
            <p:cNvSpPr/>
            <p:nvPr/>
          </p:nvSpPr>
          <p:spPr bwMode="auto">
            <a:xfrm>
              <a:off x="6179153" y="4076507"/>
              <a:ext cx="2592563" cy="926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5" name="矩形 24"/>
            <p:cNvSpPr/>
            <p:nvPr/>
          </p:nvSpPr>
          <p:spPr bwMode="auto">
            <a:xfrm>
              <a:off x="8932179" y="4076507"/>
              <a:ext cx="2592563" cy="926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6" name="矩形 25"/>
            <p:cNvSpPr/>
            <p:nvPr/>
          </p:nvSpPr>
          <p:spPr bwMode="auto">
            <a:xfrm>
              <a:off x="673099" y="5211160"/>
              <a:ext cx="2592563" cy="926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7" name="矩形 26"/>
            <p:cNvSpPr/>
            <p:nvPr/>
          </p:nvSpPr>
          <p:spPr bwMode="auto">
            <a:xfrm>
              <a:off x="6179153" y="5211160"/>
              <a:ext cx="2592563" cy="926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…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方面分析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2309245"/>
            <a:ext cx="10871201" cy="2645910"/>
            <a:chOff x="660400" y="2309245"/>
            <a:chExt cx="10871201" cy="2645910"/>
          </a:xfrm>
        </p:grpSpPr>
        <p:grpSp>
          <p:nvGrpSpPr>
            <p:cNvPr id="6" name="组合 5"/>
            <p:cNvGrpSpPr/>
            <p:nvPr/>
          </p:nvGrpSpPr>
          <p:grpSpPr>
            <a:xfrm>
              <a:off x="660400" y="2771750"/>
              <a:ext cx="2885534" cy="1720900"/>
              <a:chOff x="660400" y="2771750"/>
              <a:chExt cx="2885534" cy="1720900"/>
            </a:xfrm>
          </p:grpSpPr>
          <p:sp>
            <p:nvSpPr>
              <p:cNvPr id="32" name="矩形 31"/>
              <p:cNvSpPr/>
              <p:nvPr/>
            </p:nvSpPr>
            <p:spPr bwMode="auto">
              <a:xfrm>
                <a:off x="660400" y="2771750"/>
                <a:ext cx="1441864" cy="386197"/>
              </a:xfrm>
              <a:prstGeom prst="rect">
                <a:avLst/>
              </a:prstGeom>
              <a:noFill/>
              <a:ln w="317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33" name="文本框 32"/>
              <p:cNvSpPr txBox="1"/>
              <p:nvPr/>
            </p:nvSpPr>
            <p:spPr>
              <a:xfrm>
                <a:off x="660400" y="3157946"/>
                <a:ext cx="2885534" cy="82894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zh-CN" altLang="en-US" sz="2000" b="1" dirty="0">
                    <a:cs typeface="+mn-ea"/>
                    <a:sym typeface="+mn-lt"/>
                  </a:rPr>
                  <a:t>市场</a:t>
                </a:r>
                <a:endParaRPr lang="en-US" altLang="zh-CN" sz="2000" b="1" dirty="0">
                  <a:cs typeface="+mn-ea"/>
                  <a:sym typeface="+mn-lt"/>
                </a:endParaRPr>
              </a:p>
              <a:p>
                <a:pPr>
                  <a:buSzPct val="25000"/>
                </a:pPr>
                <a:r>
                  <a:rPr lang="zh-CN" altLang="en-US" sz="2000" b="1" dirty="0">
                    <a:cs typeface="+mn-ea"/>
                    <a:sym typeface="+mn-lt"/>
                  </a:rPr>
                  <a:t>调研分析</a:t>
                </a:r>
                <a:r>
                  <a:rPr lang="en-US" sz="2000" b="1" dirty="0">
                    <a:cs typeface="+mn-ea"/>
                    <a:sym typeface="+mn-lt"/>
                  </a:rPr>
                  <a:t>.</a:t>
                </a:r>
                <a:endParaRPr lang="en-US" sz="2000" b="1" dirty="0">
                  <a:cs typeface="+mn-ea"/>
                  <a:sym typeface="+mn-lt"/>
                </a:endParaRPr>
              </a:p>
            </p:txBody>
          </p:sp>
          <p:sp>
            <p:nvSpPr>
              <p:cNvPr id="34" name="文本框 33"/>
              <p:cNvSpPr txBox="1"/>
              <p:nvPr/>
            </p:nvSpPr>
            <p:spPr>
              <a:xfrm>
                <a:off x="660400" y="4132650"/>
                <a:ext cx="1065849" cy="360000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200" dirty="0">
                    <a:solidFill>
                      <a:schemeClr val="bg1"/>
                    </a:solidFill>
                    <a:cs typeface="+mn-ea"/>
                    <a:sym typeface="+mn-lt"/>
                  </a:rPr>
                  <a:t>…text</a:t>
                </a:r>
                <a:endParaRPr lang="id-ID" sz="12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/>
            <p:cNvCxnSpPr>
              <a:stCxn id="31" idx="2"/>
            </p:cNvCxnSpPr>
            <p:nvPr/>
          </p:nvCxnSpPr>
          <p:spPr>
            <a:xfrm>
              <a:off x="4823220" y="3570500"/>
              <a:ext cx="6695680" cy="0"/>
            </a:xfrm>
            <a:prstGeom prst="line">
              <a:avLst/>
            </a:prstGeom>
            <a:ln w="76200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组合 7"/>
            <p:cNvGrpSpPr/>
            <p:nvPr/>
          </p:nvGrpSpPr>
          <p:grpSpPr>
            <a:xfrm>
              <a:off x="3716421" y="2309245"/>
              <a:ext cx="2375969" cy="2645910"/>
              <a:chOff x="3716421" y="2309245"/>
              <a:chExt cx="2375969" cy="2645910"/>
            </a:xfrm>
          </p:grpSpPr>
          <p:grpSp>
            <p:nvGrpSpPr>
              <p:cNvPr id="25" name="组合 24"/>
              <p:cNvGrpSpPr/>
              <p:nvPr/>
            </p:nvGrpSpPr>
            <p:grpSpPr>
              <a:xfrm>
                <a:off x="4413021" y="2309245"/>
                <a:ext cx="982768" cy="1652864"/>
                <a:chOff x="5212933" y="2309245"/>
                <a:chExt cx="982768" cy="1652864"/>
              </a:xfrm>
            </p:grpSpPr>
            <p:cxnSp>
              <p:nvCxnSpPr>
                <p:cNvPr id="29" name="直接箭头连接符 28"/>
                <p:cNvCxnSpPr>
                  <a:stCxn id="30" idx="4"/>
                  <a:endCxn id="27" idx="0"/>
                </p:cNvCxnSpPr>
                <p:nvPr/>
              </p:nvCxnSpPr>
              <p:spPr>
                <a:xfrm>
                  <a:off x="5704317" y="3292013"/>
                  <a:ext cx="1" cy="670096"/>
                </a:xfrm>
                <a:prstGeom prst="straightConnector1">
                  <a:avLst/>
                </a:prstGeom>
                <a:ln w="28575" cap="rnd">
                  <a:solidFill>
                    <a:schemeClr val="bg1">
                      <a:lumMod val="75000"/>
                    </a:schemeClr>
                  </a:solidFill>
                  <a:round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椭圆 29"/>
                <p:cNvSpPr/>
                <p:nvPr/>
              </p:nvSpPr>
              <p:spPr bwMode="auto">
                <a:xfrm>
                  <a:off x="5212933" y="2309245"/>
                  <a:ext cx="982768" cy="982768"/>
                </a:xfrm>
                <a:prstGeom prst="ellipse">
                  <a:avLst/>
                </a:prstGeom>
                <a:blipFill>
                  <a:blip r:embed="rId1"/>
                  <a:stretch>
                    <a:fillRect l="-25799" r="-25144"/>
                  </a:stretch>
                </a:blipFill>
                <a:ln w="38100">
                  <a:solidFill>
                    <a:schemeClr val="bg1"/>
                  </a:solidFill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椭圆 30"/>
                <p:cNvSpPr/>
                <p:nvPr/>
              </p:nvSpPr>
              <p:spPr>
                <a:xfrm>
                  <a:off x="5623132" y="3489315"/>
                  <a:ext cx="162370" cy="162370"/>
                </a:xfrm>
                <a:prstGeom prst="ellipse">
                  <a:avLst/>
                </a:prstGeom>
                <a:solidFill>
                  <a:schemeClr val="bg1"/>
                </a:solidFill>
                <a:ln w="57150" cap="rnd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Autofit/>
                </a:bodyPr>
                <a:lstStyle/>
                <a:p>
                  <a:pPr algn="ctr" defTabSz="914400"/>
                  <a:endParaRPr lang="zh-CN" altLang="en-US" sz="4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6" name="组合 25"/>
              <p:cNvGrpSpPr/>
              <p:nvPr/>
            </p:nvGrpSpPr>
            <p:grpSpPr>
              <a:xfrm>
                <a:off x="3716421" y="3962109"/>
                <a:ext cx="2375969" cy="993046"/>
                <a:chOff x="8645557" y="1416657"/>
                <a:chExt cx="2307365" cy="993046"/>
              </a:xfrm>
            </p:grpSpPr>
            <p:sp>
              <p:nvSpPr>
                <p:cNvPr id="27" name="文本框 26"/>
                <p:cNvSpPr txBox="1"/>
                <p:nvPr/>
              </p:nvSpPr>
              <p:spPr>
                <a:xfrm>
                  <a:off x="8645557" y="1416657"/>
                  <a:ext cx="2307365" cy="4218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4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cs typeface="+mn-ea"/>
                      <a:sym typeface="+mn-lt"/>
                    </a:rPr>
                    <a:t>方面分析</a:t>
                  </a:r>
                  <a:endParaRPr lang="en-US" altLang="zh-CN" sz="14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文本框 27"/>
                <p:cNvSpPr txBox="1"/>
                <p:nvPr/>
              </p:nvSpPr>
              <p:spPr>
                <a:xfrm>
                  <a:off x="8645557" y="1838478"/>
                  <a:ext cx="2307365" cy="5712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/>
            <p:cNvGrpSpPr/>
            <p:nvPr/>
          </p:nvGrpSpPr>
          <p:grpSpPr>
            <a:xfrm>
              <a:off x="9142932" y="2309245"/>
              <a:ext cx="2388669" cy="2645910"/>
              <a:chOff x="12790206" y="2309245"/>
              <a:chExt cx="2388669" cy="2645910"/>
            </a:xfrm>
          </p:grpSpPr>
          <p:grpSp>
            <p:nvGrpSpPr>
              <p:cNvPr id="18" name="组合 17"/>
              <p:cNvGrpSpPr/>
              <p:nvPr/>
            </p:nvGrpSpPr>
            <p:grpSpPr>
              <a:xfrm>
                <a:off x="12790206" y="3962109"/>
                <a:ext cx="2388669" cy="993046"/>
                <a:chOff x="8645557" y="1416657"/>
                <a:chExt cx="2319698" cy="993046"/>
              </a:xfrm>
            </p:grpSpPr>
            <p:sp>
              <p:nvSpPr>
                <p:cNvPr id="23" name="文本框 22"/>
                <p:cNvSpPr txBox="1"/>
                <p:nvPr/>
              </p:nvSpPr>
              <p:spPr>
                <a:xfrm>
                  <a:off x="8657890" y="1416657"/>
                  <a:ext cx="2307365" cy="4218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4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cs typeface="+mn-ea"/>
                      <a:sym typeface="+mn-lt"/>
                    </a:rPr>
                    <a:t>方面分析</a:t>
                  </a:r>
                  <a:endParaRPr lang="en-US" altLang="zh-CN" sz="14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文本框 23"/>
                <p:cNvSpPr txBox="1"/>
                <p:nvPr/>
              </p:nvSpPr>
              <p:spPr>
                <a:xfrm>
                  <a:off x="8645557" y="1838478"/>
                  <a:ext cx="2307365" cy="5712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9" name="组合 18"/>
              <p:cNvGrpSpPr/>
              <p:nvPr/>
            </p:nvGrpSpPr>
            <p:grpSpPr>
              <a:xfrm>
                <a:off x="13486805" y="2309245"/>
                <a:ext cx="982768" cy="1652864"/>
                <a:chOff x="10213917" y="2309245"/>
                <a:chExt cx="982768" cy="1652864"/>
              </a:xfrm>
            </p:grpSpPr>
            <p:cxnSp>
              <p:nvCxnSpPr>
                <p:cNvPr id="20" name="直接箭头连接符 19"/>
                <p:cNvCxnSpPr>
                  <a:stCxn id="21" idx="4"/>
                  <a:endCxn id="23" idx="0"/>
                </p:cNvCxnSpPr>
                <p:nvPr/>
              </p:nvCxnSpPr>
              <p:spPr>
                <a:xfrm>
                  <a:off x="10705301" y="3292013"/>
                  <a:ext cx="12702" cy="670096"/>
                </a:xfrm>
                <a:prstGeom prst="straightConnector1">
                  <a:avLst/>
                </a:prstGeom>
                <a:ln w="28575" cap="rnd">
                  <a:solidFill>
                    <a:schemeClr val="bg1">
                      <a:lumMod val="75000"/>
                    </a:schemeClr>
                  </a:solidFill>
                  <a:round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" name="椭圆 20"/>
                <p:cNvSpPr/>
                <p:nvPr/>
              </p:nvSpPr>
              <p:spPr bwMode="auto">
                <a:xfrm>
                  <a:off x="10213917" y="2309245"/>
                  <a:ext cx="982768" cy="982768"/>
                </a:xfrm>
                <a:prstGeom prst="ellipse">
                  <a:avLst/>
                </a:prstGeom>
                <a:blipFill>
                  <a:blip r:embed="rId2"/>
                  <a:stretch>
                    <a:fillRect l="-25323" r="-24677"/>
                  </a:stretch>
                </a:blipFill>
                <a:ln w="38100">
                  <a:solidFill>
                    <a:schemeClr val="bg1"/>
                  </a:solidFill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椭圆 21"/>
                <p:cNvSpPr/>
                <p:nvPr/>
              </p:nvSpPr>
              <p:spPr>
                <a:xfrm>
                  <a:off x="10624116" y="3489315"/>
                  <a:ext cx="162370" cy="162370"/>
                </a:xfrm>
                <a:prstGeom prst="ellipse">
                  <a:avLst/>
                </a:prstGeom>
                <a:solidFill>
                  <a:schemeClr val="bg1"/>
                </a:solidFill>
                <a:ln w="57150" cap="rnd">
                  <a:solidFill>
                    <a:schemeClr val="accent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Autofit/>
                </a:bodyPr>
                <a:lstStyle/>
                <a:p>
                  <a:pPr algn="ctr" defTabSz="914400"/>
                  <a:endParaRPr lang="zh-CN" altLang="en-US" sz="4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0" name="组合 9"/>
            <p:cNvGrpSpPr/>
            <p:nvPr/>
          </p:nvGrpSpPr>
          <p:grpSpPr>
            <a:xfrm>
              <a:off x="6429676" y="2309245"/>
              <a:ext cx="2375969" cy="2645910"/>
              <a:chOff x="5796480" y="2309245"/>
              <a:chExt cx="2375969" cy="2645910"/>
            </a:xfrm>
          </p:grpSpPr>
          <p:grpSp>
            <p:nvGrpSpPr>
              <p:cNvPr id="11" name="组合 10"/>
              <p:cNvGrpSpPr/>
              <p:nvPr/>
            </p:nvGrpSpPr>
            <p:grpSpPr>
              <a:xfrm>
                <a:off x="6493080" y="2309245"/>
                <a:ext cx="982768" cy="1652864"/>
                <a:chOff x="6879928" y="2309245"/>
                <a:chExt cx="982768" cy="1652864"/>
              </a:xfrm>
            </p:grpSpPr>
            <p:cxnSp>
              <p:nvCxnSpPr>
                <p:cNvPr id="15" name="直接箭头连接符 14"/>
                <p:cNvCxnSpPr>
                  <a:stCxn id="16" idx="4"/>
                  <a:endCxn id="13" idx="0"/>
                </p:cNvCxnSpPr>
                <p:nvPr/>
              </p:nvCxnSpPr>
              <p:spPr>
                <a:xfrm>
                  <a:off x="7371312" y="3292013"/>
                  <a:ext cx="1" cy="670096"/>
                </a:xfrm>
                <a:prstGeom prst="straightConnector1">
                  <a:avLst/>
                </a:prstGeom>
                <a:ln w="28575" cap="rnd">
                  <a:solidFill>
                    <a:schemeClr val="bg1">
                      <a:lumMod val="75000"/>
                    </a:schemeClr>
                  </a:solidFill>
                  <a:round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" name="椭圆 15"/>
                <p:cNvSpPr/>
                <p:nvPr/>
              </p:nvSpPr>
              <p:spPr bwMode="auto">
                <a:xfrm>
                  <a:off x="6879928" y="2309245"/>
                  <a:ext cx="982768" cy="982768"/>
                </a:xfrm>
                <a:prstGeom prst="ellipse">
                  <a:avLst/>
                </a:prstGeom>
                <a:blipFill>
                  <a:blip r:embed="rId3"/>
                  <a:stretch>
                    <a:fillRect l="-16884" r="-16449"/>
                  </a:stretch>
                </a:blipFill>
                <a:ln w="38100">
                  <a:solidFill>
                    <a:schemeClr val="bg1"/>
                  </a:solidFill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7" name="椭圆 16"/>
                <p:cNvSpPr/>
                <p:nvPr/>
              </p:nvSpPr>
              <p:spPr>
                <a:xfrm>
                  <a:off x="7290127" y="3489315"/>
                  <a:ext cx="162370" cy="162370"/>
                </a:xfrm>
                <a:prstGeom prst="ellipse">
                  <a:avLst/>
                </a:prstGeom>
                <a:solidFill>
                  <a:schemeClr val="bg1"/>
                </a:solidFill>
                <a:ln w="57150" cap="rnd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Autofit/>
                </a:bodyPr>
                <a:lstStyle/>
                <a:p>
                  <a:pPr algn="ctr" defTabSz="914400"/>
                  <a:endParaRPr lang="zh-CN" altLang="en-US" sz="4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2" name="组合 11"/>
              <p:cNvGrpSpPr/>
              <p:nvPr/>
            </p:nvGrpSpPr>
            <p:grpSpPr>
              <a:xfrm>
                <a:off x="5796480" y="3962109"/>
                <a:ext cx="2375969" cy="993046"/>
                <a:chOff x="8645557" y="1416657"/>
                <a:chExt cx="2307365" cy="993046"/>
              </a:xfrm>
            </p:grpSpPr>
            <p:sp>
              <p:nvSpPr>
                <p:cNvPr id="13" name="文本框 12"/>
                <p:cNvSpPr txBox="1"/>
                <p:nvPr/>
              </p:nvSpPr>
              <p:spPr>
                <a:xfrm>
                  <a:off x="8645557" y="1416657"/>
                  <a:ext cx="2307365" cy="4218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4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cs typeface="+mn-ea"/>
                      <a:sym typeface="+mn-lt"/>
                    </a:rPr>
                    <a:t>方面分析</a:t>
                  </a:r>
                  <a:endParaRPr lang="en-US" altLang="zh-CN" sz="14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4" name="文本框 13"/>
                <p:cNvSpPr txBox="1"/>
                <p:nvPr/>
              </p:nvSpPr>
              <p:spPr>
                <a:xfrm>
                  <a:off x="8645557" y="1838478"/>
                  <a:ext cx="2307365" cy="5712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数据研究成果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数据陈列</a:t>
            </a:r>
            <a:endParaRPr lang="en-US" altLang="zh-CN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分析过程</a:t>
            </a:r>
            <a:endParaRPr lang="en-US" altLang="zh-CN" dirty="0">
              <a:cs typeface="+mn-ea"/>
              <a:sym typeface="+mn-lt"/>
            </a:endParaRPr>
          </a:p>
          <a:p>
            <a:r>
              <a:rPr lang="zh-CN" altLang="en-US" dirty="0">
                <a:cs typeface="+mn-ea"/>
                <a:sym typeface="+mn-lt"/>
              </a:rPr>
              <a:t>研究成果展示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91703" y="3374184"/>
            <a:ext cx="1773697" cy="190590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分析过程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02637" y="1130300"/>
            <a:ext cx="12192000" cy="4635478"/>
            <a:chOff x="102637" y="1130300"/>
            <a:chExt cx="12192000" cy="4635478"/>
          </a:xfrm>
        </p:grpSpPr>
        <p:grpSp>
          <p:nvGrpSpPr>
            <p:cNvPr id="6" name="组合 5"/>
            <p:cNvGrpSpPr/>
            <p:nvPr/>
          </p:nvGrpSpPr>
          <p:grpSpPr>
            <a:xfrm>
              <a:off x="102637" y="1130300"/>
              <a:ext cx="12192000" cy="1872996"/>
              <a:chOff x="102637" y="4261104"/>
              <a:chExt cx="12192000" cy="1872996"/>
            </a:xfrm>
          </p:grpSpPr>
          <p:grpSp>
            <p:nvGrpSpPr>
              <p:cNvPr id="31" name="组合 30"/>
              <p:cNvGrpSpPr/>
              <p:nvPr/>
            </p:nvGrpSpPr>
            <p:grpSpPr>
              <a:xfrm>
                <a:off x="102637" y="4261104"/>
                <a:ext cx="12192000" cy="1872996"/>
                <a:chOff x="102637" y="4119127"/>
                <a:chExt cx="12192000" cy="2014973"/>
              </a:xfrm>
            </p:grpSpPr>
            <p:sp>
              <p:nvSpPr>
                <p:cNvPr id="55" name="矩形 54"/>
                <p:cNvSpPr/>
                <p:nvPr/>
              </p:nvSpPr>
              <p:spPr>
                <a:xfrm>
                  <a:off x="102637" y="4119127"/>
                  <a:ext cx="12192000" cy="2014973"/>
                </a:xfrm>
                <a:prstGeom prst="rect">
                  <a:avLst/>
                </a:prstGeom>
                <a:blipFill>
                  <a:blip r:embed="rId1"/>
                  <a:stretch>
                    <a:fillRect t="-277336" b="-273600"/>
                  </a:stretch>
                </a:blipFill>
                <a:ln w="28575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56" name="矩形 55"/>
                <p:cNvSpPr/>
                <p:nvPr/>
              </p:nvSpPr>
              <p:spPr>
                <a:xfrm>
                  <a:off x="660400" y="4119127"/>
                  <a:ext cx="10858500" cy="2014973"/>
                </a:xfrm>
                <a:prstGeom prst="rect">
                  <a:avLst/>
                </a:prstGeom>
                <a:solidFill>
                  <a:schemeClr val="tx1">
                    <a:alpha val="70000"/>
                  </a:schemeClr>
                </a:solidFill>
                <a:ln w="28575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2" name="组合 31"/>
              <p:cNvGrpSpPr/>
              <p:nvPr/>
            </p:nvGrpSpPr>
            <p:grpSpPr>
              <a:xfrm>
                <a:off x="1132058" y="4740316"/>
                <a:ext cx="1874146" cy="914573"/>
                <a:chOff x="1261178" y="4756337"/>
                <a:chExt cx="1874146" cy="914573"/>
              </a:xfrm>
            </p:grpSpPr>
            <p:grpSp>
              <p:nvGrpSpPr>
                <p:cNvPr id="51" name="组合 50"/>
                <p:cNvGrpSpPr/>
                <p:nvPr/>
              </p:nvGrpSpPr>
              <p:grpSpPr>
                <a:xfrm>
                  <a:off x="1625978" y="4756337"/>
                  <a:ext cx="1509346" cy="914573"/>
                  <a:chOff x="1814498" y="4581394"/>
                  <a:chExt cx="1509346" cy="914573"/>
                </a:xfrm>
              </p:grpSpPr>
              <p:sp>
                <p:nvSpPr>
                  <p:cNvPr id="53" name="矩形 52"/>
                  <p:cNvSpPr/>
                  <p:nvPr/>
                </p:nvSpPr>
                <p:spPr bwMode="auto">
                  <a:xfrm>
                    <a:off x="1814498" y="4941388"/>
                    <a:ext cx="1509345" cy="55457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lIns="90000" tIns="46800" rIns="90000" bIns="46800" anchor="t" anchorCtr="0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>
                      <a:lnSpc>
                        <a:spcPct val="130000"/>
                      </a:lnSpc>
                      <a:spcBef>
                        <a:spcPct val="0"/>
                      </a:spcBef>
                    </a:pPr>
                    <a:r>
                      <a:rPr lang="en-US" altLang="zh-CN" sz="1100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Supporting text here. </a:t>
                    </a:r>
                    <a:endPara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  <a:p>
                    <a:pPr>
                      <a:lnSpc>
                        <a:spcPct val="130000"/>
                      </a:lnSpc>
                      <a:spcBef>
                        <a:spcPct val="0"/>
                      </a:spcBef>
                    </a:pPr>
                    <a:r>
                      <a:rPr lang="en-US" altLang="zh-CN" sz="1100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… …</a:t>
                    </a:r>
                    <a:endPara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54" name="文本框 53"/>
                  <p:cNvSpPr txBox="1"/>
                  <p:nvPr/>
                </p:nvSpPr>
                <p:spPr bwMode="auto">
                  <a:xfrm>
                    <a:off x="1814498" y="4581394"/>
                    <a:ext cx="1509346" cy="35999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90000" tIns="46800" rIns="90000" bIns="46800" anchor="ctr" anchorCtr="0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buFontTx/>
                      <a:buNone/>
                    </a:pPr>
                    <a:r>
                      <a:rPr lang="en-US" altLang="zh-CN" sz="1400" b="1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Text here</a:t>
                    </a:r>
                    <a:endParaRPr lang="en-US" altLang="zh-CN" sz="1400" b="1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sp>
              <p:nvSpPr>
                <p:cNvPr id="52" name="任意多边形: 形状 51"/>
                <p:cNvSpPr/>
                <p:nvPr/>
              </p:nvSpPr>
              <p:spPr>
                <a:xfrm>
                  <a:off x="1261178" y="4861112"/>
                  <a:ext cx="218046" cy="263903"/>
                </a:xfrm>
                <a:custGeom>
                  <a:avLst/>
                  <a:gdLst>
                    <a:gd name="connsiteX0" fmla="*/ 182271 w 501297"/>
                    <a:gd name="connsiteY0" fmla="*/ 515718 h 606722"/>
                    <a:gd name="connsiteX1" fmla="*/ 151922 w 501297"/>
                    <a:gd name="connsiteY1" fmla="*/ 546023 h 606722"/>
                    <a:gd name="connsiteX2" fmla="*/ 182271 w 501297"/>
                    <a:gd name="connsiteY2" fmla="*/ 576328 h 606722"/>
                    <a:gd name="connsiteX3" fmla="*/ 203809 w 501297"/>
                    <a:gd name="connsiteY3" fmla="*/ 567441 h 606722"/>
                    <a:gd name="connsiteX4" fmla="*/ 212708 w 501297"/>
                    <a:gd name="connsiteY4" fmla="*/ 546023 h 606722"/>
                    <a:gd name="connsiteX5" fmla="*/ 182271 w 501297"/>
                    <a:gd name="connsiteY5" fmla="*/ 515718 h 606722"/>
                    <a:gd name="connsiteX6" fmla="*/ 432133 w 501297"/>
                    <a:gd name="connsiteY6" fmla="*/ 219106 h 606722"/>
                    <a:gd name="connsiteX7" fmla="*/ 501297 w 501297"/>
                    <a:gd name="connsiteY7" fmla="*/ 288234 h 606722"/>
                    <a:gd name="connsiteX8" fmla="*/ 432133 w 501297"/>
                    <a:gd name="connsiteY8" fmla="*/ 357273 h 606722"/>
                    <a:gd name="connsiteX9" fmla="*/ 432133 w 501297"/>
                    <a:gd name="connsiteY9" fmla="*/ 310981 h 606722"/>
                    <a:gd name="connsiteX10" fmla="*/ 182271 w 501297"/>
                    <a:gd name="connsiteY10" fmla="*/ 310981 h 606722"/>
                    <a:gd name="connsiteX11" fmla="*/ 182271 w 501297"/>
                    <a:gd name="connsiteY11" fmla="*/ 265488 h 606722"/>
                    <a:gd name="connsiteX12" fmla="*/ 432133 w 501297"/>
                    <a:gd name="connsiteY12" fmla="*/ 265488 h 606722"/>
                    <a:gd name="connsiteX13" fmla="*/ 30438 w 501297"/>
                    <a:gd name="connsiteY13" fmla="*/ 0 h 606722"/>
                    <a:gd name="connsiteX14" fmla="*/ 334192 w 501297"/>
                    <a:gd name="connsiteY14" fmla="*/ 0 h 606722"/>
                    <a:gd name="connsiteX15" fmla="*/ 364541 w 501297"/>
                    <a:gd name="connsiteY15" fmla="*/ 30305 h 606722"/>
                    <a:gd name="connsiteX16" fmla="*/ 364541 w 501297"/>
                    <a:gd name="connsiteY16" fmla="*/ 219956 h 606722"/>
                    <a:gd name="connsiteX17" fmla="*/ 318974 w 501297"/>
                    <a:gd name="connsiteY17" fmla="*/ 219956 h 606722"/>
                    <a:gd name="connsiteX18" fmla="*/ 318974 w 501297"/>
                    <a:gd name="connsiteY18" fmla="*/ 91004 h 606722"/>
                    <a:gd name="connsiteX19" fmla="*/ 45568 w 501297"/>
                    <a:gd name="connsiteY19" fmla="*/ 91004 h 606722"/>
                    <a:gd name="connsiteX20" fmla="*/ 45568 w 501297"/>
                    <a:gd name="connsiteY20" fmla="*/ 485325 h 606722"/>
                    <a:gd name="connsiteX21" fmla="*/ 318974 w 501297"/>
                    <a:gd name="connsiteY21" fmla="*/ 485325 h 606722"/>
                    <a:gd name="connsiteX22" fmla="*/ 318974 w 501297"/>
                    <a:gd name="connsiteY22" fmla="*/ 356462 h 606722"/>
                    <a:gd name="connsiteX23" fmla="*/ 364541 w 501297"/>
                    <a:gd name="connsiteY23" fmla="*/ 356462 h 606722"/>
                    <a:gd name="connsiteX24" fmla="*/ 364541 w 501297"/>
                    <a:gd name="connsiteY24" fmla="*/ 576328 h 606722"/>
                    <a:gd name="connsiteX25" fmla="*/ 334192 w 501297"/>
                    <a:gd name="connsiteY25" fmla="*/ 606722 h 606722"/>
                    <a:gd name="connsiteX26" fmla="*/ 30438 w 501297"/>
                    <a:gd name="connsiteY26" fmla="*/ 606722 h 606722"/>
                    <a:gd name="connsiteX27" fmla="*/ 0 w 501297"/>
                    <a:gd name="connsiteY27" fmla="*/ 576328 h 606722"/>
                    <a:gd name="connsiteX28" fmla="*/ 0 w 501297"/>
                    <a:gd name="connsiteY28" fmla="*/ 30305 h 606722"/>
                    <a:gd name="connsiteX29" fmla="*/ 30438 w 501297"/>
                    <a:gd name="connsiteY29" fmla="*/ 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501297" h="606722">
                      <a:moveTo>
                        <a:pt x="182271" y="515718"/>
                      </a:moveTo>
                      <a:cubicBezTo>
                        <a:pt x="165539" y="515718"/>
                        <a:pt x="151922" y="529316"/>
                        <a:pt x="151922" y="546023"/>
                      </a:cubicBezTo>
                      <a:cubicBezTo>
                        <a:pt x="151922" y="562731"/>
                        <a:pt x="165539" y="576328"/>
                        <a:pt x="182271" y="576328"/>
                      </a:cubicBezTo>
                      <a:cubicBezTo>
                        <a:pt x="190459" y="576328"/>
                        <a:pt x="198024" y="573218"/>
                        <a:pt x="203809" y="567441"/>
                      </a:cubicBezTo>
                      <a:cubicBezTo>
                        <a:pt x="209505" y="561754"/>
                        <a:pt x="212708" y="554111"/>
                        <a:pt x="212708" y="546023"/>
                      </a:cubicBezTo>
                      <a:cubicBezTo>
                        <a:pt x="212708" y="529316"/>
                        <a:pt x="199092" y="515718"/>
                        <a:pt x="182271" y="515718"/>
                      </a:cubicBezTo>
                      <a:close/>
                      <a:moveTo>
                        <a:pt x="432133" y="219106"/>
                      </a:moveTo>
                      <a:lnTo>
                        <a:pt x="501297" y="288234"/>
                      </a:lnTo>
                      <a:lnTo>
                        <a:pt x="432133" y="357273"/>
                      </a:lnTo>
                      <a:lnTo>
                        <a:pt x="432133" y="310981"/>
                      </a:lnTo>
                      <a:lnTo>
                        <a:pt x="182271" y="310981"/>
                      </a:lnTo>
                      <a:lnTo>
                        <a:pt x="182271" y="265488"/>
                      </a:lnTo>
                      <a:lnTo>
                        <a:pt x="432133" y="265488"/>
                      </a:lnTo>
                      <a:close/>
                      <a:moveTo>
                        <a:pt x="30438" y="0"/>
                      </a:moveTo>
                      <a:lnTo>
                        <a:pt x="334192" y="0"/>
                      </a:lnTo>
                      <a:cubicBezTo>
                        <a:pt x="351013" y="0"/>
                        <a:pt x="364541" y="13598"/>
                        <a:pt x="364541" y="30305"/>
                      </a:cubicBezTo>
                      <a:lnTo>
                        <a:pt x="364541" y="219956"/>
                      </a:lnTo>
                      <a:lnTo>
                        <a:pt x="318974" y="219956"/>
                      </a:lnTo>
                      <a:lnTo>
                        <a:pt x="318974" y="91004"/>
                      </a:lnTo>
                      <a:lnTo>
                        <a:pt x="45568" y="91004"/>
                      </a:lnTo>
                      <a:lnTo>
                        <a:pt x="45568" y="485325"/>
                      </a:lnTo>
                      <a:lnTo>
                        <a:pt x="318974" y="485325"/>
                      </a:lnTo>
                      <a:lnTo>
                        <a:pt x="318974" y="356462"/>
                      </a:lnTo>
                      <a:lnTo>
                        <a:pt x="364541" y="356462"/>
                      </a:lnTo>
                      <a:lnTo>
                        <a:pt x="364541" y="576328"/>
                      </a:lnTo>
                      <a:cubicBezTo>
                        <a:pt x="364541" y="593125"/>
                        <a:pt x="351013" y="606722"/>
                        <a:pt x="334192" y="606722"/>
                      </a:cubicBezTo>
                      <a:lnTo>
                        <a:pt x="30438" y="606722"/>
                      </a:lnTo>
                      <a:cubicBezTo>
                        <a:pt x="13617" y="606722"/>
                        <a:pt x="0" y="593125"/>
                        <a:pt x="0" y="576328"/>
                      </a:cubicBezTo>
                      <a:lnTo>
                        <a:pt x="0" y="30305"/>
                      </a:lnTo>
                      <a:cubicBezTo>
                        <a:pt x="0" y="13598"/>
                        <a:pt x="13617" y="0"/>
                        <a:pt x="30438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3" name="组合 32"/>
              <p:cNvGrpSpPr/>
              <p:nvPr/>
            </p:nvGrpSpPr>
            <p:grpSpPr>
              <a:xfrm>
                <a:off x="3800852" y="4740316"/>
                <a:ext cx="1862948" cy="914573"/>
                <a:chOff x="1272376" y="4756337"/>
                <a:chExt cx="1862948" cy="914573"/>
              </a:xfrm>
            </p:grpSpPr>
            <p:grpSp>
              <p:nvGrpSpPr>
                <p:cNvPr id="47" name="组合 46"/>
                <p:cNvGrpSpPr/>
                <p:nvPr/>
              </p:nvGrpSpPr>
              <p:grpSpPr>
                <a:xfrm>
                  <a:off x="1625978" y="4756337"/>
                  <a:ext cx="1509346" cy="914573"/>
                  <a:chOff x="1814498" y="4581394"/>
                  <a:chExt cx="1509346" cy="914573"/>
                </a:xfrm>
              </p:grpSpPr>
              <p:sp>
                <p:nvSpPr>
                  <p:cNvPr id="49" name="矩形 48"/>
                  <p:cNvSpPr/>
                  <p:nvPr/>
                </p:nvSpPr>
                <p:spPr bwMode="auto">
                  <a:xfrm>
                    <a:off x="1814498" y="4941388"/>
                    <a:ext cx="1509345" cy="55457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lIns="90000" tIns="46800" rIns="90000" bIns="46800" anchor="t" anchorCtr="0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>
                      <a:lnSpc>
                        <a:spcPct val="130000"/>
                      </a:lnSpc>
                      <a:spcBef>
                        <a:spcPct val="0"/>
                      </a:spcBef>
                    </a:pPr>
                    <a:r>
                      <a:rPr lang="en-US" altLang="zh-CN" sz="1100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Supporting text here. </a:t>
                    </a:r>
                    <a:endPara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  <a:p>
                    <a:pPr>
                      <a:lnSpc>
                        <a:spcPct val="130000"/>
                      </a:lnSpc>
                      <a:spcBef>
                        <a:spcPct val="0"/>
                      </a:spcBef>
                    </a:pPr>
                    <a:r>
                      <a:rPr lang="en-US" altLang="zh-CN" sz="1100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… …</a:t>
                    </a:r>
                    <a:endPara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50" name="文本框 49"/>
                  <p:cNvSpPr txBox="1"/>
                  <p:nvPr/>
                </p:nvSpPr>
                <p:spPr bwMode="auto">
                  <a:xfrm>
                    <a:off x="1814498" y="4581394"/>
                    <a:ext cx="1509346" cy="35999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90000" tIns="46800" rIns="90000" bIns="46800" anchor="ctr" anchorCtr="0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buFontTx/>
                      <a:buNone/>
                    </a:pPr>
                    <a:r>
                      <a:rPr lang="en-US" altLang="zh-CN" sz="1400" b="1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Text here</a:t>
                    </a:r>
                    <a:endParaRPr lang="en-US" altLang="zh-CN" sz="1400" b="1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sp>
              <p:nvSpPr>
                <p:cNvPr id="48" name="任意多边形: 形状 47"/>
                <p:cNvSpPr/>
                <p:nvPr/>
              </p:nvSpPr>
              <p:spPr>
                <a:xfrm>
                  <a:off x="1272376" y="4861112"/>
                  <a:ext cx="195650" cy="263903"/>
                </a:xfrm>
                <a:custGeom>
                  <a:avLst/>
                  <a:gdLst>
                    <a:gd name="connsiteX0" fmla="*/ 363366 w 449447"/>
                    <a:gd name="connsiteY0" fmla="*/ 179144 h 606236"/>
                    <a:gd name="connsiteX1" fmla="*/ 377720 w 449447"/>
                    <a:gd name="connsiteY1" fmla="*/ 197780 h 606236"/>
                    <a:gd name="connsiteX2" fmla="*/ 376285 w 449447"/>
                    <a:gd name="connsiteY2" fmla="*/ 202081 h 606236"/>
                    <a:gd name="connsiteX3" fmla="*/ 215517 w 449447"/>
                    <a:gd name="connsiteY3" fmla="*/ 424280 h 606236"/>
                    <a:gd name="connsiteX4" fmla="*/ 212646 w 449447"/>
                    <a:gd name="connsiteY4" fmla="*/ 427147 h 606236"/>
                    <a:gd name="connsiteX5" fmla="*/ 211211 w 449447"/>
                    <a:gd name="connsiteY5" fmla="*/ 427147 h 606236"/>
                    <a:gd name="connsiteX6" fmla="*/ 208340 w 449447"/>
                    <a:gd name="connsiteY6" fmla="*/ 425714 h 606236"/>
                    <a:gd name="connsiteX7" fmla="*/ 90635 w 449447"/>
                    <a:gd name="connsiteY7" fmla="*/ 306729 h 606236"/>
                    <a:gd name="connsiteX8" fmla="*/ 126521 w 449447"/>
                    <a:gd name="connsiteY8" fmla="*/ 276625 h 606236"/>
                    <a:gd name="connsiteX9" fmla="*/ 191115 w 449447"/>
                    <a:gd name="connsiteY9" fmla="*/ 326799 h 606236"/>
                    <a:gd name="connsiteX10" fmla="*/ 363366 w 449447"/>
                    <a:gd name="connsiteY10" fmla="*/ 179144 h 606236"/>
                    <a:gd name="connsiteX11" fmla="*/ 224006 w 449447"/>
                    <a:gd name="connsiteY11" fmla="*/ 65927 h 606236"/>
                    <a:gd name="connsiteX12" fmla="*/ 218262 w 449447"/>
                    <a:gd name="connsiteY12" fmla="*/ 70226 h 606236"/>
                    <a:gd name="connsiteX13" fmla="*/ 56001 w 449447"/>
                    <a:gd name="connsiteY13" fmla="*/ 123254 h 606236"/>
                    <a:gd name="connsiteX14" fmla="*/ 48822 w 449447"/>
                    <a:gd name="connsiteY14" fmla="*/ 130420 h 606236"/>
                    <a:gd name="connsiteX15" fmla="*/ 48822 w 449447"/>
                    <a:gd name="connsiteY15" fmla="*/ 365462 h 606236"/>
                    <a:gd name="connsiteX16" fmla="*/ 221134 w 449447"/>
                    <a:gd name="connsiteY16" fmla="*/ 538877 h 606236"/>
                    <a:gd name="connsiteX17" fmla="*/ 224006 w 449447"/>
                    <a:gd name="connsiteY17" fmla="*/ 540310 h 606236"/>
                    <a:gd name="connsiteX18" fmla="*/ 226877 w 449447"/>
                    <a:gd name="connsiteY18" fmla="*/ 538877 h 606236"/>
                    <a:gd name="connsiteX19" fmla="*/ 400625 w 449447"/>
                    <a:gd name="connsiteY19" fmla="*/ 365462 h 606236"/>
                    <a:gd name="connsiteX20" fmla="*/ 400625 w 449447"/>
                    <a:gd name="connsiteY20" fmla="*/ 130420 h 606236"/>
                    <a:gd name="connsiteX21" fmla="*/ 393446 w 449447"/>
                    <a:gd name="connsiteY21" fmla="*/ 123254 h 606236"/>
                    <a:gd name="connsiteX22" fmla="*/ 231185 w 449447"/>
                    <a:gd name="connsiteY22" fmla="*/ 70226 h 606236"/>
                    <a:gd name="connsiteX23" fmla="*/ 224006 w 449447"/>
                    <a:gd name="connsiteY23" fmla="*/ 65927 h 606236"/>
                    <a:gd name="connsiteX24" fmla="*/ 224006 w 449447"/>
                    <a:gd name="connsiteY24" fmla="*/ 0 h 606236"/>
                    <a:gd name="connsiteX25" fmla="*/ 232621 w 449447"/>
                    <a:gd name="connsiteY25" fmla="*/ 5733 h 606236"/>
                    <a:gd name="connsiteX26" fmla="*/ 440831 w 449447"/>
                    <a:gd name="connsiteY26" fmla="*/ 73093 h 606236"/>
                    <a:gd name="connsiteX27" fmla="*/ 449447 w 449447"/>
                    <a:gd name="connsiteY27" fmla="*/ 81692 h 606236"/>
                    <a:gd name="connsiteX28" fmla="*/ 449447 w 449447"/>
                    <a:gd name="connsiteY28" fmla="*/ 384093 h 606236"/>
                    <a:gd name="connsiteX29" fmla="*/ 228313 w 449447"/>
                    <a:gd name="connsiteY29" fmla="*/ 604803 h 606236"/>
                    <a:gd name="connsiteX30" fmla="*/ 224006 w 449447"/>
                    <a:gd name="connsiteY30" fmla="*/ 606236 h 606236"/>
                    <a:gd name="connsiteX31" fmla="*/ 221134 w 449447"/>
                    <a:gd name="connsiteY31" fmla="*/ 604803 h 606236"/>
                    <a:gd name="connsiteX32" fmla="*/ 0 w 449447"/>
                    <a:gd name="connsiteY32" fmla="*/ 384093 h 606236"/>
                    <a:gd name="connsiteX33" fmla="*/ 0 w 449447"/>
                    <a:gd name="connsiteY33" fmla="*/ 81692 h 606236"/>
                    <a:gd name="connsiteX34" fmla="*/ 8616 w 449447"/>
                    <a:gd name="connsiteY34" fmla="*/ 73093 h 606236"/>
                    <a:gd name="connsiteX35" fmla="*/ 216826 w 449447"/>
                    <a:gd name="connsiteY35" fmla="*/ 5733 h 606236"/>
                    <a:gd name="connsiteX36" fmla="*/ 224006 w 449447"/>
                    <a:gd name="connsiteY36" fmla="*/ 0 h 606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449447" h="606236">
                      <a:moveTo>
                        <a:pt x="363366" y="179144"/>
                      </a:moveTo>
                      <a:cubicBezTo>
                        <a:pt x="364801" y="177710"/>
                        <a:pt x="377720" y="197780"/>
                        <a:pt x="377720" y="197780"/>
                      </a:cubicBezTo>
                      <a:cubicBezTo>
                        <a:pt x="377720" y="199213"/>
                        <a:pt x="377720" y="200647"/>
                        <a:pt x="376285" y="202081"/>
                      </a:cubicBezTo>
                      <a:cubicBezTo>
                        <a:pt x="297336" y="275191"/>
                        <a:pt x="234178" y="376973"/>
                        <a:pt x="215517" y="424280"/>
                      </a:cubicBezTo>
                      <a:cubicBezTo>
                        <a:pt x="215517" y="425714"/>
                        <a:pt x="214082" y="427147"/>
                        <a:pt x="212646" y="427147"/>
                      </a:cubicBezTo>
                      <a:cubicBezTo>
                        <a:pt x="211211" y="427147"/>
                        <a:pt x="211211" y="427147"/>
                        <a:pt x="211211" y="427147"/>
                      </a:cubicBezTo>
                      <a:cubicBezTo>
                        <a:pt x="209776" y="427147"/>
                        <a:pt x="208340" y="427147"/>
                        <a:pt x="208340" y="425714"/>
                      </a:cubicBezTo>
                      <a:lnTo>
                        <a:pt x="90635" y="306729"/>
                      </a:lnTo>
                      <a:cubicBezTo>
                        <a:pt x="89200" y="306729"/>
                        <a:pt x="125086" y="275191"/>
                        <a:pt x="126521" y="276625"/>
                      </a:cubicBezTo>
                      <a:lnTo>
                        <a:pt x="191115" y="326799"/>
                      </a:lnTo>
                      <a:cubicBezTo>
                        <a:pt x="216953" y="296695"/>
                        <a:pt x="278676" y="230751"/>
                        <a:pt x="363366" y="179144"/>
                      </a:cubicBezTo>
                      <a:close/>
                      <a:moveTo>
                        <a:pt x="224006" y="65927"/>
                      </a:moveTo>
                      <a:cubicBezTo>
                        <a:pt x="221134" y="65927"/>
                        <a:pt x="219698" y="67360"/>
                        <a:pt x="218262" y="70226"/>
                      </a:cubicBezTo>
                      <a:cubicBezTo>
                        <a:pt x="218262" y="70226"/>
                        <a:pt x="193851" y="123254"/>
                        <a:pt x="56001" y="123254"/>
                      </a:cubicBezTo>
                      <a:cubicBezTo>
                        <a:pt x="51694" y="123254"/>
                        <a:pt x="48822" y="126120"/>
                        <a:pt x="48822" y="130420"/>
                      </a:cubicBezTo>
                      <a:lnTo>
                        <a:pt x="48822" y="365462"/>
                      </a:lnTo>
                      <a:cubicBezTo>
                        <a:pt x="48822" y="462918"/>
                        <a:pt x="213954" y="536010"/>
                        <a:pt x="221134" y="538877"/>
                      </a:cubicBezTo>
                      <a:cubicBezTo>
                        <a:pt x="222570" y="540310"/>
                        <a:pt x="224006" y="540310"/>
                        <a:pt x="224006" y="540310"/>
                      </a:cubicBezTo>
                      <a:cubicBezTo>
                        <a:pt x="225441" y="540310"/>
                        <a:pt x="226877" y="540310"/>
                        <a:pt x="226877" y="538877"/>
                      </a:cubicBezTo>
                      <a:cubicBezTo>
                        <a:pt x="234057" y="536010"/>
                        <a:pt x="400625" y="462918"/>
                        <a:pt x="400625" y="365462"/>
                      </a:cubicBezTo>
                      <a:lnTo>
                        <a:pt x="400625" y="130420"/>
                      </a:lnTo>
                      <a:cubicBezTo>
                        <a:pt x="400625" y="126120"/>
                        <a:pt x="397753" y="123254"/>
                        <a:pt x="393446" y="123254"/>
                      </a:cubicBezTo>
                      <a:cubicBezTo>
                        <a:pt x="254160" y="123254"/>
                        <a:pt x="231185" y="70226"/>
                        <a:pt x="231185" y="70226"/>
                      </a:cubicBezTo>
                      <a:cubicBezTo>
                        <a:pt x="229749" y="67360"/>
                        <a:pt x="226877" y="65927"/>
                        <a:pt x="224006" y="65927"/>
                      </a:cubicBezTo>
                      <a:close/>
                      <a:moveTo>
                        <a:pt x="224006" y="0"/>
                      </a:moveTo>
                      <a:cubicBezTo>
                        <a:pt x="228313" y="0"/>
                        <a:pt x="231185" y="2867"/>
                        <a:pt x="232621" y="5733"/>
                      </a:cubicBezTo>
                      <a:cubicBezTo>
                        <a:pt x="232621" y="5733"/>
                        <a:pt x="262776" y="73093"/>
                        <a:pt x="440831" y="73093"/>
                      </a:cubicBezTo>
                      <a:cubicBezTo>
                        <a:pt x="445139" y="73093"/>
                        <a:pt x="449447" y="77392"/>
                        <a:pt x="449447" y="81692"/>
                      </a:cubicBezTo>
                      <a:lnTo>
                        <a:pt x="449447" y="384093"/>
                      </a:lnTo>
                      <a:cubicBezTo>
                        <a:pt x="449447" y="507347"/>
                        <a:pt x="236929" y="600503"/>
                        <a:pt x="228313" y="604803"/>
                      </a:cubicBezTo>
                      <a:cubicBezTo>
                        <a:pt x="226877" y="604803"/>
                        <a:pt x="225441" y="606236"/>
                        <a:pt x="224006" y="606236"/>
                      </a:cubicBezTo>
                      <a:cubicBezTo>
                        <a:pt x="222570" y="606236"/>
                        <a:pt x="222570" y="604803"/>
                        <a:pt x="221134" y="604803"/>
                      </a:cubicBezTo>
                      <a:cubicBezTo>
                        <a:pt x="212518" y="600503"/>
                        <a:pt x="0" y="507347"/>
                        <a:pt x="0" y="384093"/>
                      </a:cubicBezTo>
                      <a:lnTo>
                        <a:pt x="0" y="81692"/>
                      </a:lnTo>
                      <a:cubicBezTo>
                        <a:pt x="0" y="77392"/>
                        <a:pt x="2872" y="73093"/>
                        <a:pt x="8616" y="73093"/>
                      </a:cubicBezTo>
                      <a:cubicBezTo>
                        <a:pt x="185235" y="73093"/>
                        <a:pt x="215390" y="5733"/>
                        <a:pt x="216826" y="5733"/>
                      </a:cubicBezTo>
                      <a:cubicBezTo>
                        <a:pt x="218262" y="2867"/>
                        <a:pt x="221134" y="0"/>
                        <a:pt x="224006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4" name="组合 33"/>
              <p:cNvGrpSpPr/>
              <p:nvPr/>
            </p:nvGrpSpPr>
            <p:grpSpPr>
              <a:xfrm>
                <a:off x="6458448" y="4740316"/>
                <a:ext cx="1897074" cy="914573"/>
                <a:chOff x="1238250" y="4756337"/>
                <a:chExt cx="1897074" cy="914573"/>
              </a:xfrm>
            </p:grpSpPr>
            <p:grpSp>
              <p:nvGrpSpPr>
                <p:cNvPr id="43" name="组合 42"/>
                <p:cNvGrpSpPr/>
                <p:nvPr/>
              </p:nvGrpSpPr>
              <p:grpSpPr>
                <a:xfrm>
                  <a:off x="1625978" y="4756337"/>
                  <a:ext cx="1509346" cy="914573"/>
                  <a:chOff x="1814498" y="4581394"/>
                  <a:chExt cx="1509346" cy="914573"/>
                </a:xfrm>
              </p:grpSpPr>
              <p:sp>
                <p:nvSpPr>
                  <p:cNvPr id="45" name="矩形 44"/>
                  <p:cNvSpPr/>
                  <p:nvPr/>
                </p:nvSpPr>
                <p:spPr bwMode="auto">
                  <a:xfrm>
                    <a:off x="1814498" y="4941388"/>
                    <a:ext cx="1509345" cy="55457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lIns="90000" tIns="46800" rIns="90000" bIns="46800" anchor="t" anchorCtr="0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>
                      <a:lnSpc>
                        <a:spcPct val="130000"/>
                      </a:lnSpc>
                      <a:spcBef>
                        <a:spcPct val="0"/>
                      </a:spcBef>
                    </a:pPr>
                    <a:r>
                      <a:rPr lang="en-US" altLang="zh-CN" sz="1100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Supporting text here. </a:t>
                    </a:r>
                    <a:endPara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  <a:p>
                    <a:pPr>
                      <a:lnSpc>
                        <a:spcPct val="130000"/>
                      </a:lnSpc>
                      <a:spcBef>
                        <a:spcPct val="0"/>
                      </a:spcBef>
                    </a:pPr>
                    <a:r>
                      <a:rPr lang="en-US" altLang="zh-CN" sz="1100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… …</a:t>
                    </a:r>
                    <a:endPara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46" name="文本框 45"/>
                  <p:cNvSpPr txBox="1"/>
                  <p:nvPr/>
                </p:nvSpPr>
                <p:spPr bwMode="auto">
                  <a:xfrm>
                    <a:off x="1814498" y="4581394"/>
                    <a:ext cx="1509346" cy="35999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90000" tIns="46800" rIns="90000" bIns="46800" anchor="ctr" anchorCtr="0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buFontTx/>
                      <a:buNone/>
                    </a:pPr>
                    <a:r>
                      <a:rPr lang="en-US" altLang="zh-CN" sz="1400" b="1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Text here</a:t>
                    </a:r>
                    <a:endParaRPr lang="en-US" altLang="zh-CN" sz="1400" b="1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sp>
              <p:nvSpPr>
                <p:cNvPr id="44" name="任意多边形: 形状 43"/>
                <p:cNvSpPr/>
                <p:nvPr/>
              </p:nvSpPr>
              <p:spPr>
                <a:xfrm>
                  <a:off x="1238250" y="4899269"/>
                  <a:ext cx="263903" cy="187587"/>
                </a:xfrm>
                <a:custGeom>
                  <a:avLst/>
                  <a:gdLst>
                    <a:gd name="connsiteX0" fmla="*/ 303919 w 607850"/>
                    <a:gd name="connsiteY0" fmla="*/ 362847 h 432072"/>
                    <a:gd name="connsiteX1" fmla="*/ 350938 w 607850"/>
                    <a:gd name="connsiteY1" fmla="*/ 382187 h 432072"/>
                    <a:gd name="connsiteX2" fmla="*/ 352474 w 607850"/>
                    <a:gd name="connsiteY2" fmla="*/ 383722 h 432072"/>
                    <a:gd name="connsiteX3" fmla="*/ 303919 w 607850"/>
                    <a:gd name="connsiteY3" fmla="*/ 432072 h 432072"/>
                    <a:gd name="connsiteX4" fmla="*/ 255517 w 607850"/>
                    <a:gd name="connsiteY4" fmla="*/ 383569 h 432072"/>
                    <a:gd name="connsiteX5" fmla="*/ 256900 w 607850"/>
                    <a:gd name="connsiteY5" fmla="*/ 382187 h 432072"/>
                    <a:gd name="connsiteX6" fmla="*/ 303919 w 607850"/>
                    <a:gd name="connsiteY6" fmla="*/ 362847 h 432072"/>
                    <a:gd name="connsiteX7" fmla="*/ 303890 w 607850"/>
                    <a:gd name="connsiteY7" fmla="*/ 232725 h 432072"/>
                    <a:gd name="connsiteX8" fmla="*/ 443080 w 607850"/>
                    <a:gd name="connsiteY8" fmla="*/ 290261 h 432072"/>
                    <a:gd name="connsiteX9" fmla="*/ 396684 w 607850"/>
                    <a:gd name="connsiteY9" fmla="*/ 336597 h 432072"/>
                    <a:gd name="connsiteX10" fmla="*/ 303890 w 607850"/>
                    <a:gd name="connsiteY10" fmla="*/ 298086 h 432072"/>
                    <a:gd name="connsiteX11" fmla="*/ 211096 w 607850"/>
                    <a:gd name="connsiteY11" fmla="*/ 336597 h 432072"/>
                    <a:gd name="connsiteX12" fmla="*/ 164700 w 607850"/>
                    <a:gd name="connsiteY12" fmla="*/ 290261 h 432072"/>
                    <a:gd name="connsiteX13" fmla="*/ 303890 w 607850"/>
                    <a:gd name="connsiteY13" fmla="*/ 232725 h 432072"/>
                    <a:gd name="connsiteX14" fmla="*/ 303925 w 607850"/>
                    <a:gd name="connsiteY14" fmla="*/ 116292 h 432072"/>
                    <a:gd name="connsiteX15" fmla="*/ 525500 w 607850"/>
                    <a:gd name="connsiteY15" fmla="*/ 207904 h 432072"/>
                    <a:gd name="connsiteX16" fmla="*/ 479249 w 607850"/>
                    <a:gd name="connsiteY16" fmla="*/ 254247 h 432072"/>
                    <a:gd name="connsiteX17" fmla="*/ 303925 w 607850"/>
                    <a:gd name="connsiteY17" fmla="*/ 181817 h 432072"/>
                    <a:gd name="connsiteX18" fmla="*/ 128755 w 607850"/>
                    <a:gd name="connsiteY18" fmla="*/ 254247 h 432072"/>
                    <a:gd name="connsiteX19" fmla="*/ 82350 w 607850"/>
                    <a:gd name="connsiteY19" fmla="*/ 207904 h 432072"/>
                    <a:gd name="connsiteX20" fmla="*/ 303925 w 607850"/>
                    <a:gd name="connsiteY20" fmla="*/ 116292 h 432072"/>
                    <a:gd name="connsiteX21" fmla="*/ 303925 w 607850"/>
                    <a:gd name="connsiteY21" fmla="*/ 0 h 432072"/>
                    <a:gd name="connsiteX22" fmla="*/ 607850 w 607850"/>
                    <a:gd name="connsiteY22" fmla="*/ 125690 h 432072"/>
                    <a:gd name="connsiteX23" fmla="*/ 561601 w 607850"/>
                    <a:gd name="connsiteY23" fmla="*/ 172038 h 432072"/>
                    <a:gd name="connsiteX24" fmla="*/ 303925 w 607850"/>
                    <a:gd name="connsiteY24" fmla="*/ 65531 h 432072"/>
                    <a:gd name="connsiteX25" fmla="*/ 46403 w 607850"/>
                    <a:gd name="connsiteY25" fmla="*/ 172038 h 432072"/>
                    <a:gd name="connsiteX26" fmla="*/ 0 w 607850"/>
                    <a:gd name="connsiteY26" fmla="*/ 125690 h 432072"/>
                    <a:gd name="connsiteX27" fmla="*/ 303925 w 607850"/>
                    <a:gd name="connsiteY27" fmla="*/ 0 h 432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607850" h="432072">
                      <a:moveTo>
                        <a:pt x="303919" y="362847"/>
                      </a:moveTo>
                      <a:cubicBezTo>
                        <a:pt x="320975" y="362847"/>
                        <a:pt x="338031" y="369294"/>
                        <a:pt x="350938" y="382187"/>
                      </a:cubicBezTo>
                      <a:cubicBezTo>
                        <a:pt x="351552" y="382801"/>
                        <a:pt x="352013" y="383262"/>
                        <a:pt x="352474" y="383722"/>
                      </a:cubicBezTo>
                      <a:lnTo>
                        <a:pt x="303919" y="432072"/>
                      </a:lnTo>
                      <a:lnTo>
                        <a:pt x="255517" y="383569"/>
                      </a:lnTo>
                      <a:cubicBezTo>
                        <a:pt x="255978" y="383108"/>
                        <a:pt x="256439" y="382648"/>
                        <a:pt x="256900" y="382187"/>
                      </a:cubicBezTo>
                      <a:cubicBezTo>
                        <a:pt x="269807" y="369294"/>
                        <a:pt x="286863" y="362847"/>
                        <a:pt x="303919" y="362847"/>
                      </a:cubicBezTo>
                      <a:close/>
                      <a:moveTo>
                        <a:pt x="303890" y="232725"/>
                      </a:moveTo>
                      <a:cubicBezTo>
                        <a:pt x="356432" y="232725"/>
                        <a:pt x="405901" y="253131"/>
                        <a:pt x="443080" y="290261"/>
                      </a:cubicBezTo>
                      <a:lnTo>
                        <a:pt x="396684" y="336597"/>
                      </a:lnTo>
                      <a:cubicBezTo>
                        <a:pt x="371949" y="311741"/>
                        <a:pt x="338918" y="298086"/>
                        <a:pt x="303890" y="298086"/>
                      </a:cubicBezTo>
                      <a:cubicBezTo>
                        <a:pt x="268862" y="298086"/>
                        <a:pt x="235831" y="311741"/>
                        <a:pt x="211096" y="336597"/>
                      </a:cubicBezTo>
                      <a:lnTo>
                        <a:pt x="164700" y="290261"/>
                      </a:lnTo>
                      <a:cubicBezTo>
                        <a:pt x="201879" y="253131"/>
                        <a:pt x="251348" y="232725"/>
                        <a:pt x="303890" y="232725"/>
                      </a:cubicBezTo>
                      <a:close/>
                      <a:moveTo>
                        <a:pt x="303925" y="116292"/>
                      </a:moveTo>
                      <a:cubicBezTo>
                        <a:pt x="387669" y="116292"/>
                        <a:pt x="466342" y="148824"/>
                        <a:pt x="525500" y="207904"/>
                      </a:cubicBezTo>
                      <a:lnTo>
                        <a:pt x="479249" y="254247"/>
                      </a:lnTo>
                      <a:cubicBezTo>
                        <a:pt x="432383" y="207443"/>
                        <a:pt x="370152" y="181817"/>
                        <a:pt x="303925" y="181817"/>
                      </a:cubicBezTo>
                      <a:cubicBezTo>
                        <a:pt x="237698" y="181817"/>
                        <a:pt x="175467" y="207443"/>
                        <a:pt x="128755" y="254247"/>
                      </a:cubicBezTo>
                      <a:lnTo>
                        <a:pt x="82350" y="207904"/>
                      </a:lnTo>
                      <a:cubicBezTo>
                        <a:pt x="141508" y="148824"/>
                        <a:pt x="220181" y="116292"/>
                        <a:pt x="303925" y="116292"/>
                      </a:cubicBezTo>
                      <a:close/>
                      <a:moveTo>
                        <a:pt x="303925" y="0"/>
                      </a:moveTo>
                      <a:cubicBezTo>
                        <a:pt x="418704" y="0"/>
                        <a:pt x="526722" y="44659"/>
                        <a:pt x="607850" y="125690"/>
                      </a:cubicBezTo>
                      <a:lnTo>
                        <a:pt x="561601" y="172038"/>
                      </a:lnTo>
                      <a:cubicBezTo>
                        <a:pt x="492764" y="103284"/>
                        <a:pt x="401187" y="65531"/>
                        <a:pt x="303925" y="65531"/>
                      </a:cubicBezTo>
                      <a:cubicBezTo>
                        <a:pt x="206663" y="65531"/>
                        <a:pt x="115086" y="103284"/>
                        <a:pt x="46403" y="172038"/>
                      </a:cubicBezTo>
                      <a:lnTo>
                        <a:pt x="0" y="125690"/>
                      </a:lnTo>
                      <a:cubicBezTo>
                        <a:pt x="81128" y="44659"/>
                        <a:pt x="189146" y="0"/>
                        <a:pt x="303925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3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5" name="组合 34"/>
              <p:cNvGrpSpPr/>
              <p:nvPr/>
            </p:nvGrpSpPr>
            <p:grpSpPr>
              <a:xfrm>
                <a:off x="9150168" y="4740316"/>
                <a:ext cx="1897074" cy="914573"/>
                <a:chOff x="1238250" y="4756337"/>
                <a:chExt cx="1897074" cy="914573"/>
              </a:xfrm>
            </p:grpSpPr>
            <p:grpSp>
              <p:nvGrpSpPr>
                <p:cNvPr id="39" name="组合 38"/>
                <p:cNvGrpSpPr/>
                <p:nvPr/>
              </p:nvGrpSpPr>
              <p:grpSpPr>
                <a:xfrm>
                  <a:off x="1625978" y="4756337"/>
                  <a:ext cx="1509346" cy="914573"/>
                  <a:chOff x="1814498" y="4581394"/>
                  <a:chExt cx="1509346" cy="914573"/>
                </a:xfrm>
              </p:grpSpPr>
              <p:sp>
                <p:nvSpPr>
                  <p:cNvPr id="41" name="矩形 40"/>
                  <p:cNvSpPr/>
                  <p:nvPr/>
                </p:nvSpPr>
                <p:spPr bwMode="auto">
                  <a:xfrm>
                    <a:off x="1814498" y="4941388"/>
                    <a:ext cx="1509345" cy="55457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lIns="90000" tIns="46800" rIns="90000" bIns="46800" anchor="t" anchorCtr="0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>
                      <a:lnSpc>
                        <a:spcPct val="130000"/>
                      </a:lnSpc>
                      <a:spcBef>
                        <a:spcPct val="0"/>
                      </a:spcBef>
                    </a:pPr>
                    <a:r>
                      <a:rPr lang="en-US" altLang="zh-CN" sz="1100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Supporting text here. </a:t>
                    </a:r>
                    <a:endPara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  <a:p>
                    <a:pPr>
                      <a:lnSpc>
                        <a:spcPct val="130000"/>
                      </a:lnSpc>
                      <a:spcBef>
                        <a:spcPct val="0"/>
                      </a:spcBef>
                    </a:pPr>
                    <a:r>
                      <a:rPr lang="en-US" altLang="zh-CN" sz="1100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… …</a:t>
                    </a:r>
                    <a:endPara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42" name="文本框 41"/>
                  <p:cNvSpPr txBox="1"/>
                  <p:nvPr/>
                </p:nvSpPr>
                <p:spPr bwMode="auto">
                  <a:xfrm>
                    <a:off x="1814498" y="4581394"/>
                    <a:ext cx="1509346" cy="35999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lIns="90000" tIns="46800" rIns="90000" bIns="46800" anchor="ctr" anchorCtr="0"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</a:defRPr>
                    </a:lvl9pPr>
                  </a:lstStyle>
                  <a:p>
                    <a:pPr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buFontTx/>
                      <a:buNone/>
                    </a:pPr>
                    <a:r>
                      <a:rPr lang="en-US" altLang="zh-CN" sz="1400" b="1" dirty="0">
                        <a:solidFill>
                          <a:schemeClr val="bg1"/>
                        </a:solidFill>
                        <a:cs typeface="+mn-ea"/>
                        <a:sym typeface="+mn-lt"/>
                      </a:rPr>
                      <a:t>Text here</a:t>
                    </a:r>
                    <a:endParaRPr lang="en-US" altLang="zh-CN" sz="1400" b="1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sp>
              <p:nvSpPr>
                <p:cNvPr id="40" name="任意多边形: 形状 39"/>
                <p:cNvSpPr/>
                <p:nvPr/>
              </p:nvSpPr>
              <p:spPr>
                <a:xfrm>
                  <a:off x="1238250" y="4876073"/>
                  <a:ext cx="263903" cy="233979"/>
                </a:xfrm>
                <a:custGeom>
                  <a:avLst/>
                  <a:gdLst>
                    <a:gd name="connsiteX0" fmla="*/ 254184 w 609262"/>
                    <a:gd name="connsiteY0" fmla="*/ 283532 h 540178"/>
                    <a:gd name="connsiteX1" fmla="*/ 254402 w 609262"/>
                    <a:gd name="connsiteY1" fmla="*/ 283532 h 540178"/>
                    <a:gd name="connsiteX2" fmla="*/ 276279 w 609262"/>
                    <a:gd name="connsiteY2" fmla="*/ 305374 h 540178"/>
                    <a:gd name="connsiteX3" fmla="*/ 276279 w 609262"/>
                    <a:gd name="connsiteY3" fmla="*/ 469628 h 540178"/>
                    <a:gd name="connsiteX4" fmla="*/ 311938 w 609262"/>
                    <a:gd name="connsiteY4" fmla="*/ 421138 h 540178"/>
                    <a:gd name="connsiteX5" fmla="*/ 342566 w 609262"/>
                    <a:gd name="connsiteY5" fmla="*/ 416551 h 540178"/>
                    <a:gd name="connsiteX6" fmla="*/ 347379 w 609262"/>
                    <a:gd name="connsiteY6" fmla="*/ 446912 h 540178"/>
                    <a:gd name="connsiteX7" fmla="*/ 293343 w 609262"/>
                    <a:gd name="connsiteY7" fmla="*/ 520520 h 540178"/>
                    <a:gd name="connsiteX8" fmla="*/ 254840 w 609262"/>
                    <a:gd name="connsiteY8" fmla="*/ 540178 h 540178"/>
                    <a:gd name="connsiteX9" fmla="*/ 254621 w 609262"/>
                    <a:gd name="connsiteY9" fmla="*/ 540178 h 540178"/>
                    <a:gd name="connsiteX10" fmla="*/ 216118 w 609262"/>
                    <a:gd name="connsiteY10" fmla="*/ 520957 h 540178"/>
                    <a:gd name="connsiteX11" fmla="*/ 160770 w 609262"/>
                    <a:gd name="connsiteY11" fmla="*/ 447567 h 540178"/>
                    <a:gd name="connsiteX12" fmla="*/ 164926 w 609262"/>
                    <a:gd name="connsiteY12" fmla="*/ 416988 h 540178"/>
                    <a:gd name="connsiteX13" fmla="*/ 195772 w 609262"/>
                    <a:gd name="connsiteY13" fmla="*/ 421138 h 540178"/>
                    <a:gd name="connsiteX14" fmla="*/ 232525 w 609262"/>
                    <a:gd name="connsiteY14" fmla="*/ 470065 h 540178"/>
                    <a:gd name="connsiteX15" fmla="*/ 232525 w 609262"/>
                    <a:gd name="connsiteY15" fmla="*/ 305593 h 540178"/>
                    <a:gd name="connsiteX16" fmla="*/ 254184 w 609262"/>
                    <a:gd name="connsiteY16" fmla="*/ 283532 h 540178"/>
                    <a:gd name="connsiteX17" fmla="*/ 252893 w 609262"/>
                    <a:gd name="connsiteY17" fmla="*/ 0 h 540178"/>
                    <a:gd name="connsiteX18" fmla="*/ 349369 w 609262"/>
                    <a:gd name="connsiteY18" fmla="*/ 40193 h 540178"/>
                    <a:gd name="connsiteX19" fmla="*/ 387872 w 609262"/>
                    <a:gd name="connsiteY19" fmla="*/ 114899 h 540178"/>
                    <a:gd name="connsiteX20" fmla="*/ 472315 w 609262"/>
                    <a:gd name="connsiteY20" fmla="*/ 114899 h 540178"/>
                    <a:gd name="connsiteX21" fmla="*/ 609262 w 609262"/>
                    <a:gd name="connsiteY21" fmla="*/ 251642 h 540178"/>
                    <a:gd name="connsiteX22" fmla="*/ 472315 w 609262"/>
                    <a:gd name="connsiteY22" fmla="*/ 388604 h 540178"/>
                    <a:gd name="connsiteX23" fmla="*/ 315023 w 609262"/>
                    <a:gd name="connsiteY23" fmla="*/ 388604 h 540178"/>
                    <a:gd name="connsiteX24" fmla="*/ 293146 w 609262"/>
                    <a:gd name="connsiteY24" fmla="*/ 366760 h 540178"/>
                    <a:gd name="connsiteX25" fmla="*/ 315023 w 609262"/>
                    <a:gd name="connsiteY25" fmla="*/ 344916 h 540178"/>
                    <a:gd name="connsiteX26" fmla="*/ 472315 w 609262"/>
                    <a:gd name="connsiteY26" fmla="*/ 344916 h 540178"/>
                    <a:gd name="connsiteX27" fmla="*/ 565509 w 609262"/>
                    <a:gd name="connsiteY27" fmla="*/ 251642 h 540178"/>
                    <a:gd name="connsiteX28" fmla="*/ 472315 w 609262"/>
                    <a:gd name="connsiteY28" fmla="*/ 158587 h 540178"/>
                    <a:gd name="connsiteX29" fmla="*/ 367964 w 609262"/>
                    <a:gd name="connsiteY29" fmla="*/ 158587 h 540178"/>
                    <a:gd name="connsiteX30" fmla="*/ 346087 w 609262"/>
                    <a:gd name="connsiteY30" fmla="*/ 137180 h 540178"/>
                    <a:gd name="connsiteX31" fmla="*/ 252893 w 609262"/>
                    <a:gd name="connsiteY31" fmla="*/ 43688 h 540178"/>
                    <a:gd name="connsiteX32" fmla="*/ 159699 w 609262"/>
                    <a:gd name="connsiteY32" fmla="*/ 136743 h 540178"/>
                    <a:gd name="connsiteX33" fmla="*/ 137823 w 609262"/>
                    <a:gd name="connsiteY33" fmla="*/ 158587 h 540178"/>
                    <a:gd name="connsiteX34" fmla="*/ 137166 w 609262"/>
                    <a:gd name="connsiteY34" fmla="*/ 158587 h 540178"/>
                    <a:gd name="connsiteX35" fmla="*/ 43753 w 609262"/>
                    <a:gd name="connsiteY35" fmla="*/ 251642 h 540178"/>
                    <a:gd name="connsiteX36" fmla="*/ 136947 w 609262"/>
                    <a:gd name="connsiteY36" fmla="*/ 344916 h 540178"/>
                    <a:gd name="connsiteX37" fmla="*/ 189670 w 609262"/>
                    <a:gd name="connsiteY37" fmla="*/ 344916 h 540178"/>
                    <a:gd name="connsiteX38" fmla="*/ 211547 w 609262"/>
                    <a:gd name="connsiteY38" fmla="*/ 366760 h 540178"/>
                    <a:gd name="connsiteX39" fmla="*/ 189670 w 609262"/>
                    <a:gd name="connsiteY39" fmla="*/ 388604 h 540178"/>
                    <a:gd name="connsiteX40" fmla="*/ 136947 w 609262"/>
                    <a:gd name="connsiteY40" fmla="*/ 388604 h 540178"/>
                    <a:gd name="connsiteX41" fmla="*/ 0 w 609262"/>
                    <a:gd name="connsiteY41" fmla="*/ 251642 h 540178"/>
                    <a:gd name="connsiteX42" fmla="*/ 40253 w 609262"/>
                    <a:gd name="connsiteY42" fmla="*/ 155311 h 540178"/>
                    <a:gd name="connsiteX43" fmla="*/ 117477 w 609262"/>
                    <a:gd name="connsiteY43" fmla="*/ 116647 h 540178"/>
                    <a:gd name="connsiteX44" fmla="*/ 252893 w 609262"/>
                    <a:gd name="connsiteY44" fmla="*/ 0 h 5401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609262" h="540178">
                      <a:moveTo>
                        <a:pt x="254184" y="283532"/>
                      </a:moveTo>
                      <a:lnTo>
                        <a:pt x="254402" y="283532"/>
                      </a:lnTo>
                      <a:cubicBezTo>
                        <a:pt x="266435" y="283532"/>
                        <a:pt x="276060" y="293361"/>
                        <a:pt x="276279" y="305374"/>
                      </a:cubicBezTo>
                      <a:lnTo>
                        <a:pt x="276279" y="469628"/>
                      </a:lnTo>
                      <a:lnTo>
                        <a:pt x="311938" y="421138"/>
                      </a:lnTo>
                      <a:cubicBezTo>
                        <a:pt x="319158" y="411527"/>
                        <a:pt x="332940" y="409343"/>
                        <a:pt x="342566" y="416551"/>
                      </a:cubicBezTo>
                      <a:cubicBezTo>
                        <a:pt x="352410" y="423541"/>
                        <a:pt x="354379" y="437301"/>
                        <a:pt x="347379" y="446912"/>
                      </a:cubicBezTo>
                      <a:lnTo>
                        <a:pt x="293343" y="520520"/>
                      </a:lnTo>
                      <a:cubicBezTo>
                        <a:pt x="284155" y="532970"/>
                        <a:pt x="270154" y="539960"/>
                        <a:pt x="254840" y="540178"/>
                      </a:cubicBezTo>
                      <a:lnTo>
                        <a:pt x="254621" y="540178"/>
                      </a:lnTo>
                      <a:cubicBezTo>
                        <a:pt x="239307" y="540178"/>
                        <a:pt x="225306" y="533189"/>
                        <a:pt x="216118" y="520957"/>
                      </a:cubicBezTo>
                      <a:lnTo>
                        <a:pt x="160770" y="447567"/>
                      </a:lnTo>
                      <a:cubicBezTo>
                        <a:pt x="153550" y="437956"/>
                        <a:pt x="155300" y="424196"/>
                        <a:pt x="164926" y="416988"/>
                      </a:cubicBezTo>
                      <a:cubicBezTo>
                        <a:pt x="174771" y="409562"/>
                        <a:pt x="188334" y="411527"/>
                        <a:pt x="195772" y="421138"/>
                      </a:cubicBezTo>
                      <a:lnTo>
                        <a:pt x="232525" y="470065"/>
                      </a:lnTo>
                      <a:lnTo>
                        <a:pt x="232525" y="305593"/>
                      </a:lnTo>
                      <a:cubicBezTo>
                        <a:pt x="232307" y="293361"/>
                        <a:pt x="242151" y="283532"/>
                        <a:pt x="254184" y="283532"/>
                      </a:cubicBezTo>
                      <a:close/>
                      <a:moveTo>
                        <a:pt x="252893" y="0"/>
                      </a:moveTo>
                      <a:cubicBezTo>
                        <a:pt x="289427" y="0"/>
                        <a:pt x="323773" y="14199"/>
                        <a:pt x="349369" y="40193"/>
                      </a:cubicBezTo>
                      <a:cubicBezTo>
                        <a:pt x="369933" y="60726"/>
                        <a:pt x="383277" y="86721"/>
                        <a:pt x="387872" y="114899"/>
                      </a:cubicBezTo>
                      <a:lnTo>
                        <a:pt x="472315" y="114899"/>
                      </a:lnTo>
                      <a:cubicBezTo>
                        <a:pt x="547789" y="114899"/>
                        <a:pt x="609262" y="176281"/>
                        <a:pt x="609262" y="251642"/>
                      </a:cubicBezTo>
                      <a:cubicBezTo>
                        <a:pt x="609262" y="327222"/>
                        <a:pt x="547789" y="388604"/>
                        <a:pt x="472315" y="388604"/>
                      </a:cubicBezTo>
                      <a:lnTo>
                        <a:pt x="315023" y="388604"/>
                      </a:lnTo>
                      <a:cubicBezTo>
                        <a:pt x="302990" y="388604"/>
                        <a:pt x="293146" y="378774"/>
                        <a:pt x="293146" y="366760"/>
                      </a:cubicBezTo>
                      <a:cubicBezTo>
                        <a:pt x="293146" y="354527"/>
                        <a:pt x="302990" y="344916"/>
                        <a:pt x="315023" y="344916"/>
                      </a:cubicBezTo>
                      <a:lnTo>
                        <a:pt x="472315" y="344916"/>
                      </a:lnTo>
                      <a:cubicBezTo>
                        <a:pt x="523725" y="344916"/>
                        <a:pt x="565509" y="302976"/>
                        <a:pt x="565509" y="251642"/>
                      </a:cubicBezTo>
                      <a:cubicBezTo>
                        <a:pt x="565509" y="200309"/>
                        <a:pt x="523725" y="158587"/>
                        <a:pt x="472315" y="158587"/>
                      </a:cubicBezTo>
                      <a:lnTo>
                        <a:pt x="367964" y="158587"/>
                      </a:lnTo>
                      <a:cubicBezTo>
                        <a:pt x="356151" y="158587"/>
                        <a:pt x="346306" y="148976"/>
                        <a:pt x="346087" y="137180"/>
                      </a:cubicBezTo>
                      <a:cubicBezTo>
                        <a:pt x="345431" y="84755"/>
                        <a:pt x="304303" y="43688"/>
                        <a:pt x="252893" y="43688"/>
                      </a:cubicBezTo>
                      <a:cubicBezTo>
                        <a:pt x="201483" y="43688"/>
                        <a:pt x="159699" y="85410"/>
                        <a:pt x="159699" y="136743"/>
                      </a:cubicBezTo>
                      <a:cubicBezTo>
                        <a:pt x="159699" y="148757"/>
                        <a:pt x="149855" y="158587"/>
                        <a:pt x="137823" y="158587"/>
                      </a:cubicBezTo>
                      <a:lnTo>
                        <a:pt x="137166" y="158587"/>
                      </a:lnTo>
                      <a:cubicBezTo>
                        <a:pt x="84881" y="159461"/>
                        <a:pt x="43753" y="200309"/>
                        <a:pt x="43753" y="251642"/>
                      </a:cubicBezTo>
                      <a:cubicBezTo>
                        <a:pt x="43753" y="302976"/>
                        <a:pt x="85538" y="344698"/>
                        <a:pt x="136947" y="344916"/>
                      </a:cubicBezTo>
                      <a:lnTo>
                        <a:pt x="189670" y="344916"/>
                      </a:lnTo>
                      <a:cubicBezTo>
                        <a:pt x="201702" y="344916"/>
                        <a:pt x="211547" y="354527"/>
                        <a:pt x="211547" y="366760"/>
                      </a:cubicBezTo>
                      <a:cubicBezTo>
                        <a:pt x="211547" y="378774"/>
                        <a:pt x="201702" y="388604"/>
                        <a:pt x="189670" y="388604"/>
                      </a:cubicBezTo>
                      <a:lnTo>
                        <a:pt x="136947" y="388604"/>
                      </a:lnTo>
                      <a:cubicBezTo>
                        <a:pt x="61473" y="388386"/>
                        <a:pt x="0" y="327004"/>
                        <a:pt x="0" y="251642"/>
                      </a:cubicBezTo>
                      <a:cubicBezTo>
                        <a:pt x="0" y="215381"/>
                        <a:pt x="14220" y="181086"/>
                        <a:pt x="40253" y="155311"/>
                      </a:cubicBezTo>
                      <a:cubicBezTo>
                        <a:pt x="61255" y="134340"/>
                        <a:pt x="88163" y="121016"/>
                        <a:pt x="117477" y="116647"/>
                      </a:cubicBezTo>
                      <a:cubicBezTo>
                        <a:pt x="127322" y="50678"/>
                        <a:pt x="184420" y="0"/>
                        <a:pt x="252893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cxnSp>
            <p:nvCxnSpPr>
              <p:cNvPr id="36" name="直接连接符 35"/>
              <p:cNvCxnSpPr/>
              <p:nvPr/>
            </p:nvCxnSpPr>
            <p:spPr>
              <a:xfrm>
                <a:off x="3403528" y="4860052"/>
                <a:ext cx="0" cy="1274047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/>
              <p:nvPr/>
            </p:nvCxnSpPr>
            <p:spPr>
              <a:xfrm>
                <a:off x="6061124" y="4860052"/>
                <a:ext cx="0" cy="1274047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/>
              <p:nvPr/>
            </p:nvCxnSpPr>
            <p:spPr>
              <a:xfrm>
                <a:off x="8752846" y="4860052"/>
                <a:ext cx="0" cy="1274047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组合 6"/>
            <p:cNvGrpSpPr/>
            <p:nvPr/>
          </p:nvGrpSpPr>
          <p:grpSpPr>
            <a:xfrm>
              <a:off x="1106762" y="4404425"/>
              <a:ext cx="320216" cy="320216"/>
              <a:chOff x="1350104" y="2698916"/>
              <a:chExt cx="320216" cy="320216"/>
            </a:xfrm>
          </p:grpSpPr>
          <p:sp>
            <p:nvSpPr>
              <p:cNvPr id="29" name="椭圆 28"/>
              <p:cNvSpPr/>
              <p:nvPr/>
            </p:nvSpPr>
            <p:spPr>
              <a:xfrm>
                <a:off x="1350104" y="2698916"/>
                <a:ext cx="320216" cy="320216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0" name="箭头: V 形 29"/>
              <p:cNvSpPr/>
              <p:nvPr/>
            </p:nvSpPr>
            <p:spPr>
              <a:xfrm flipH="1">
                <a:off x="1443156" y="2791968"/>
                <a:ext cx="134112" cy="134112"/>
              </a:xfrm>
              <a:prstGeom prst="chevron">
                <a:avLst/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25000" lnSpcReduction="20000"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 flipH="1">
              <a:off x="10752322" y="4404425"/>
              <a:ext cx="320216" cy="320216"/>
              <a:chOff x="1350104" y="2698916"/>
              <a:chExt cx="320216" cy="320216"/>
            </a:xfrm>
          </p:grpSpPr>
          <p:sp>
            <p:nvSpPr>
              <p:cNvPr id="27" name="椭圆 26"/>
              <p:cNvSpPr/>
              <p:nvPr/>
            </p:nvSpPr>
            <p:spPr>
              <a:xfrm>
                <a:off x="1350104" y="2698916"/>
                <a:ext cx="320216" cy="320216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箭头: V 形 27"/>
              <p:cNvSpPr/>
              <p:nvPr/>
            </p:nvSpPr>
            <p:spPr>
              <a:xfrm flipH="1">
                <a:off x="1443156" y="2791968"/>
                <a:ext cx="134112" cy="134112"/>
              </a:xfrm>
              <a:prstGeom prst="chevron">
                <a:avLst/>
              </a:pr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25000" lnSpcReduction="20000"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9" name="矩形: 圆角 8"/>
            <p:cNvSpPr/>
            <p:nvPr/>
          </p:nvSpPr>
          <p:spPr>
            <a:xfrm>
              <a:off x="1794917" y="3363289"/>
              <a:ext cx="8589466" cy="2402489"/>
            </a:xfrm>
            <a:prstGeom prst="roundRect">
              <a:avLst>
                <a:gd name="adj" fmla="val 13698"/>
              </a:avLst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dist="38100" dir="5400000" algn="t" rotWithShape="0">
                <a:schemeClr val="bg1">
                  <a:lumMod val="75000"/>
                  <a:alpha val="6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ID">
                <a:cs typeface="+mn-ea"/>
                <a:sym typeface="+mn-lt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2091977" y="3657145"/>
              <a:ext cx="2431419" cy="1814777"/>
              <a:chOff x="2091977" y="3703488"/>
              <a:chExt cx="2431419" cy="1814777"/>
            </a:xfrm>
          </p:grpSpPr>
          <p:sp>
            <p:nvSpPr>
              <p:cNvPr id="23" name="任意多边形: 形状 22"/>
              <p:cNvSpPr/>
              <p:nvPr/>
            </p:nvSpPr>
            <p:spPr>
              <a:xfrm>
                <a:off x="3092611" y="3703488"/>
                <a:ext cx="430150" cy="399966"/>
              </a:xfrm>
              <a:custGeom>
                <a:avLst/>
                <a:gdLst>
                  <a:gd name="T0" fmla="*/ 3685 w 4081"/>
                  <a:gd name="T1" fmla="*/ 0 h 3800"/>
                  <a:gd name="T2" fmla="*/ 396 w 4081"/>
                  <a:gd name="T3" fmla="*/ 0 h 3800"/>
                  <a:gd name="T4" fmla="*/ 0 w 4081"/>
                  <a:gd name="T5" fmla="*/ 396 h 3800"/>
                  <a:gd name="T6" fmla="*/ 0 w 4081"/>
                  <a:gd name="T7" fmla="*/ 2659 h 3800"/>
                  <a:gd name="T8" fmla="*/ 396 w 4081"/>
                  <a:gd name="T9" fmla="*/ 3055 h 3800"/>
                  <a:gd name="T10" fmla="*/ 1510 w 4081"/>
                  <a:gd name="T11" fmla="*/ 3055 h 3800"/>
                  <a:gd name="T12" fmla="*/ 1115 w 4081"/>
                  <a:gd name="T13" fmla="*/ 3671 h 3800"/>
                  <a:gd name="T14" fmla="*/ 1071 w 4081"/>
                  <a:gd name="T15" fmla="*/ 3745 h 3800"/>
                  <a:gd name="T16" fmla="*/ 1137 w 4081"/>
                  <a:gd name="T17" fmla="*/ 3800 h 3800"/>
                  <a:gd name="T18" fmla="*/ 2944 w 4081"/>
                  <a:gd name="T19" fmla="*/ 3800 h 3800"/>
                  <a:gd name="T20" fmla="*/ 3010 w 4081"/>
                  <a:gd name="T21" fmla="*/ 3745 h 3800"/>
                  <a:gd name="T22" fmla="*/ 2966 w 4081"/>
                  <a:gd name="T23" fmla="*/ 3671 h 3800"/>
                  <a:gd name="T24" fmla="*/ 2571 w 4081"/>
                  <a:gd name="T25" fmla="*/ 3055 h 3800"/>
                  <a:gd name="T26" fmla="*/ 3685 w 4081"/>
                  <a:gd name="T27" fmla="*/ 3055 h 3800"/>
                  <a:gd name="T28" fmla="*/ 4081 w 4081"/>
                  <a:gd name="T29" fmla="*/ 2659 h 3800"/>
                  <a:gd name="T30" fmla="*/ 4081 w 4081"/>
                  <a:gd name="T31" fmla="*/ 396 h 3800"/>
                  <a:gd name="T32" fmla="*/ 3685 w 4081"/>
                  <a:gd name="T33" fmla="*/ 0 h 3800"/>
                  <a:gd name="T34" fmla="*/ 2040 w 4081"/>
                  <a:gd name="T35" fmla="*/ 2764 h 3800"/>
                  <a:gd name="T36" fmla="*/ 1922 w 4081"/>
                  <a:gd name="T37" fmla="*/ 2646 h 3800"/>
                  <a:gd name="T38" fmla="*/ 2040 w 4081"/>
                  <a:gd name="T39" fmla="*/ 2528 h 3800"/>
                  <a:gd name="T40" fmla="*/ 2159 w 4081"/>
                  <a:gd name="T41" fmla="*/ 2646 h 3800"/>
                  <a:gd name="T42" fmla="*/ 2040 w 4081"/>
                  <a:gd name="T43" fmla="*/ 2764 h 3800"/>
                  <a:gd name="T44" fmla="*/ 3814 w 4081"/>
                  <a:gd name="T45" fmla="*/ 2315 h 3800"/>
                  <a:gd name="T46" fmla="*/ 267 w 4081"/>
                  <a:gd name="T47" fmla="*/ 2315 h 3800"/>
                  <a:gd name="T48" fmla="*/ 267 w 4081"/>
                  <a:gd name="T49" fmla="*/ 396 h 3800"/>
                  <a:gd name="T50" fmla="*/ 396 w 4081"/>
                  <a:gd name="T51" fmla="*/ 267 h 3800"/>
                  <a:gd name="T52" fmla="*/ 3685 w 4081"/>
                  <a:gd name="T53" fmla="*/ 267 h 3800"/>
                  <a:gd name="T54" fmla="*/ 3814 w 4081"/>
                  <a:gd name="T55" fmla="*/ 396 h 3800"/>
                  <a:gd name="T56" fmla="*/ 3814 w 4081"/>
                  <a:gd name="T57" fmla="*/ 2315 h 3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81" h="3800">
                    <a:moveTo>
                      <a:pt x="3685" y="0"/>
                    </a:moveTo>
                    <a:lnTo>
                      <a:pt x="396" y="0"/>
                    </a:lnTo>
                    <a:cubicBezTo>
                      <a:pt x="178" y="0"/>
                      <a:pt x="0" y="178"/>
                      <a:pt x="0" y="396"/>
                    </a:cubicBezTo>
                    <a:lnTo>
                      <a:pt x="0" y="2659"/>
                    </a:lnTo>
                    <a:cubicBezTo>
                      <a:pt x="0" y="2878"/>
                      <a:pt x="178" y="3055"/>
                      <a:pt x="396" y="3055"/>
                    </a:cubicBezTo>
                    <a:lnTo>
                      <a:pt x="1510" y="3055"/>
                    </a:lnTo>
                    <a:cubicBezTo>
                      <a:pt x="1511" y="3233"/>
                      <a:pt x="1463" y="3553"/>
                      <a:pt x="1115" y="3671"/>
                    </a:cubicBezTo>
                    <a:cubicBezTo>
                      <a:pt x="1084" y="3681"/>
                      <a:pt x="1066" y="3712"/>
                      <a:pt x="1071" y="3745"/>
                    </a:cubicBezTo>
                    <a:cubicBezTo>
                      <a:pt x="1076" y="3777"/>
                      <a:pt x="1104" y="3800"/>
                      <a:pt x="1137" y="3800"/>
                    </a:cubicBezTo>
                    <a:lnTo>
                      <a:pt x="2944" y="3800"/>
                    </a:lnTo>
                    <a:cubicBezTo>
                      <a:pt x="2977" y="3800"/>
                      <a:pt x="3005" y="3777"/>
                      <a:pt x="3010" y="3745"/>
                    </a:cubicBezTo>
                    <a:cubicBezTo>
                      <a:pt x="3015" y="3712"/>
                      <a:pt x="2997" y="3681"/>
                      <a:pt x="2966" y="3671"/>
                    </a:cubicBezTo>
                    <a:cubicBezTo>
                      <a:pt x="2618" y="3553"/>
                      <a:pt x="2570" y="3233"/>
                      <a:pt x="2571" y="3055"/>
                    </a:cubicBezTo>
                    <a:lnTo>
                      <a:pt x="3685" y="3055"/>
                    </a:lnTo>
                    <a:cubicBezTo>
                      <a:pt x="3903" y="3055"/>
                      <a:pt x="4081" y="2878"/>
                      <a:pt x="4081" y="2659"/>
                    </a:cubicBezTo>
                    <a:lnTo>
                      <a:pt x="4081" y="396"/>
                    </a:lnTo>
                    <a:cubicBezTo>
                      <a:pt x="4081" y="178"/>
                      <a:pt x="3903" y="0"/>
                      <a:pt x="3685" y="0"/>
                    </a:cubicBezTo>
                    <a:close/>
                    <a:moveTo>
                      <a:pt x="2040" y="2764"/>
                    </a:moveTo>
                    <a:cubicBezTo>
                      <a:pt x="1975" y="2764"/>
                      <a:pt x="1922" y="2711"/>
                      <a:pt x="1922" y="2646"/>
                    </a:cubicBezTo>
                    <a:cubicBezTo>
                      <a:pt x="1922" y="2581"/>
                      <a:pt x="1975" y="2528"/>
                      <a:pt x="2040" y="2528"/>
                    </a:cubicBezTo>
                    <a:cubicBezTo>
                      <a:pt x="2106" y="2528"/>
                      <a:pt x="2159" y="2581"/>
                      <a:pt x="2159" y="2646"/>
                    </a:cubicBezTo>
                    <a:cubicBezTo>
                      <a:pt x="2159" y="2711"/>
                      <a:pt x="2106" y="2764"/>
                      <a:pt x="2040" y="2764"/>
                    </a:cubicBezTo>
                    <a:close/>
                    <a:moveTo>
                      <a:pt x="3814" y="2315"/>
                    </a:moveTo>
                    <a:lnTo>
                      <a:pt x="267" y="2315"/>
                    </a:lnTo>
                    <a:lnTo>
                      <a:pt x="267" y="396"/>
                    </a:lnTo>
                    <a:cubicBezTo>
                      <a:pt x="267" y="325"/>
                      <a:pt x="325" y="267"/>
                      <a:pt x="396" y="267"/>
                    </a:cubicBezTo>
                    <a:lnTo>
                      <a:pt x="3685" y="267"/>
                    </a:lnTo>
                    <a:cubicBezTo>
                      <a:pt x="3756" y="267"/>
                      <a:pt x="3814" y="325"/>
                      <a:pt x="3814" y="396"/>
                    </a:cubicBezTo>
                    <a:lnTo>
                      <a:pt x="3814" y="2315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4" name="组合 23"/>
              <p:cNvGrpSpPr/>
              <p:nvPr/>
            </p:nvGrpSpPr>
            <p:grpSpPr>
              <a:xfrm>
                <a:off x="2091977" y="4195464"/>
                <a:ext cx="2431419" cy="1322801"/>
                <a:chOff x="1605764" y="2532185"/>
                <a:chExt cx="2979615" cy="1322801"/>
              </a:xfrm>
            </p:grpSpPr>
            <p:sp>
              <p:nvSpPr>
                <p:cNvPr id="25" name="矩形 24"/>
                <p:cNvSpPr/>
                <p:nvPr/>
              </p:nvSpPr>
              <p:spPr bwMode="auto">
                <a:xfrm>
                  <a:off x="1605764" y="2976194"/>
                  <a:ext cx="2979611" cy="8787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2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2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200" dirty="0">
                      <a:cs typeface="+mn-ea"/>
                      <a:sym typeface="+mn-lt"/>
                    </a:rPr>
                    <a:t>……</a:t>
                  </a:r>
                  <a:endParaRPr lang="en-US" altLang="zh-CN" sz="12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文本框 25"/>
                <p:cNvSpPr txBox="1"/>
                <p:nvPr/>
              </p:nvSpPr>
              <p:spPr bwMode="auto">
                <a:xfrm>
                  <a:off x="1605765" y="2532185"/>
                  <a:ext cx="2979614" cy="44400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/>
                  <a:r>
                    <a:rPr lang="en-US" altLang="zh-CN" sz="16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cs typeface="+mn-ea"/>
                      <a:sym typeface="+mn-lt"/>
                    </a:rPr>
                    <a:t>过程</a:t>
                  </a:r>
                  <a:endParaRPr lang="zh-CN" altLang="en-US" sz="1600" b="1" dirty="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/>
            <p:cNvGrpSpPr/>
            <p:nvPr/>
          </p:nvGrpSpPr>
          <p:grpSpPr>
            <a:xfrm>
              <a:off x="4873940" y="3657144"/>
              <a:ext cx="2431419" cy="1814778"/>
              <a:chOff x="4873939" y="3703487"/>
              <a:chExt cx="2431419" cy="1814778"/>
            </a:xfrm>
          </p:grpSpPr>
          <p:sp>
            <p:nvSpPr>
              <p:cNvPr id="19" name="任意多边形: 形状 18"/>
              <p:cNvSpPr/>
              <p:nvPr/>
            </p:nvSpPr>
            <p:spPr>
              <a:xfrm>
                <a:off x="5874573" y="3703487"/>
                <a:ext cx="430150" cy="399966"/>
              </a:xfrm>
              <a:custGeom>
                <a:avLst/>
                <a:gdLst>
                  <a:gd name="T0" fmla="*/ 3685 w 4081"/>
                  <a:gd name="T1" fmla="*/ 0 h 3800"/>
                  <a:gd name="T2" fmla="*/ 396 w 4081"/>
                  <a:gd name="T3" fmla="*/ 0 h 3800"/>
                  <a:gd name="T4" fmla="*/ 0 w 4081"/>
                  <a:gd name="T5" fmla="*/ 396 h 3800"/>
                  <a:gd name="T6" fmla="*/ 0 w 4081"/>
                  <a:gd name="T7" fmla="*/ 2659 h 3800"/>
                  <a:gd name="T8" fmla="*/ 396 w 4081"/>
                  <a:gd name="T9" fmla="*/ 3055 h 3800"/>
                  <a:gd name="T10" fmla="*/ 1510 w 4081"/>
                  <a:gd name="T11" fmla="*/ 3055 h 3800"/>
                  <a:gd name="T12" fmla="*/ 1115 w 4081"/>
                  <a:gd name="T13" fmla="*/ 3671 h 3800"/>
                  <a:gd name="T14" fmla="*/ 1071 w 4081"/>
                  <a:gd name="T15" fmla="*/ 3745 h 3800"/>
                  <a:gd name="T16" fmla="*/ 1137 w 4081"/>
                  <a:gd name="T17" fmla="*/ 3800 h 3800"/>
                  <a:gd name="T18" fmla="*/ 2944 w 4081"/>
                  <a:gd name="T19" fmla="*/ 3800 h 3800"/>
                  <a:gd name="T20" fmla="*/ 3010 w 4081"/>
                  <a:gd name="T21" fmla="*/ 3745 h 3800"/>
                  <a:gd name="T22" fmla="*/ 2966 w 4081"/>
                  <a:gd name="T23" fmla="*/ 3671 h 3800"/>
                  <a:gd name="T24" fmla="*/ 2571 w 4081"/>
                  <a:gd name="T25" fmla="*/ 3055 h 3800"/>
                  <a:gd name="T26" fmla="*/ 3685 w 4081"/>
                  <a:gd name="T27" fmla="*/ 3055 h 3800"/>
                  <a:gd name="T28" fmla="*/ 4081 w 4081"/>
                  <a:gd name="T29" fmla="*/ 2659 h 3800"/>
                  <a:gd name="T30" fmla="*/ 4081 w 4081"/>
                  <a:gd name="T31" fmla="*/ 396 h 3800"/>
                  <a:gd name="T32" fmla="*/ 3685 w 4081"/>
                  <a:gd name="T33" fmla="*/ 0 h 3800"/>
                  <a:gd name="T34" fmla="*/ 2040 w 4081"/>
                  <a:gd name="T35" fmla="*/ 2764 h 3800"/>
                  <a:gd name="T36" fmla="*/ 1922 w 4081"/>
                  <a:gd name="T37" fmla="*/ 2646 h 3800"/>
                  <a:gd name="T38" fmla="*/ 2040 w 4081"/>
                  <a:gd name="T39" fmla="*/ 2528 h 3800"/>
                  <a:gd name="T40" fmla="*/ 2159 w 4081"/>
                  <a:gd name="T41" fmla="*/ 2646 h 3800"/>
                  <a:gd name="T42" fmla="*/ 2040 w 4081"/>
                  <a:gd name="T43" fmla="*/ 2764 h 3800"/>
                  <a:gd name="T44" fmla="*/ 3814 w 4081"/>
                  <a:gd name="T45" fmla="*/ 2315 h 3800"/>
                  <a:gd name="T46" fmla="*/ 267 w 4081"/>
                  <a:gd name="T47" fmla="*/ 2315 h 3800"/>
                  <a:gd name="T48" fmla="*/ 267 w 4081"/>
                  <a:gd name="T49" fmla="*/ 396 h 3800"/>
                  <a:gd name="T50" fmla="*/ 396 w 4081"/>
                  <a:gd name="T51" fmla="*/ 267 h 3800"/>
                  <a:gd name="T52" fmla="*/ 3685 w 4081"/>
                  <a:gd name="T53" fmla="*/ 267 h 3800"/>
                  <a:gd name="T54" fmla="*/ 3814 w 4081"/>
                  <a:gd name="T55" fmla="*/ 396 h 3800"/>
                  <a:gd name="T56" fmla="*/ 3814 w 4081"/>
                  <a:gd name="T57" fmla="*/ 2315 h 3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81" h="3800">
                    <a:moveTo>
                      <a:pt x="3685" y="0"/>
                    </a:moveTo>
                    <a:lnTo>
                      <a:pt x="396" y="0"/>
                    </a:lnTo>
                    <a:cubicBezTo>
                      <a:pt x="178" y="0"/>
                      <a:pt x="0" y="178"/>
                      <a:pt x="0" y="396"/>
                    </a:cubicBezTo>
                    <a:lnTo>
                      <a:pt x="0" y="2659"/>
                    </a:lnTo>
                    <a:cubicBezTo>
                      <a:pt x="0" y="2878"/>
                      <a:pt x="178" y="3055"/>
                      <a:pt x="396" y="3055"/>
                    </a:cubicBezTo>
                    <a:lnTo>
                      <a:pt x="1510" y="3055"/>
                    </a:lnTo>
                    <a:cubicBezTo>
                      <a:pt x="1511" y="3233"/>
                      <a:pt x="1463" y="3553"/>
                      <a:pt x="1115" y="3671"/>
                    </a:cubicBezTo>
                    <a:cubicBezTo>
                      <a:pt x="1084" y="3681"/>
                      <a:pt x="1066" y="3712"/>
                      <a:pt x="1071" y="3745"/>
                    </a:cubicBezTo>
                    <a:cubicBezTo>
                      <a:pt x="1076" y="3777"/>
                      <a:pt x="1104" y="3800"/>
                      <a:pt x="1137" y="3800"/>
                    </a:cubicBezTo>
                    <a:lnTo>
                      <a:pt x="2944" y="3800"/>
                    </a:lnTo>
                    <a:cubicBezTo>
                      <a:pt x="2977" y="3800"/>
                      <a:pt x="3005" y="3777"/>
                      <a:pt x="3010" y="3745"/>
                    </a:cubicBezTo>
                    <a:cubicBezTo>
                      <a:pt x="3015" y="3712"/>
                      <a:pt x="2997" y="3681"/>
                      <a:pt x="2966" y="3671"/>
                    </a:cubicBezTo>
                    <a:cubicBezTo>
                      <a:pt x="2618" y="3553"/>
                      <a:pt x="2570" y="3233"/>
                      <a:pt x="2571" y="3055"/>
                    </a:cubicBezTo>
                    <a:lnTo>
                      <a:pt x="3685" y="3055"/>
                    </a:lnTo>
                    <a:cubicBezTo>
                      <a:pt x="3903" y="3055"/>
                      <a:pt x="4081" y="2878"/>
                      <a:pt x="4081" y="2659"/>
                    </a:cubicBezTo>
                    <a:lnTo>
                      <a:pt x="4081" y="396"/>
                    </a:lnTo>
                    <a:cubicBezTo>
                      <a:pt x="4081" y="178"/>
                      <a:pt x="3903" y="0"/>
                      <a:pt x="3685" y="0"/>
                    </a:cubicBezTo>
                    <a:close/>
                    <a:moveTo>
                      <a:pt x="2040" y="2764"/>
                    </a:moveTo>
                    <a:cubicBezTo>
                      <a:pt x="1975" y="2764"/>
                      <a:pt x="1922" y="2711"/>
                      <a:pt x="1922" y="2646"/>
                    </a:cubicBezTo>
                    <a:cubicBezTo>
                      <a:pt x="1922" y="2581"/>
                      <a:pt x="1975" y="2528"/>
                      <a:pt x="2040" y="2528"/>
                    </a:cubicBezTo>
                    <a:cubicBezTo>
                      <a:pt x="2106" y="2528"/>
                      <a:pt x="2159" y="2581"/>
                      <a:pt x="2159" y="2646"/>
                    </a:cubicBezTo>
                    <a:cubicBezTo>
                      <a:pt x="2159" y="2711"/>
                      <a:pt x="2106" y="2764"/>
                      <a:pt x="2040" y="2764"/>
                    </a:cubicBezTo>
                    <a:close/>
                    <a:moveTo>
                      <a:pt x="3814" y="2315"/>
                    </a:moveTo>
                    <a:lnTo>
                      <a:pt x="267" y="2315"/>
                    </a:lnTo>
                    <a:lnTo>
                      <a:pt x="267" y="396"/>
                    </a:lnTo>
                    <a:cubicBezTo>
                      <a:pt x="267" y="325"/>
                      <a:pt x="325" y="267"/>
                      <a:pt x="396" y="267"/>
                    </a:cubicBezTo>
                    <a:lnTo>
                      <a:pt x="3685" y="267"/>
                    </a:lnTo>
                    <a:cubicBezTo>
                      <a:pt x="3756" y="267"/>
                      <a:pt x="3814" y="325"/>
                      <a:pt x="3814" y="396"/>
                    </a:cubicBezTo>
                    <a:lnTo>
                      <a:pt x="3814" y="2315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0" name="组合 19"/>
              <p:cNvGrpSpPr/>
              <p:nvPr/>
            </p:nvGrpSpPr>
            <p:grpSpPr>
              <a:xfrm>
                <a:off x="4873939" y="4195464"/>
                <a:ext cx="2431419" cy="1322801"/>
                <a:chOff x="1605764" y="2532185"/>
                <a:chExt cx="2979615" cy="1322801"/>
              </a:xfrm>
            </p:grpSpPr>
            <p:sp>
              <p:nvSpPr>
                <p:cNvPr id="21" name="矩形 20"/>
                <p:cNvSpPr/>
                <p:nvPr/>
              </p:nvSpPr>
              <p:spPr bwMode="auto">
                <a:xfrm>
                  <a:off x="1605764" y="2976194"/>
                  <a:ext cx="2979611" cy="8787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2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2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200" dirty="0">
                      <a:cs typeface="+mn-ea"/>
                      <a:sym typeface="+mn-lt"/>
                    </a:rPr>
                    <a:t>……</a:t>
                  </a:r>
                  <a:endParaRPr lang="en-US" altLang="zh-CN" sz="12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文本框 21"/>
                <p:cNvSpPr txBox="1"/>
                <p:nvPr/>
              </p:nvSpPr>
              <p:spPr bwMode="auto">
                <a:xfrm>
                  <a:off x="1605765" y="2532185"/>
                  <a:ext cx="2979614" cy="44400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/>
                  <a:r>
                    <a:rPr lang="en-US" altLang="zh-CN" sz="16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cs typeface="+mn-ea"/>
                      <a:sym typeface="+mn-lt"/>
                    </a:rPr>
                    <a:t>过程</a:t>
                  </a:r>
                  <a:endParaRPr lang="zh-CN" altLang="en-US" sz="1600" b="1" dirty="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/>
            <p:cNvGrpSpPr/>
            <p:nvPr/>
          </p:nvGrpSpPr>
          <p:grpSpPr>
            <a:xfrm>
              <a:off x="7655904" y="3657145"/>
              <a:ext cx="2431419" cy="1814777"/>
              <a:chOff x="7655904" y="3703488"/>
              <a:chExt cx="2431419" cy="1814777"/>
            </a:xfrm>
          </p:grpSpPr>
          <p:sp>
            <p:nvSpPr>
              <p:cNvPr id="15" name="任意多边形: 形状 14"/>
              <p:cNvSpPr/>
              <p:nvPr/>
            </p:nvSpPr>
            <p:spPr>
              <a:xfrm>
                <a:off x="8656538" y="3703488"/>
                <a:ext cx="430150" cy="399966"/>
              </a:xfrm>
              <a:custGeom>
                <a:avLst/>
                <a:gdLst>
                  <a:gd name="T0" fmla="*/ 3685 w 4081"/>
                  <a:gd name="T1" fmla="*/ 0 h 3800"/>
                  <a:gd name="T2" fmla="*/ 396 w 4081"/>
                  <a:gd name="T3" fmla="*/ 0 h 3800"/>
                  <a:gd name="T4" fmla="*/ 0 w 4081"/>
                  <a:gd name="T5" fmla="*/ 396 h 3800"/>
                  <a:gd name="T6" fmla="*/ 0 w 4081"/>
                  <a:gd name="T7" fmla="*/ 2659 h 3800"/>
                  <a:gd name="T8" fmla="*/ 396 w 4081"/>
                  <a:gd name="T9" fmla="*/ 3055 h 3800"/>
                  <a:gd name="T10" fmla="*/ 1510 w 4081"/>
                  <a:gd name="T11" fmla="*/ 3055 h 3800"/>
                  <a:gd name="T12" fmla="*/ 1115 w 4081"/>
                  <a:gd name="T13" fmla="*/ 3671 h 3800"/>
                  <a:gd name="T14" fmla="*/ 1071 w 4081"/>
                  <a:gd name="T15" fmla="*/ 3745 h 3800"/>
                  <a:gd name="T16" fmla="*/ 1137 w 4081"/>
                  <a:gd name="T17" fmla="*/ 3800 h 3800"/>
                  <a:gd name="T18" fmla="*/ 2944 w 4081"/>
                  <a:gd name="T19" fmla="*/ 3800 h 3800"/>
                  <a:gd name="T20" fmla="*/ 3010 w 4081"/>
                  <a:gd name="T21" fmla="*/ 3745 h 3800"/>
                  <a:gd name="T22" fmla="*/ 2966 w 4081"/>
                  <a:gd name="T23" fmla="*/ 3671 h 3800"/>
                  <a:gd name="T24" fmla="*/ 2571 w 4081"/>
                  <a:gd name="T25" fmla="*/ 3055 h 3800"/>
                  <a:gd name="T26" fmla="*/ 3685 w 4081"/>
                  <a:gd name="T27" fmla="*/ 3055 h 3800"/>
                  <a:gd name="T28" fmla="*/ 4081 w 4081"/>
                  <a:gd name="T29" fmla="*/ 2659 h 3800"/>
                  <a:gd name="T30" fmla="*/ 4081 w 4081"/>
                  <a:gd name="T31" fmla="*/ 396 h 3800"/>
                  <a:gd name="T32" fmla="*/ 3685 w 4081"/>
                  <a:gd name="T33" fmla="*/ 0 h 3800"/>
                  <a:gd name="T34" fmla="*/ 2040 w 4081"/>
                  <a:gd name="T35" fmla="*/ 2764 h 3800"/>
                  <a:gd name="T36" fmla="*/ 1922 w 4081"/>
                  <a:gd name="T37" fmla="*/ 2646 h 3800"/>
                  <a:gd name="T38" fmla="*/ 2040 w 4081"/>
                  <a:gd name="T39" fmla="*/ 2528 h 3800"/>
                  <a:gd name="T40" fmla="*/ 2159 w 4081"/>
                  <a:gd name="T41" fmla="*/ 2646 h 3800"/>
                  <a:gd name="T42" fmla="*/ 2040 w 4081"/>
                  <a:gd name="T43" fmla="*/ 2764 h 3800"/>
                  <a:gd name="T44" fmla="*/ 3814 w 4081"/>
                  <a:gd name="T45" fmla="*/ 2315 h 3800"/>
                  <a:gd name="T46" fmla="*/ 267 w 4081"/>
                  <a:gd name="T47" fmla="*/ 2315 h 3800"/>
                  <a:gd name="T48" fmla="*/ 267 w 4081"/>
                  <a:gd name="T49" fmla="*/ 396 h 3800"/>
                  <a:gd name="T50" fmla="*/ 396 w 4081"/>
                  <a:gd name="T51" fmla="*/ 267 h 3800"/>
                  <a:gd name="T52" fmla="*/ 3685 w 4081"/>
                  <a:gd name="T53" fmla="*/ 267 h 3800"/>
                  <a:gd name="T54" fmla="*/ 3814 w 4081"/>
                  <a:gd name="T55" fmla="*/ 396 h 3800"/>
                  <a:gd name="T56" fmla="*/ 3814 w 4081"/>
                  <a:gd name="T57" fmla="*/ 2315 h 3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81" h="3800">
                    <a:moveTo>
                      <a:pt x="3685" y="0"/>
                    </a:moveTo>
                    <a:lnTo>
                      <a:pt x="396" y="0"/>
                    </a:lnTo>
                    <a:cubicBezTo>
                      <a:pt x="178" y="0"/>
                      <a:pt x="0" y="178"/>
                      <a:pt x="0" y="396"/>
                    </a:cubicBezTo>
                    <a:lnTo>
                      <a:pt x="0" y="2659"/>
                    </a:lnTo>
                    <a:cubicBezTo>
                      <a:pt x="0" y="2878"/>
                      <a:pt x="178" y="3055"/>
                      <a:pt x="396" y="3055"/>
                    </a:cubicBezTo>
                    <a:lnTo>
                      <a:pt x="1510" y="3055"/>
                    </a:lnTo>
                    <a:cubicBezTo>
                      <a:pt x="1511" y="3233"/>
                      <a:pt x="1463" y="3553"/>
                      <a:pt x="1115" y="3671"/>
                    </a:cubicBezTo>
                    <a:cubicBezTo>
                      <a:pt x="1084" y="3681"/>
                      <a:pt x="1066" y="3712"/>
                      <a:pt x="1071" y="3745"/>
                    </a:cubicBezTo>
                    <a:cubicBezTo>
                      <a:pt x="1076" y="3777"/>
                      <a:pt x="1104" y="3800"/>
                      <a:pt x="1137" y="3800"/>
                    </a:cubicBezTo>
                    <a:lnTo>
                      <a:pt x="2944" y="3800"/>
                    </a:lnTo>
                    <a:cubicBezTo>
                      <a:pt x="2977" y="3800"/>
                      <a:pt x="3005" y="3777"/>
                      <a:pt x="3010" y="3745"/>
                    </a:cubicBezTo>
                    <a:cubicBezTo>
                      <a:pt x="3015" y="3712"/>
                      <a:pt x="2997" y="3681"/>
                      <a:pt x="2966" y="3671"/>
                    </a:cubicBezTo>
                    <a:cubicBezTo>
                      <a:pt x="2618" y="3553"/>
                      <a:pt x="2570" y="3233"/>
                      <a:pt x="2571" y="3055"/>
                    </a:cubicBezTo>
                    <a:lnTo>
                      <a:pt x="3685" y="3055"/>
                    </a:lnTo>
                    <a:cubicBezTo>
                      <a:pt x="3903" y="3055"/>
                      <a:pt x="4081" y="2878"/>
                      <a:pt x="4081" y="2659"/>
                    </a:cubicBezTo>
                    <a:lnTo>
                      <a:pt x="4081" y="396"/>
                    </a:lnTo>
                    <a:cubicBezTo>
                      <a:pt x="4081" y="178"/>
                      <a:pt x="3903" y="0"/>
                      <a:pt x="3685" y="0"/>
                    </a:cubicBezTo>
                    <a:close/>
                    <a:moveTo>
                      <a:pt x="2040" y="2764"/>
                    </a:moveTo>
                    <a:cubicBezTo>
                      <a:pt x="1975" y="2764"/>
                      <a:pt x="1922" y="2711"/>
                      <a:pt x="1922" y="2646"/>
                    </a:cubicBezTo>
                    <a:cubicBezTo>
                      <a:pt x="1922" y="2581"/>
                      <a:pt x="1975" y="2528"/>
                      <a:pt x="2040" y="2528"/>
                    </a:cubicBezTo>
                    <a:cubicBezTo>
                      <a:pt x="2106" y="2528"/>
                      <a:pt x="2159" y="2581"/>
                      <a:pt x="2159" y="2646"/>
                    </a:cubicBezTo>
                    <a:cubicBezTo>
                      <a:pt x="2159" y="2711"/>
                      <a:pt x="2106" y="2764"/>
                      <a:pt x="2040" y="2764"/>
                    </a:cubicBezTo>
                    <a:close/>
                    <a:moveTo>
                      <a:pt x="3814" y="2315"/>
                    </a:moveTo>
                    <a:lnTo>
                      <a:pt x="267" y="2315"/>
                    </a:lnTo>
                    <a:lnTo>
                      <a:pt x="267" y="396"/>
                    </a:lnTo>
                    <a:cubicBezTo>
                      <a:pt x="267" y="325"/>
                      <a:pt x="325" y="267"/>
                      <a:pt x="396" y="267"/>
                    </a:cubicBezTo>
                    <a:lnTo>
                      <a:pt x="3685" y="267"/>
                    </a:lnTo>
                    <a:cubicBezTo>
                      <a:pt x="3756" y="267"/>
                      <a:pt x="3814" y="325"/>
                      <a:pt x="3814" y="396"/>
                    </a:cubicBezTo>
                    <a:lnTo>
                      <a:pt x="3814" y="2315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6" name="组合 15"/>
              <p:cNvGrpSpPr/>
              <p:nvPr/>
            </p:nvGrpSpPr>
            <p:grpSpPr>
              <a:xfrm>
                <a:off x="7655904" y="4195464"/>
                <a:ext cx="2431419" cy="1322801"/>
                <a:chOff x="1605764" y="2532185"/>
                <a:chExt cx="2979615" cy="1322801"/>
              </a:xfrm>
            </p:grpSpPr>
            <p:sp>
              <p:nvSpPr>
                <p:cNvPr id="17" name="矩形 16"/>
                <p:cNvSpPr/>
                <p:nvPr/>
              </p:nvSpPr>
              <p:spPr bwMode="auto">
                <a:xfrm>
                  <a:off x="1605764" y="2976194"/>
                  <a:ext cx="2979611" cy="8787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2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2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20000"/>
                    </a:lnSpc>
                    <a:spcBef>
                      <a:spcPct val="0"/>
                    </a:spcBef>
                  </a:pPr>
                  <a:r>
                    <a:rPr lang="en-US" altLang="zh-CN" sz="1200" dirty="0">
                      <a:cs typeface="+mn-ea"/>
                      <a:sym typeface="+mn-lt"/>
                    </a:rPr>
                    <a:t>……</a:t>
                  </a:r>
                  <a:endParaRPr lang="en-US" altLang="zh-CN" sz="12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文本框 17"/>
                <p:cNvSpPr txBox="1"/>
                <p:nvPr/>
              </p:nvSpPr>
              <p:spPr bwMode="auto">
                <a:xfrm>
                  <a:off x="1605765" y="2532185"/>
                  <a:ext cx="2979614" cy="44400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/>
                  <a:r>
                    <a:rPr lang="en-US" altLang="zh-CN" sz="16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cs typeface="+mn-ea"/>
                      <a:sym typeface="+mn-lt"/>
                    </a:rPr>
                    <a:t>过程</a:t>
                  </a:r>
                  <a:endParaRPr lang="zh-CN" altLang="en-US" sz="1600" b="1" dirty="0">
                    <a:cs typeface="+mn-ea"/>
                    <a:sym typeface="+mn-lt"/>
                  </a:endParaRPr>
                </a:p>
              </p:txBody>
            </p:sp>
          </p:grpSp>
        </p:grpSp>
        <p:cxnSp>
          <p:nvCxnSpPr>
            <p:cNvPr id="13" name="直接连接符 12"/>
            <p:cNvCxnSpPr/>
            <p:nvPr/>
          </p:nvCxnSpPr>
          <p:spPr>
            <a:xfrm>
              <a:off x="4698668" y="4001050"/>
              <a:ext cx="0" cy="112696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7480631" y="4001050"/>
              <a:ext cx="0" cy="112696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12192000" cy="5676563"/>
            <a:chOff x="0" y="0"/>
            <a:chExt cx="12192000" cy="5676563"/>
          </a:xfrm>
        </p:grpSpPr>
        <p:grpSp>
          <p:nvGrpSpPr>
            <p:cNvPr id="12" name="组合 11"/>
            <p:cNvGrpSpPr/>
            <p:nvPr/>
          </p:nvGrpSpPr>
          <p:grpSpPr>
            <a:xfrm>
              <a:off x="4112539" y="0"/>
              <a:ext cx="3954222" cy="2092014"/>
              <a:chOff x="6602119" y="3602617"/>
              <a:chExt cx="3954222" cy="2092014"/>
            </a:xfrm>
          </p:grpSpPr>
          <p:sp>
            <p:nvSpPr>
              <p:cNvPr id="39" name="文本框 38"/>
              <p:cNvSpPr txBox="1"/>
              <p:nvPr/>
            </p:nvSpPr>
            <p:spPr>
              <a:xfrm>
                <a:off x="8058498" y="4340847"/>
                <a:ext cx="2497843" cy="61555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 fontScale="92500" lnSpcReduction="20000"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altLang="zh-CN" sz="4000">
                    <a:solidFill>
                      <a:schemeClr val="bg1">
                        <a:lumMod val="65000"/>
                      </a:schemeClr>
                    </a:solidFill>
                    <a:cs typeface="+mn-ea"/>
                    <a:sym typeface="+mn-lt"/>
                  </a:rPr>
                  <a:t>ONT</a:t>
                </a:r>
                <a:r>
                  <a:rPr lang="en-US" altLang="zh-CN" sz="100">
                    <a:solidFill>
                      <a:schemeClr val="bg1">
                        <a:lumMod val="65000"/>
                      </a:schemeClr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4000">
                    <a:solidFill>
                      <a:schemeClr val="bg1">
                        <a:lumMod val="65000"/>
                      </a:schemeClr>
                    </a:solidFill>
                    <a:cs typeface="+mn-ea"/>
                    <a:sym typeface="+mn-lt"/>
                  </a:rPr>
                  <a:t>ENTS</a:t>
                </a:r>
                <a:endParaRPr lang="en-US" altLang="zh-CN" sz="40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0" name="矩形 39"/>
              <p:cNvSpPr/>
              <p:nvPr/>
            </p:nvSpPr>
            <p:spPr>
              <a:xfrm>
                <a:off x="6602119" y="3602617"/>
                <a:ext cx="1764196" cy="2092014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6600" b="1" dirty="0">
                    <a:ln w="76200">
                      <a:solidFill>
                        <a:schemeClr val="bg1"/>
                      </a:solidFill>
                    </a:ln>
                    <a:solidFill>
                      <a:schemeClr val="accent1"/>
                    </a:solidFill>
                    <a:cs typeface="+mn-ea"/>
                    <a:sym typeface="+mn-lt"/>
                  </a:rPr>
                  <a:t>C</a:t>
                </a:r>
                <a:endParaRPr lang="en-US" altLang="zh-CN" sz="16600" b="1" dirty="0">
                  <a:ln w="76200">
                    <a:solidFill>
                      <a:schemeClr val="bg1"/>
                    </a:solidFill>
                  </a:ln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13" name="直接连接符 12"/>
            <p:cNvCxnSpPr/>
            <p:nvPr/>
          </p:nvCxnSpPr>
          <p:spPr>
            <a:xfrm>
              <a:off x="0" y="2092014"/>
              <a:ext cx="12192000" cy="0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组合 13"/>
            <p:cNvGrpSpPr/>
            <p:nvPr/>
          </p:nvGrpSpPr>
          <p:grpSpPr>
            <a:xfrm>
              <a:off x="1264982" y="2937844"/>
              <a:ext cx="2981015" cy="1085850"/>
              <a:chOff x="1857452" y="3069409"/>
              <a:chExt cx="2981015" cy="1085850"/>
            </a:xfrm>
          </p:grpSpPr>
          <p:sp>
            <p:nvSpPr>
              <p:cNvPr id="35" name="矩形: 圆角 34"/>
              <p:cNvSpPr/>
              <p:nvPr>
                <p:custDataLst>
                  <p:tags r:id="rId2"/>
                </p:custDataLst>
              </p:nvPr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1</a:t>
                </a:r>
                <a:endParaRPr lang="zh-CN" altLang="en-US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36" name="组合 35"/>
              <p:cNvGrpSpPr/>
              <p:nvPr/>
            </p:nvGrpSpPr>
            <p:grpSpPr>
              <a:xfrm>
                <a:off x="2741709" y="3069409"/>
                <a:ext cx="2096758" cy="1085850"/>
                <a:chOff x="5162831" y="2886075"/>
                <a:chExt cx="2096758" cy="1085850"/>
              </a:xfrm>
            </p:grpSpPr>
            <p:sp>
              <p:nvSpPr>
                <p:cNvPr id="37" name="矩形 36"/>
                <p:cNvSpPr/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5162831" y="3375774"/>
                  <a:ext cx="209675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>
                      <a:cs typeface="+mn-ea"/>
                      <a:sym typeface="+mn-lt"/>
                    </a:rPr>
                    <a:t>Supporting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 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text her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8" name="矩形 37"/>
                <p:cNvSpPr/>
                <p:nvPr>
                  <p:custDataLst>
                    <p:tags r:id="rId4"/>
                  </p:custDataLst>
                </p:nvPr>
              </p:nvSpPr>
              <p:spPr>
                <a:xfrm>
                  <a:off x="5162831" y="2886075"/>
                  <a:ext cx="209675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数据存储和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优化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5" name="组合 14"/>
            <p:cNvGrpSpPr/>
            <p:nvPr/>
          </p:nvGrpSpPr>
          <p:grpSpPr>
            <a:xfrm>
              <a:off x="4714353" y="2937844"/>
              <a:ext cx="2981015" cy="1085850"/>
              <a:chOff x="1857452" y="3069409"/>
              <a:chExt cx="2981015" cy="1085850"/>
            </a:xfrm>
          </p:grpSpPr>
          <p:sp>
            <p:nvSpPr>
              <p:cNvPr id="31" name="矩形: 圆角 30"/>
              <p:cNvSpPr/>
              <p:nvPr>
                <p:custDataLst>
                  <p:tags r:id="rId5"/>
                </p:custDataLst>
              </p:nvPr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2</a:t>
                </a:r>
                <a:endParaRPr lang="zh-CN" altLang="en-US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32" name="组合 31"/>
              <p:cNvGrpSpPr/>
              <p:nvPr/>
            </p:nvGrpSpPr>
            <p:grpSpPr>
              <a:xfrm>
                <a:off x="2741709" y="3069409"/>
                <a:ext cx="2096758" cy="1085850"/>
                <a:chOff x="5162831" y="2886075"/>
                <a:chExt cx="2096758" cy="1085850"/>
              </a:xfrm>
            </p:grpSpPr>
            <p:sp>
              <p:nvSpPr>
                <p:cNvPr id="33" name="矩形 32"/>
                <p:cNvSpPr/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5162831" y="3375774"/>
                  <a:ext cx="209675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</a:t>
                  </a:r>
                  <a:r>
                    <a:rPr lang="en-US" altLang="zh-CN" sz="1100">
                      <a:cs typeface="+mn-ea"/>
                      <a:sym typeface="+mn-lt"/>
                    </a:rPr>
                    <a:t>text he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re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矩形 33"/>
                <p:cNvSpPr/>
                <p:nvPr>
                  <p:custDataLst>
                    <p:tags r:id="rId7"/>
                  </p:custDataLst>
                </p:nvPr>
              </p:nvSpPr>
              <p:spPr>
                <a:xfrm>
                  <a:off x="5162831" y="2886075"/>
                  <a:ext cx="209675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数据质量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保证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6" name="组合 15"/>
            <p:cNvGrpSpPr/>
            <p:nvPr/>
          </p:nvGrpSpPr>
          <p:grpSpPr>
            <a:xfrm>
              <a:off x="8163723" y="2937844"/>
              <a:ext cx="2981015" cy="1085850"/>
              <a:chOff x="1857452" y="3069409"/>
              <a:chExt cx="2981015" cy="1085850"/>
            </a:xfrm>
          </p:grpSpPr>
          <p:sp>
            <p:nvSpPr>
              <p:cNvPr id="27" name="矩形: 圆角 26"/>
              <p:cNvSpPr/>
              <p:nvPr>
                <p:custDataLst>
                  <p:tags r:id="rId8"/>
                </p:custDataLst>
              </p:nvPr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3</a:t>
                </a:r>
                <a:endParaRPr lang="zh-CN" altLang="en-US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8" name="组合 27"/>
              <p:cNvGrpSpPr/>
              <p:nvPr/>
            </p:nvGrpSpPr>
            <p:grpSpPr>
              <a:xfrm>
                <a:off x="2741709" y="3069409"/>
                <a:ext cx="2096758" cy="1085850"/>
                <a:chOff x="5162831" y="2886075"/>
                <a:chExt cx="2096758" cy="1085850"/>
              </a:xfrm>
            </p:grpSpPr>
            <p:sp>
              <p:nvSpPr>
                <p:cNvPr id="29" name="矩形 28"/>
                <p:cNvSpPr/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5162831" y="3375774"/>
                  <a:ext cx="209675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</a:t>
                  </a:r>
                  <a:r>
                    <a:rPr lang="en-US" altLang="zh-CN" sz="1100">
                      <a:cs typeface="+mn-ea"/>
                      <a:sym typeface="+mn-lt"/>
                    </a:rPr>
                    <a:t>text he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re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矩形 29"/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5162831" y="2886075"/>
                  <a:ext cx="209675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数据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血缘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7" name="组合 16"/>
            <p:cNvGrpSpPr/>
            <p:nvPr/>
          </p:nvGrpSpPr>
          <p:grpSpPr>
            <a:xfrm>
              <a:off x="2989667" y="4590713"/>
              <a:ext cx="2981015" cy="1085850"/>
              <a:chOff x="1857452" y="3069409"/>
              <a:chExt cx="2981015" cy="1085850"/>
            </a:xfrm>
          </p:grpSpPr>
          <p:sp>
            <p:nvSpPr>
              <p:cNvPr id="23" name="矩形: 圆角 22"/>
              <p:cNvSpPr/>
              <p:nvPr>
                <p:custDataLst>
                  <p:tags r:id="rId11"/>
                </p:custDataLst>
              </p:nvPr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4</a:t>
                </a:r>
                <a:endParaRPr lang="zh-CN" altLang="en-US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4" name="组合 23"/>
              <p:cNvGrpSpPr/>
              <p:nvPr/>
            </p:nvGrpSpPr>
            <p:grpSpPr>
              <a:xfrm>
                <a:off x="2741709" y="3069409"/>
                <a:ext cx="2096758" cy="1085850"/>
                <a:chOff x="5162831" y="2886075"/>
                <a:chExt cx="2096758" cy="1085850"/>
              </a:xfrm>
            </p:grpSpPr>
            <p:sp>
              <p:nvSpPr>
                <p:cNvPr id="25" name="矩形 24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5162831" y="3375774"/>
                  <a:ext cx="209675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</a:t>
                  </a:r>
                  <a:r>
                    <a:rPr lang="en-US" altLang="zh-CN" sz="1100">
                      <a:cs typeface="+mn-ea"/>
                      <a:sym typeface="+mn-lt"/>
                    </a:rPr>
                    <a:t>text he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re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矩形 25"/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5162831" y="2886075"/>
                  <a:ext cx="209675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优化前后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对比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8" name="组合 17"/>
            <p:cNvGrpSpPr/>
            <p:nvPr/>
          </p:nvGrpSpPr>
          <p:grpSpPr>
            <a:xfrm>
              <a:off x="6439038" y="4590713"/>
              <a:ext cx="2981015" cy="1085850"/>
              <a:chOff x="1857452" y="3069409"/>
              <a:chExt cx="2981015" cy="1085850"/>
            </a:xfrm>
          </p:grpSpPr>
          <p:sp>
            <p:nvSpPr>
              <p:cNvPr id="19" name="矩形: 圆角 18"/>
              <p:cNvSpPr/>
              <p:nvPr>
                <p:custDataLst>
                  <p:tags r:id="rId14"/>
                </p:custDataLst>
              </p:nvPr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5</a:t>
                </a:r>
                <a:endParaRPr lang="zh-CN" altLang="en-US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0" name="组合 19"/>
              <p:cNvGrpSpPr/>
              <p:nvPr/>
            </p:nvGrpSpPr>
            <p:grpSpPr>
              <a:xfrm>
                <a:off x="2741709" y="3069409"/>
                <a:ext cx="2096758" cy="1085850"/>
                <a:chOff x="5162831" y="2886075"/>
                <a:chExt cx="2096758" cy="1085850"/>
              </a:xfrm>
            </p:grpSpPr>
            <p:sp>
              <p:nvSpPr>
                <p:cNvPr id="21" name="矩形 20"/>
                <p:cNvSpPr/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5162831" y="3375774"/>
                  <a:ext cx="209675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</a:t>
                  </a:r>
                  <a:r>
                    <a:rPr lang="en-US" altLang="zh-CN" sz="1100">
                      <a:cs typeface="+mn-ea"/>
                      <a:sym typeface="+mn-lt"/>
                    </a:rPr>
                    <a:t>text he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re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矩形 21"/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5162831" y="2886075"/>
                  <a:ext cx="209675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</a:pP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论文总结与展望</a:t>
                  </a:r>
                  <a:endParaRPr lang="en-US" altLang="zh-CN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分析过程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3100" y="1117599"/>
            <a:ext cx="11518900" cy="5740401"/>
            <a:chOff x="673100" y="1117599"/>
            <a:chExt cx="11518900" cy="5740401"/>
          </a:xfrm>
        </p:grpSpPr>
        <p:sp>
          <p:nvSpPr>
            <p:cNvPr id="6" name="双括号 5"/>
            <p:cNvSpPr/>
            <p:nvPr/>
          </p:nvSpPr>
          <p:spPr>
            <a:xfrm>
              <a:off x="673100" y="1130300"/>
              <a:ext cx="10109577" cy="5016500"/>
            </a:xfrm>
            <a:prstGeom prst="bracketPair">
              <a:avLst>
                <a:gd name="adj" fmla="val 3859"/>
              </a:avLst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5617028" y="1117599"/>
              <a:ext cx="6574972" cy="5740401"/>
              <a:chOff x="5617028" y="1117599"/>
              <a:chExt cx="6574972" cy="5740401"/>
            </a:xfrm>
          </p:grpSpPr>
          <p:sp>
            <p:nvSpPr>
              <p:cNvPr id="31" name="等腰三角形 30"/>
              <p:cNvSpPr/>
              <p:nvPr/>
            </p:nvSpPr>
            <p:spPr>
              <a:xfrm rot="20394420">
                <a:off x="10176756" y="2659280"/>
                <a:ext cx="1290057" cy="3715657"/>
              </a:xfrm>
              <a:prstGeom prst="triangle">
                <a:avLst>
                  <a:gd name="adj" fmla="val 10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32" name="直角三角形 31"/>
              <p:cNvSpPr/>
              <p:nvPr/>
            </p:nvSpPr>
            <p:spPr>
              <a:xfrm flipH="1">
                <a:off x="10493828" y="1117599"/>
                <a:ext cx="1698165" cy="5740401"/>
              </a:xfrm>
              <a:prstGeom prst="rtTriangl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33" name="直角三角形 32"/>
              <p:cNvSpPr/>
              <p:nvPr/>
            </p:nvSpPr>
            <p:spPr>
              <a:xfrm flipH="1">
                <a:off x="5617028" y="5341256"/>
                <a:ext cx="6574961" cy="1516743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34" name="直角三角形 33"/>
              <p:cNvSpPr/>
              <p:nvPr/>
            </p:nvSpPr>
            <p:spPr>
              <a:xfrm flipH="1">
                <a:off x="9878096" y="2781836"/>
                <a:ext cx="2313904" cy="4076163"/>
              </a:xfrm>
              <a:prstGeom prst="rtTriangl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35" name="直角三角形 34"/>
              <p:cNvSpPr/>
              <p:nvPr/>
            </p:nvSpPr>
            <p:spPr>
              <a:xfrm flipH="1">
                <a:off x="8641724" y="3816071"/>
                <a:ext cx="3550276" cy="3041928"/>
              </a:xfrm>
              <a:prstGeom prst="rt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36" name="直角三角形 35"/>
              <p:cNvSpPr/>
              <p:nvPr/>
            </p:nvSpPr>
            <p:spPr>
              <a:xfrm flipH="1">
                <a:off x="7808780" y="5177307"/>
                <a:ext cx="4383220" cy="1680692"/>
              </a:xfrm>
              <a:prstGeom prst="rt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955888" y="2839694"/>
              <a:ext cx="1860697" cy="2670916"/>
              <a:chOff x="855343" y="2317544"/>
              <a:chExt cx="1860697" cy="2670916"/>
            </a:xfrm>
          </p:grpSpPr>
          <p:sp>
            <p:nvSpPr>
              <p:cNvPr id="29" name="文本框 28"/>
              <p:cNvSpPr txBox="1"/>
              <p:nvPr/>
            </p:nvSpPr>
            <p:spPr>
              <a:xfrm>
                <a:off x="855343" y="2317544"/>
                <a:ext cx="186069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buSzPct val="25000"/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结果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30" name="矩形 29"/>
              <p:cNvSpPr/>
              <p:nvPr/>
            </p:nvSpPr>
            <p:spPr bwMode="auto">
              <a:xfrm>
                <a:off x="855343" y="2764240"/>
                <a:ext cx="1860697" cy="2224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sp>
          <p:nvSpPr>
            <p:cNvPr id="9" name="椭圆 8"/>
            <p:cNvSpPr/>
            <p:nvPr/>
          </p:nvSpPr>
          <p:spPr>
            <a:xfrm>
              <a:off x="1430593" y="1766490"/>
              <a:ext cx="911286" cy="91128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0" name="任意多边形: 形状 9"/>
            <p:cNvSpPr/>
            <p:nvPr/>
          </p:nvSpPr>
          <p:spPr>
            <a:xfrm>
              <a:off x="1672986" y="2056997"/>
              <a:ext cx="426500" cy="330272"/>
            </a:xfrm>
            <a:custGeom>
              <a:avLst/>
              <a:gdLst>
                <a:gd name="T0" fmla="*/ 4312 w 5733"/>
                <a:gd name="T1" fmla="*/ 1076 h 4446"/>
                <a:gd name="T2" fmla="*/ 4149 w 5733"/>
                <a:gd name="T3" fmla="*/ 1085 h 4446"/>
                <a:gd name="T4" fmla="*/ 3733 w 5733"/>
                <a:gd name="T5" fmla="*/ 378 h 4446"/>
                <a:gd name="T6" fmla="*/ 2768 w 5733"/>
                <a:gd name="T7" fmla="*/ 0 h 4446"/>
                <a:gd name="T8" fmla="*/ 1389 w 5733"/>
                <a:gd name="T9" fmla="*/ 1076 h 4446"/>
                <a:gd name="T10" fmla="*/ 0 w 5733"/>
                <a:gd name="T11" fmla="*/ 2497 h 4446"/>
                <a:gd name="T12" fmla="*/ 1421 w 5733"/>
                <a:gd name="T13" fmla="*/ 3918 h 4446"/>
                <a:gd name="T14" fmla="*/ 2255 w 5733"/>
                <a:gd name="T15" fmla="*/ 3918 h 4446"/>
                <a:gd name="T16" fmla="*/ 2484 w 5733"/>
                <a:gd name="T17" fmla="*/ 4246 h 4446"/>
                <a:gd name="T18" fmla="*/ 2867 w 5733"/>
                <a:gd name="T19" fmla="*/ 4446 h 4446"/>
                <a:gd name="T20" fmla="*/ 3249 w 5733"/>
                <a:gd name="T21" fmla="*/ 4246 h 4446"/>
                <a:gd name="T22" fmla="*/ 3478 w 5733"/>
                <a:gd name="T23" fmla="*/ 3918 h 4446"/>
                <a:gd name="T24" fmla="*/ 4312 w 5733"/>
                <a:gd name="T25" fmla="*/ 3918 h 4446"/>
                <a:gd name="T26" fmla="*/ 5733 w 5733"/>
                <a:gd name="T27" fmla="*/ 2497 h 4446"/>
                <a:gd name="T28" fmla="*/ 4312 w 5733"/>
                <a:gd name="T29" fmla="*/ 1076 h 4446"/>
                <a:gd name="T30" fmla="*/ 3698 w 5733"/>
                <a:gd name="T31" fmla="*/ 3159 h 4446"/>
                <a:gd name="T32" fmla="*/ 3031 w 5733"/>
                <a:gd name="T33" fmla="*/ 4116 h 4446"/>
                <a:gd name="T34" fmla="*/ 2867 w 5733"/>
                <a:gd name="T35" fmla="*/ 4201 h 4446"/>
                <a:gd name="T36" fmla="*/ 2703 w 5733"/>
                <a:gd name="T37" fmla="*/ 4116 h 4446"/>
                <a:gd name="T38" fmla="*/ 2035 w 5733"/>
                <a:gd name="T39" fmla="*/ 3159 h 4446"/>
                <a:gd name="T40" fmla="*/ 2022 w 5733"/>
                <a:gd name="T41" fmla="*/ 2952 h 4446"/>
                <a:gd name="T42" fmla="*/ 2200 w 5733"/>
                <a:gd name="T43" fmla="*/ 2845 h 4446"/>
                <a:gd name="T44" fmla="*/ 2480 w 5733"/>
                <a:gd name="T45" fmla="*/ 2845 h 4446"/>
                <a:gd name="T46" fmla="*/ 2480 w 5733"/>
                <a:gd name="T47" fmla="*/ 2016 h 4446"/>
                <a:gd name="T48" fmla="*/ 2680 w 5733"/>
                <a:gd name="T49" fmla="*/ 1816 h 4446"/>
                <a:gd name="T50" fmla="*/ 3053 w 5733"/>
                <a:gd name="T51" fmla="*/ 1816 h 4446"/>
                <a:gd name="T52" fmla="*/ 3253 w 5733"/>
                <a:gd name="T53" fmla="*/ 2016 h 4446"/>
                <a:gd name="T54" fmla="*/ 3253 w 5733"/>
                <a:gd name="T55" fmla="*/ 2845 h 4446"/>
                <a:gd name="T56" fmla="*/ 3534 w 5733"/>
                <a:gd name="T57" fmla="*/ 2845 h 4446"/>
                <a:gd name="T58" fmla="*/ 3711 w 5733"/>
                <a:gd name="T59" fmla="*/ 2952 h 4446"/>
                <a:gd name="T60" fmla="*/ 3698 w 5733"/>
                <a:gd name="T61" fmla="*/ 3159 h 4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733" h="4446">
                  <a:moveTo>
                    <a:pt x="4312" y="1076"/>
                  </a:moveTo>
                  <a:cubicBezTo>
                    <a:pt x="4257" y="1076"/>
                    <a:pt x="4203" y="1079"/>
                    <a:pt x="4149" y="1085"/>
                  </a:cubicBezTo>
                  <a:cubicBezTo>
                    <a:pt x="4083" y="815"/>
                    <a:pt x="3940" y="570"/>
                    <a:pt x="3733" y="378"/>
                  </a:cubicBezTo>
                  <a:cubicBezTo>
                    <a:pt x="3470" y="134"/>
                    <a:pt x="3127" y="0"/>
                    <a:pt x="2768" y="0"/>
                  </a:cubicBezTo>
                  <a:cubicBezTo>
                    <a:pt x="2107" y="0"/>
                    <a:pt x="1544" y="451"/>
                    <a:pt x="1389" y="1076"/>
                  </a:cubicBezTo>
                  <a:cubicBezTo>
                    <a:pt x="620" y="1093"/>
                    <a:pt x="0" y="1724"/>
                    <a:pt x="0" y="2497"/>
                  </a:cubicBezTo>
                  <a:cubicBezTo>
                    <a:pt x="0" y="3280"/>
                    <a:pt x="637" y="3918"/>
                    <a:pt x="1421" y="3918"/>
                  </a:cubicBezTo>
                  <a:lnTo>
                    <a:pt x="2255" y="3918"/>
                  </a:lnTo>
                  <a:lnTo>
                    <a:pt x="2484" y="4246"/>
                  </a:lnTo>
                  <a:cubicBezTo>
                    <a:pt x="2571" y="4371"/>
                    <a:pt x="2714" y="4446"/>
                    <a:pt x="2867" y="4446"/>
                  </a:cubicBezTo>
                  <a:cubicBezTo>
                    <a:pt x="3019" y="4446"/>
                    <a:pt x="3162" y="4371"/>
                    <a:pt x="3249" y="4246"/>
                  </a:cubicBezTo>
                  <a:lnTo>
                    <a:pt x="3478" y="3918"/>
                  </a:lnTo>
                  <a:lnTo>
                    <a:pt x="4312" y="3918"/>
                  </a:lnTo>
                  <a:cubicBezTo>
                    <a:pt x="5096" y="3918"/>
                    <a:pt x="5733" y="3280"/>
                    <a:pt x="5733" y="2497"/>
                  </a:cubicBezTo>
                  <a:cubicBezTo>
                    <a:pt x="5733" y="1713"/>
                    <a:pt x="5096" y="1076"/>
                    <a:pt x="4312" y="1076"/>
                  </a:cubicBezTo>
                  <a:close/>
                  <a:moveTo>
                    <a:pt x="3698" y="3159"/>
                  </a:moveTo>
                  <a:lnTo>
                    <a:pt x="3031" y="4116"/>
                  </a:lnTo>
                  <a:cubicBezTo>
                    <a:pt x="2993" y="4169"/>
                    <a:pt x="2932" y="4201"/>
                    <a:pt x="2867" y="4201"/>
                  </a:cubicBezTo>
                  <a:cubicBezTo>
                    <a:pt x="2801" y="4201"/>
                    <a:pt x="2740" y="4169"/>
                    <a:pt x="2703" y="4116"/>
                  </a:cubicBezTo>
                  <a:lnTo>
                    <a:pt x="2035" y="3159"/>
                  </a:lnTo>
                  <a:cubicBezTo>
                    <a:pt x="1993" y="3098"/>
                    <a:pt x="1988" y="3018"/>
                    <a:pt x="2022" y="2952"/>
                  </a:cubicBezTo>
                  <a:cubicBezTo>
                    <a:pt x="2057" y="2886"/>
                    <a:pt x="2125" y="2845"/>
                    <a:pt x="2200" y="2845"/>
                  </a:cubicBezTo>
                  <a:lnTo>
                    <a:pt x="2480" y="2845"/>
                  </a:lnTo>
                  <a:lnTo>
                    <a:pt x="2480" y="2016"/>
                  </a:lnTo>
                  <a:cubicBezTo>
                    <a:pt x="2480" y="1906"/>
                    <a:pt x="2570" y="1816"/>
                    <a:pt x="2680" y="1816"/>
                  </a:cubicBezTo>
                  <a:lnTo>
                    <a:pt x="3053" y="1816"/>
                  </a:lnTo>
                  <a:cubicBezTo>
                    <a:pt x="3164" y="1816"/>
                    <a:pt x="3253" y="1906"/>
                    <a:pt x="3253" y="2016"/>
                  </a:cubicBezTo>
                  <a:lnTo>
                    <a:pt x="3253" y="2845"/>
                  </a:lnTo>
                  <a:lnTo>
                    <a:pt x="3534" y="2845"/>
                  </a:lnTo>
                  <a:cubicBezTo>
                    <a:pt x="3608" y="2845"/>
                    <a:pt x="3677" y="2886"/>
                    <a:pt x="3711" y="2952"/>
                  </a:cubicBezTo>
                  <a:cubicBezTo>
                    <a:pt x="3746" y="3018"/>
                    <a:pt x="3740" y="3098"/>
                    <a:pt x="3698" y="3159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pSp>
          <p:nvGrpSpPr>
            <p:cNvPr id="11" name="组合 10"/>
            <p:cNvGrpSpPr/>
            <p:nvPr/>
          </p:nvGrpSpPr>
          <p:grpSpPr>
            <a:xfrm>
              <a:off x="3350489" y="2839694"/>
              <a:ext cx="1860697" cy="2670916"/>
              <a:chOff x="855343" y="2317544"/>
              <a:chExt cx="1860697" cy="2670916"/>
            </a:xfrm>
          </p:grpSpPr>
          <p:sp>
            <p:nvSpPr>
              <p:cNvPr id="27" name="文本框 26"/>
              <p:cNvSpPr txBox="1"/>
              <p:nvPr/>
            </p:nvSpPr>
            <p:spPr>
              <a:xfrm>
                <a:off x="855343" y="2317544"/>
                <a:ext cx="186069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buSzPct val="25000"/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结果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8" name="矩形 27"/>
              <p:cNvSpPr/>
              <p:nvPr/>
            </p:nvSpPr>
            <p:spPr bwMode="auto">
              <a:xfrm>
                <a:off x="855343" y="2764240"/>
                <a:ext cx="1860697" cy="2224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sp>
          <p:nvSpPr>
            <p:cNvPr id="12" name="椭圆 11"/>
            <p:cNvSpPr/>
            <p:nvPr/>
          </p:nvSpPr>
          <p:spPr>
            <a:xfrm>
              <a:off x="3825194" y="1766490"/>
              <a:ext cx="911286" cy="91128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3" name="任意多边形: 形状 12"/>
            <p:cNvSpPr/>
            <p:nvPr/>
          </p:nvSpPr>
          <p:spPr>
            <a:xfrm>
              <a:off x="4067587" y="2009222"/>
              <a:ext cx="426500" cy="425823"/>
            </a:xfrm>
            <a:custGeom>
              <a:avLst/>
              <a:gdLst>
                <a:gd name="connsiteX0" fmla="*/ 301001 w 602996"/>
                <a:gd name="connsiteY0" fmla="*/ 126938 h 602040"/>
                <a:gd name="connsiteX1" fmla="*/ 353669 w 602996"/>
                <a:gd name="connsiteY1" fmla="*/ 179510 h 602040"/>
                <a:gd name="connsiteX2" fmla="*/ 353669 w 602996"/>
                <a:gd name="connsiteY2" fmla="*/ 248944 h 602040"/>
                <a:gd name="connsiteX3" fmla="*/ 423230 w 602996"/>
                <a:gd name="connsiteY3" fmla="*/ 248944 h 602040"/>
                <a:gd name="connsiteX4" fmla="*/ 475898 w 602996"/>
                <a:gd name="connsiteY4" fmla="*/ 301516 h 602040"/>
                <a:gd name="connsiteX5" fmla="*/ 423230 w 602996"/>
                <a:gd name="connsiteY5" fmla="*/ 353096 h 602040"/>
                <a:gd name="connsiteX6" fmla="*/ 353669 w 602996"/>
                <a:gd name="connsiteY6" fmla="*/ 353096 h 602040"/>
                <a:gd name="connsiteX7" fmla="*/ 353669 w 602996"/>
                <a:gd name="connsiteY7" fmla="*/ 422530 h 602040"/>
                <a:gd name="connsiteX8" fmla="*/ 301001 w 602996"/>
                <a:gd name="connsiteY8" fmla="*/ 475102 h 602040"/>
                <a:gd name="connsiteX9" fmla="*/ 249327 w 602996"/>
                <a:gd name="connsiteY9" fmla="*/ 422530 h 602040"/>
                <a:gd name="connsiteX10" fmla="*/ 249327 w 602996"/>
                <a:gd name="connsiteY10" fmla="*/ 353096 h 602040"/>
                <a:gd name="connsiteX11" fmla="*/ 179765 w 602996"/>
                <a:gd name="connsiteY11" fmla="*/ 353096 h 602040"/>
                <a:gd name="connsiteX12" fmla="*/ 127097 w 602996"/>
                <a:gd name="connsiteY12" fmla="*/ 301516 h 602040"/>
                <a:gd name="connsiteX13" fmla="*/ 179765 w 602996"/>
                <a:gd name="connsiteY13" fmla="*/ 248944 h 602040"/>
                <a:gd name="connsiteX14" fmla="*/ 249327 w 602996"/>
                <a:gd name="connsiteY14" fmla="*/ 248944 h 602040"/>
                <a:gd name="connsiteX15" fmla="*/ 249327 w 602996"/>
                <a:gd name="connsiteY15" fmla="*/ 179510 h 602040"/>
                <a:gd name="connsiteX16" fmla="*/ 301001 w 602996"/>
                <a:gd name="connsiteY16" fmla="*/ 126938 h 602040"/>
                <a:gd name="connsiteX17" fmla="*/ 301995 w 602996"/>
                <a:gd name="connsiteY17" fmla="*/ 78355 h 602040"/>
                <a:gd name="connsiteX18" fmla="*/ 78479 w 602996"/>
                <a:gd name="connsiteY18" fmla="*/ 301516 h 602040"/>
                <a:gd name="connsiteX19" fmla="*/ 301995 w 602996"/>
                <a:gd name="connsiteY19" fmla="*/ 523686 h 602040"/>
                <a:gd name="connsiteX20" fmla="*/ 524517 w 602996"/>
                <a:gd name="connsiteY20" fmla="*/ 301516 h 602040"/>
                <a:gd name="connsiteX21" fmla="*/ 301995 w 602996"/>
                <a:gd name="connsiteY21" fmla="*/ 78355 h 602040"/>
                <a:gd name="connsiteX22" fmla="*/ 301995 w 602996"/>
                <a:gd name="connsiteY22" fmla="*/ 0 h 602040"/>
                <a:gd name="connsiteX23" fmla="*/ 602996 w 602996"/>
                <a:gd name="connsiteY23" fmla="*/ 301516 h 602040"/>
                <a:gd name="connsiteX24" fmla="*/ 301995 w 602996"/>
                <a:gd name="connsiteY24" fmla="*/ 602040 h 602040"/>
                <a:gd name="connsiteX25" fmla="*/ 0 w 602996"/>
                <a:gd name="connsiteY25" fmla="*/ 301516 h 602040"/>
                <a:gd name="connsiteX26" fmla="*/ 301995 w 602996"/>
                <a:gd name="connsiteY26" fmla="*/ 0 h 602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02996" h="602040">
                  <a:moveTo>
                    <a:pt x="301001" y="126938"/>
                  </a:moveTo>
                  <a:cubicBezTo>
                    <a:pt x="330813" y="126938"/>
                    <a:pt x="353669" y="150744"/>
                    <a:pt x="353669" y="179510"/>
                  </a:cubicBezTo>
                  <a:lnTo>
                    <a:pt x="353669" y="248944"/>
                  </a:lnTo>
                  <a:lnTo>
                    <a:pt x="423230" y="248944"/>
                  </a:lnTo>
                  <a:cubicBezTo>
                    <a:pt x="452049" y="248944"/>
                    <a:pt x="475898" y="271758"/>
                    <a:pt x="475898" y="301516"/>
                  </a:cubicBezTo>
                  <a:cubicBezTo>
                    <a:pt x="475898" y="330282"/>
                    <a:pt x="452049" y="353096"/>
                    <a:pt x="423230" y="353096"/>
                  </a:cubicBezTo>
                  <a:lnTo>
                    <a:pt x="353669" y="353096"/>
                  </a:lnTo>
                  <a:lnTo>
                    <a:pt x="353669" y="422530"/>
                  </a:lnTo>
                  <a:cubicBezTo>
                    <a:pt x="353669" y="451296"/>
                    <a:pt x="330813" y="475102"/>
                    <a:pt x="301001" y="475102"/>
                  </a:cubicBezTo>
                  <a:cubicBezTo>
                    <a:pt x="272183" y="475102"/>
                    <a:pt x="249327" y="451296"/>
                    <a:pt x="249327" y="422530"/>
                  </a:cubicBezTo>
                  <a:lnTo>
                    <a:pt x="249327" y="353096"/>
                  </a:lnTo>
                  <a:lnTo>
                    <a:pt x="179765" y="353096"/>
                  </a:lnTo>
                  <a:cubicBezTo>
                    <a:pt x="150947" y="353096"/>
                    <a:pt x="127097" y="330282"/>
                    <a:pt x="127097" y="301516"/>
                  </a:cubicBezTo>
                  <a:cubicBezTo>
                    <a:pt x="127097" y="271758"/>
                    <a:pt x="150947" y="248944"/>
                    <a:pt x="179765" y="248944"/>
                  </a:cubicBezTo>
                  <a:lnTo>
                    <a:pt x="249327" y="248944"/>
                  </a:lnTo>
                  <a:lnTo>
                    <a:pt x="249327" y="179510"/>
                  </a:lnTo>
                  <a:cubicBezTo>
                    <a:pt x="249327" y="150744"/>
                    <a:pt x="272183" y="126938"/>
                    <a:pt x="301001" y="126938"/>
                  </a:cubicBezTo>
                  <a:close/>
                  <a:moveTo>
                    <a:pt x="301995" y="78355"/>
                  </a:moveTo>
                  <a:cubicBezTo>
                    <a:pt x="178813" y="78355"/>
                    <a:pt x="78479" y="178529"/>
                    <a:pt x="78479" y="301516"/>
                  </a:cubicBezTo>
                  <a:cubicBezTo>
                    <a:pt x="78479" y="423511"/>
                    <a:pt x="178813" y="523686"/>
                    <a:pt x="301995" y="523686"/>
                  </a:cubicBezTo>
                  <a:cubicBezTo>
                    <a:pt x="424184" y="523686"/>
                    <a:pt x="524517" y="423511"/>
                    <a:pt x="524517" y="301516"/>
                  </a:cubicBezTo>
                  <a:cubicBezTo>
                    <a:pt x="524517" y="178529"/>
                    <a:pt x="424184" y="78355"/>
                    <a:pt x="301995" y="78355"/>
                  </a:cubicBezTo>
                  <a:close/>
                  <a:moveTo>
                    <a:pt x="301995" y="0"/>
                  </a:moveTo>
                  <a:cubicBezTo>
                    <a:pt x="467893" y="0"/>
                    <a:pt x="602996" y="134889"/>
                    <a:pt x="602996" y="301516"/>
                  </a:cubicBezTo>
                  <a:cubicBezTo>
                    <a:pt x="602996" y="467151"/>
                    <a:pt x="467893" y="602040"/>
                    <a:pt x="301995" y="602040"/>
                  </a:cubicBezTo>
                  <a:cubicBezTo>
                    <a:pt x="135103" y="602040"/>
                    <a:pt x="0" y="467151"/>
                    <a:pt x="0" y="301516"/>
                  </a:cubicBezTo>
                  <a:cubicBezTo>
                    <a:pt x="0" y="134889"/>
                    <a:pt x="135103" y="0"/>
                    <a:pt x="30199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pSp>
          <p:nvGrpSpPr>
            <p:cNvPr id="14" name="组合 13"/>
            <p:cNvGrpSpPr/>
            <p:nvPr/>
          </p:nvGrpSpPr>
          <p:grpSpPr>
            <a:xfrm>
              <a:off x="5745090" y="2839694"/>
              <a:ext cx="1860697" cy="2670916"/>
              <a:chOff x="855343" y="2317544"/>
              <a:chExt cx="1860697" cy="2670916"/>
            </a:xfrm>
          </p:grpSpPr>
          <p:sp>
            <p:nvSpPr>
              <p:cNvPr id="25" name="文本框 24"/>
              <p:cNvSpPr txBox="1"/>
              <p:nvPr/>
            </p:nvSpPr>
            <p:spPr>
              <a:xfrm>
                <a:off x="855343" y="2317544"/>
                <a:ext cx="186069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buSzPct val="25000"/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结果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6" name="矩形 25"/>
              <p:cNvSpPr/>
              <p:nvPr/>
            </p:nvSpPr>
            <p:spPr bwMode="auto">
              <a:xfrm>
                <a:off x="855343" y="2764240"/>
                <a:ext cx="1860697" cy="2224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sp>
          <p:nvSpPr>
            <p:cNvPr id="15" name="椭圆 14"/>
            <p:cNvSpPr/>
            <p:nvPr/>
          </p:nvSpPr>
          <p:spPr>
            <a:xfrm>
              <a:off x="6219795" y="1766490"/>
              <a:ext cx="911286" cy="91128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" name="任意多边形: 形状 15"/>
            <p:cNvSpPr/>
            <p:nvPr/>
          </p:nvSpPr>
          <p:spPr>
            <a:xfrm>
              <a:off x="6477972" y="2017936"/>
              <a:ext cx="394934" cy="408394"/>
            </a:xfrm>
            <a:custGeom>
              <a:avLst/>
              <a:gdLst>
                <a:gd name="connsiteX0" fmla="*/ 554327 w 582017"/>
                <a:gd name="connsiteY0" fmla="*/ 398973 h 601853"/>
                <a:gd name="connsiteX1" fmla="*/ 563560 w 582017"/>
                <a:gd name="connsiteY1" fmla="*/ 402454 h 601853"/>
                <a:gd name="connsiteX2" fmla="*/ 577799 w 582017"/>
                <a:gd name="connsiteY2" fmla="*/ 415635 h 601853"/>
                <a:gd name="connsiteX3" fmla="*/ 578540 w 582017"/>
                <a:gd name="connsiteY3" fmla="*/ 434001 h 601853"/>
                <a:gd name="connsiteX4" fmla="*/ 468040 w 582017"/>
                <a:gd name="connsiteY4" fmla="*/ 550266 h 601853"/>
                <a:gd name="connsiteX5" fmla="*/ 448758 w 582017"/>
                <a:gd name="connsiteY5" fmla="*/ 552043 h 601853"/>
                <a:gd name="connsiteX6" fmla="*/ 357392 w 582017"/>
                <a:gd name="connsiteY6" fmla="*/ 484654 h 601853"/>
                <a:gd name="connsiteX7" fmla="*/ 354870 w 582017"/>
                <a:gd name="connsiteY7" fmla="*/ 466584 h 601853"/>
                <a:gd name="connsiteX8" fmla="*/ 366588 w 582017"/>
                <a:gd name="connsiteY8" fmla="*/ 451033 h 601853"/>
                <a:gd name="connsiteX9" fmla="*/ 384831 w 582017"/>
                <a:gd name="connsiteY9" fmla="*/ 448367 h 601853"/>
                <a:gd name="connsiteX10" fmla="*/ 443419 w 582017"/>
                <a:gd name="connsiteY10" fmla="*/ 491319 h 601853"/>
                <a:gd name="connsiteX11" fmla="*/ 462701 w 582017"/>
                <a:gd name="connsiteY11" fmla="*/ 489393 h 601853"/>
                <a:gd name="connsiteX12" fmla="*/ 545316 w 582017"/>
                <a:gd name="connsiteY12" fmla="*/ 403046 h 601853"/>
                <a:gd name="connsiteX13" fmla="*/ 554327 w 582017"/>
                <a:gd name="connsiteY13" fmla="*/ 398973 h 601853"/>
                <a:gd name="connsiteX14" fmla="*/ 262860 w 582017"/>
                <a:gd name="connsiteY14" fmla="*/ 0 h 601853"/>
                <a:gd name="connsiteX15" fmla="*/ 415651 w 582017"/>
                <a:gd name="connsiteY15" fmla="*/ 73473 h 601853"/>
                <a:gd name="connsiteX16" fmla="*/ 510885 w 582017"/>
                <a:gd name="connsiteY16" fmla="*/ 82805 h 601853"/>
                <a:gd name="connsiteX17" fmla="*/ 524829 w 582017"/>
                <a:gd name="connsiteY17" fmla="*/ 99543 h 601853"/>
                <a:gd name="connsiteX18" fmla="*/ 525571 w 582017"/>
                <a:gd name="connsiteY18" fmla="*/ 272856 h 601853"/>
                <a:gd name="connsiteX19" fmla="*/ 517412 w 582017"/>
                <a:gd name="connsiteY19" fmla="*/ 332108 h 601853"/>
                <a:gd name="connsiteX20" fmla="*/ 506138 w 582017"/>
                <a:gd name="connsiteY20" fmla="*/ 338181 h 601853"/>
                <a:gd name="connsiteX21" fmla="*/ 467125 w 582017"/>
                <a:gd name="connsiteY21" fmla="*/ 332849 h 601853"/>
                <a:gd name="connsiteX22" fmla="*/ 322938 w 582017"/>
                <a:gd name="connsiteY22" fmla="*/ 476831 h 601853"/>
                <a:gd name="connsiteX23" fmla="*/ 344002 w 582017"/>
                <a:gd name="connsiteY23" fmla="*/ 551933 h 601853"/>
                <a:gd name="connsiteX24" fmla="*/ 343260 w 582017"/>
                <a:gd name="connsiteY24" fmla="*/ 561265 h 601853"/>
                <a:gd name="connsiteX25" fmla="*/ 262860 w 582017"/>
                <a:gd name="connsiteY25" fmla="*/ 601853 h 601853"/>
                <a:gd name="connsiteX26" fmla="*/ 0 w 582017"/>
                <a:gd name="connsiteY26" fmla="*/ 272856 h 601853"/>
                <a:gd name="connsiteX27" fmla="*/ 3263 w 582017"/>
                <a:gd name="connsiteY27" fmla="*/ 93766 h 601853"/>
                <a:gd name="connsiteX28" fmla="*/ 15872 w 582017"/>
                <a:gd name="connsiteY28" fmla="*/ 80879 h 601853"/>
                <a:gd name="connsiteX29" fmla="*/ 126386 w 582017"/>
                <a:gd name="connsiteY29" fmla="*/ 73473 h 601853"/>
                <a:gd name="connsiteX30" fmla="*/ 262860 w 582017"/>
                <a:gd name="connsiteY30" fmla="*/ 0 h 60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82017" h="601853">
                  <a:moveTo>
                    <a:pt x="554327" y="398973"/>
                  </a:moveTo>
                  <a:cubicBezTo>
                    <a:pt x="557627" y="398862"/>
                    <a:pt x="560965" y="400010"/>
                    <a:pt x="563560" y="402454"/>
                  </a:cubicBezTo>
                  <a:lnTo>
                    <a:pt x="577799" y="415635"/>
                  </a:lnTo>
                  <a:cubicBezTo>
                    <a:pt x="583138" y="420523"/>
                    <a:pt x="583435" y="428817"/>
                    <a:pt x="578540" y="434001"/>
                  </a:cubicBezTo>
                  <a:lnTo>
                    <a:pt x="468040" y="550266"/>
                  </a:lnTo>
                  <a:cubicBezTo>
                    <a:pt x="463146" y="555449"/>
                    <a:pt x="454543" y="556338"/>
                    <a:pt x="448758" y="552043"/>
                  </a:cubicBezTo>
                  <a:lnTo>
                    <a:pt x="357392" y="484654"/>
                  </a:lnTo>
                  <a:cubicBezTo>
                    <a:pt x="351756" y="480358"/>
                    <a:pt x="350569" y="472361"/>
                    <a:pt x="354870" y="466584"/>
                  </a:cubicBezTo>
                  <a:lnTo>
                    <a:pt x="366588" y="451033"/>
                  </a:lnTo>
                  <a:cubicBezTo>
                    <a:pt x="370741" y="445405"/>
                    <a:pt x="379047" y="444220"/>
                    <a:pt x="384831" y="448367"/>
                  </a:cubicBezTo>
                  <a:lnTo>
                    <a:pt x="443419" y="491319"/>
                  </a:lnTo>
                  <a:cubicBezTo>
                    <a:pt x="449055" y="495466"/>
                    <a:pt x="457806" y="494725"/>
                    <a:pt x="462701" y="489393"/>
                  </a:cubicBezTo>
                  <a:lnTo>
                    <a:pt x="545316" y="403046"/>
                  </a:lnTo>
                  <a:cubicBezTo>
                    <a:pt x="547764" y="400454"/>
                    <a:pt x="551027" y="399084"/>
                    <a:pt x="554327" y="398973"/>
                  </a:cubicBezTo>
                  <a:close/>
                  <a:moveTo>
                    <a:pt x="262860" y="0"/>
                  </a:moveTo>
                  <a:cubicBezTo>
                    <a:pt x="286001" y="0"/>
                    <a:pt x="346969" y="53623"/>
                    <a:pt x="415651" y="73473"/>
                  </a:cubicBezTo>
                  <a:cubicBezTo>
                    <a:pt x="448731" y="82953"/>
                    <a:pt x="480179" y="82953"/>
                    <a:pt x="510885" y="82805"/>
                  </a:cubicBezTo>
                  <a:cubicBezTo>
                    <a:pt x="515187" y="82805"/>
                    <a:pt x="524829" y="82805"/>
                    <a:pt x="524829" y="99543"/>
                  </a:cubicBezTo>
                  <a:cubicBezTo>
                    <a:pt x="524829" y="101617"/>
                    <a:pt x="525571" y="271523"/>
                    <a:pt x="525571" y="272856"/>
                  </a:cubicBezTo>
                  <a:cubicBezTo>
                    <a:pt x="525571" y="292853"/>
                    <a:pt x="522604" y="312703"/>
                    <a:pt x="517412" y="332108"/>
                  </a:cubicBezTo>
                  <a:cubicBezTo>
                    <a:pt x="516671" y="335071"/>
                    <a:pt x="513704" y="341440"/>
                    <a:pt x="506138" y="338181"/>
                  </a:cubicBezTo>
                  <a:cubicBezTo>
                    <a:pt x="494716" y="334922"/>
                    <a:pt x="483887" y="332849"/>
                    <a:pt x="467125" y="332849"/>
                  </a:cubicBezTo>
                  <a:cubicBezTo>
                    <a:pt x="387466" y="332849"/>
                    <a:pt x="322938" y="397433"/>
                    <a:pt x="322938" y="476831"/>
                  </a:cubicBezTo>
                  <a:cubicBezTo>
                    <a:pt x="322938" y="504383"/>
                    <a:pt x="330651" y="530158"/>
                    <a:pt x="344002" y="551933"/>
                  </a:cubicBezTo>
                  <a:cubicBezTo>
                    <a:pt x="345485" y="554303"/>
                    <a:pt x="348156" y="557118"/>
                    <a:pt x="343260" y="561265"/>
                  </a:cubicBezTo>
                  <a:cubicBezTo>
                    <a:pt x="306768" y="588373"/>
                    <a:pt x="279622" y="601853"/>
                    <a:pt x="262860" y="601853"/>
                  </a:cubicBezTo>
                  <a:cubicBezTo>
                    <a:pt x="210199" y="601853"/>
                    <a:pt x="0" y="442613"/>
                    <a:pt x="0" y="272856"/>
                  </a:cubicBezTo>
                  <a:cubicBezTo>
                    <a:pt x="0" y="270930"/>
                    <a:pt x="2670" y="97322"/>
                    <a:pt x="3263" y="93766"/>
                  </a:cubicBezTo>
                  <a:cubicBezTo>
                    <a:pt x="5192" y="79694"/>
                    <a:pt x="11719" y="80731"/>
                    <a:pt x="15872" y="80879"/>
                  </a:cubicBezTo>
                  <a:cubicBezTo>
                    <a:pt x="50584" y="82509"/>
                    <a:pt x="87669" y="84582"/>
                    <a:pt x="126386" y="73473"/>
                  </a:cubicBezTo>
                  <a:cubicBezTo>
                    <a:pt x="195068" y="53623"/>
                    <a:pt x="240312" y="0"/>
                    <a:pt x="262860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pSp>
          <p:nvGrpSpPr>
            <p:cNvPr id="17" name="组合 16"/>
            <p:cNvGrpSpPr/>
            <p:nvPr/>
          </p:nvGrpSpPr>
          <p:grpSpPr>
            <a:xfrm>
              <a:off x="8139693" y="2839694"/>
              <a:ext cx="1860697" cy="2670916"/>
              <a:chOff x="855343" y="2317544"/>
              <a:chExt cx="1860697" cy="2670916"/>
            </a:xfrm>
          </p:grpSpPr>
          <p:sp>
            <p:nvSpPr>
              <p:cNvPr id="23" name="文本框 22"/>
              <p:cNvSpPr txBox="1"/>
              <p:nvPr/>
            </p:nvSpPr>
            <p:spPr>
              <a:xfrm>
                <a:off x="855343" y="2317544"/>
                <a:ext cx="186069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buSzPct val="25000"/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结果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4" name="矩形 23"/>
              <p:cNvSpPr/>
              <p:nvPr/>
            </p:nvSpPr>
            <p:spPr bwMode="auto">
              <a:xfrm>
                <a:off x="855343" y="2764240"/>
                <a:ext cx="1860697" cy="2224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sp>
          <p:nvSpPr>
            <p:cNvPr id="18" name="椭圆 17"/>
            <p:cNvSpPr/>
            <p:nvPr/>
          </p:nvSpPr>
          <p:spPr>
            <a:xfrm>
              <a:off x="8614398" y="1766490"/>
              <a:ext cx="911286" cy="91128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9" name="任意多边形: 形状 18"/>
            <p:cNvSpPr/>
            <p:nvPr/>
          </p:nvSpPr>
          <p:spPr>
            <a:xfrm>
              <a:off x="8856791" y="2049375"/>
              <a:ext cx="426499" cy="345516"/>
            </a:xfrm>
            <a:custGeom>
              <a:avLst/>
              <a:gdLst>
                <a:gd name="connsiteX0" fmla="*/ 16411 w 608731"/>
                <a:gd name="connsiteY0" fmla="*/ 453912 h 493146"/>
                <a:gd name="connsiteX1" fmla="*/ 586924 w 608731"/>
                <a:gd name="connsiteY1" fmla="*/ 453912 h 493146"/>
                <a:gd name="connsiteX2" fmla="*/ 603335 w 608731"/>
                <a:gd name="connsiteY2" fmla="*/ 470291 h 493146"/>
                <a:gd name="connsiteX3" fmla="*/ 603335 w 608731"/>
                <a:gd name="connsiteY3" fmla="*/ 476842 h 493146"/>
                <a:gd name="connsiteX4" fmla="*/ 586924 w 608731"/>
                <a:gd name="connsiteY4" fmla="*/ 493146 h 493146"/>
                <a:gd name="connsiteX5" fmla="*/ 16411 w 608731"/>
                <a:gd name="connsiteY5" fmla="*/ 493146 h 493146"/>
                <a:gd name="connsiteX6" fmla="*/ 0 w 608731"/>
                <a:gd name="connsiteY6" fmla="*/ 476842 h 493146"/>
                <a:gd name="connsiteX7" fmla="*/ 0 w 608731"/>
                <a:gd name="connsiteY7" fmla="*/ 470291 h 493146"/>
                <a:gd name="connsiteX8" fmla="*/ 16411 w 608731"/>
                <a:gd name="connsiteY8" fmla="*/ 453912 h 493146"/>
                <a:gd name="connsiteX9" fmla="*/ 327127 w 608731"/>
                <a:gd name="connsiteY9" fmla="*/ 87 h 493146"/>
                <a:gd name="connsiteX10" fmla="*/ 338514 w 608731"/>
                <a:gd name="connsiteY10" fmla="*/ 10608 h 493146"/>
                <a:gd name="connsiteX11" fmla="*/ 375068 w 608731"/>
                <a:gd name="connsiteY11" fmla="*/ 199358 h 493146"/>
                <a:gd name="connsiteX12" fmla="*/ 451312 w 608731"/>
                <a:gd name="connsiteY12" fmla="*/ 149080 h 493146"/>
                <a:gd name="connsiteX13" fmla="*/ 471678 w 608731"/>
                <a:gd name="connsiteY13" fmla="*/ 160029 h 493146"/>
                <a:gd name="connsiteX14" fmla="*/ 471678 w 608731"/>
                <a:gd name="connsiteY14" fmla="*/ 266918 h 493146"/>
                <a:gd name="connsiteX15" fmla="*/ 594622 w 608731"/>
                <a:gd name="connsiteY15" fmla="*/ 257905 h 493146"/>
                <a:gd name="connsiteX16" fmla="*/ 604768 w 608731"/>
                <a:gd name="connsiteY16" fmla="*/ 280326 h 493146"/>
                <a:gd name="connsiteX17" fmla="*/ 496819 w 608731"/>
                <a:gd name="connsiteY17" fmla="*/ 386544 h 493146"/>
                <a:gd name="connsiteX18" fmla="*/ 564483 w 608731"/>
                <a:gd name="connsiteY18" fmla="*/ 429002 h 493146"/>
                <a:gd name="connsiteX19" fmla="*/ 437809 w 608731"/>
                <a:gd name="connsiteY19" fmla="*/ 429002 h 493146"/>
                <a:gd name="connsiteX20" fmla="*/ 401851 w 608731"/>
                <a:gd name="connsiteY20" fmla="*/ 406432 h 493146"/>
                <a:gd name="connsiteX21" fmla="*/ 472946 w 608731"/>
                <a:gd name="connsiteY21" fmla="*/ 336415 h 493146"/>
                <a:gd name="connsiteX22" fmla="*/ 388422 w 608731"/>
                <a:gd name="connsiteY22" fmla="*/ 342597 h 493146"/>
                <a:gd name="connsiteX23" fmla="*/ 388422 w 608731"/>
                <a:gd name="connsiteY23" fmla="*/ 272579 h 493146"/>
                <a:gd name="connsiteX24" fmla="*/ 336872 w 608731"/>
                <a:gd name="connsiteY24" fmla="*/ 306545 h 493146"/>
                <a:gd name="connsiteX25" fmla="*/ 313149 w 608731"/>
                <a:gd name="connsiteY25" fmla="*/ 184088 h 493146"/>
                <a:gd name="connsiteX26" fmla="*/ 263688 w 608731"/>
                <a:gd name="connsiteY26" fmla="*/ 295223 h 493146"/>
                <a:gd name="connsiteX27" fmla="*/ 185356 w 608731"/>
                <a:gd name="connsiteY27" fmla="*/ 240699 h 493146"/>
                <a:gd name="connsiteX28" fmla="*/ 209079 w 608731"/>
                <a:gd name="connsiteY28" fmla="*/ 345651 h 493146"/>
                <a:gd name="connsiteX29" fmla="*/ 142087 w 608731"/>
                <a:gd name="connsiteY29" fmla="*/ 360101 h 493146"/>
                <a:gd name="connsiteX30" fmla="*/ 190503 w 608731"/>
                <a:gd name="connsiteY30" fmla="*/ 402261 h 493146"/>
                <a:gd name="connsiteX31" fmla="*/ 156560 w 608731"/>
                <a:gd name="connsiteY31" fmla="*/ 429002 h 493146"/>
                <a:gd name="connsiteX32" fmla="*/ 36824 w 608731"/>
                <a:gd name="connsiteY32" fmla="*/ 429002 h 493146"/>
                <a:gd name="connsiteX33" fmla="*/ 100608 w 608731"/>
                <a:gd name="connsiteY33" fmla="*/ 378798 h 493146"/>
                <a:gd name="connsiteX34" fmla="*/ 29513 w 608731"/>
                <a:gd name="connsiteY34" fmla="*/ 316899 h 493146"/>
                <a:gd name="connsiteX35" fmla="*/ 35332 w 608731"/>
                <a:gd name="connsiteY35" fmla="*/ 294180 h 493146"/>
                <a:gd name="connsiteX36" fmla="*/ 135373 w 608731"/>
                <a:gd name="connsiteY36" fmla="*/ 272654 h 493146"/>
                <a:gd name="connsiteX37" fmla="*/ 98370 w 608731"/>
                <a:gd name="connsiteY37" fmla="*/ 108782 h 493146"/>
                <a:gd name="connsiteX38" fmla="*/ 118662 w 608731"/>
                <a:gd name="connsiteY38" fmla="*/ 95151 h 493146"/>
                <a:gd name="connsiteX39" fmla="*/ 237801 w 608731"/>
                <a:gd name="connsiteY39" fmla="*/ 178129 h 493146"/>
                <a:gd name="connsiteX40" fmla="*/ 313671 w 608731"/>
                <a:gd name="connsiteY40" fmla="*/ 7777 h 493146"/>
                <a:gd name="connsiteX41" fmla="*/ 327127 w 608731"/>
                <a:gd name="connsiteY41" fmla="*/ 87 h 49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08731" h="493146">
                  <a:moveTo>
                    <a:pt x="16411" y="453912"/>
                  </a:moveTo>
                  <a:lnTo>
                    <a:pt x="586924" y="453912"/>
                  </a:lnTo>
                  <a:cubicBezTo>
                    <a:pt x="596025" y="453912"/>
                    <a:pt x="603335" y="461208"/>
                    <a:pt x="603335" y="470291"/>
                  </a:cubicBezTo>
                  <a:lnTo>
                    <a:pt x="603335" y="476842"/>
                  </a:lnTo>
                  <a:cubicBezTo>
                    <a:pt x="603335" y="485850"/>
                    <a:pt x="596025" y="493146"/>
                    <a:pt x="586924" y="493146"/>
                  </a:cubicBezTo>
                  <a:lnTo>
                    <a:pt x="16411" y="493146"/>
                  </a:lnTo>
                  <a:cubicBezTo>
                    <a:pt x="7310" y="493146"/>
                    <a:pt x="0" y="485850"/>
                    <a:pt x="0" y="476842"/>
                  </a:cubicBezTo>
                  <a:lnTo>
                    <a:pt x="0" y="470291"/>
                  </a:lnTo>
                  <a:cubicBezTo>
                    <a:pt x="0" y="461208"/>
                    <a:pt x="7310" y="453912"/>
                    <a:pt x="16411" y="453912"/>
                  </a:cubicBezTo>
                  <a:close/>
                  <a:moveTo>
                    <a:pt x="327127" y="87"/>
                  </a:moveTo>
                  <a:cubicBezTo>
                    <a:pt x="332378" y="683"/>
                    <a:pt x="337283" y="4314"/>
                    <a:pt x="338514" y="10608"/>
                  </a:cubicBezTo>
                  <a:lnTo>
                    <a:pt x="375068" y="199358"/>
                  </a:lnTo>
                  <a:lnTo>
                    <a:pt x="451312" y="149080"/>
                  </a:lnTo>
                  <a:cubicBezTo>
                    <a:pt x="460040" y="143344"/>
                    <a:pt x="471678" y="149601"/>
                    <a:pt x="471678" y="160029"/>
                  </a:cubicBezTo>
                  <a:lnTo>
                    <a:pt x="471678" y="266918"/>
                  </a:lnTo>
                  <a:lnTo>
                    <a:pt x="594622" y="257905"/>
                  </a:lnTo>
                  <a:cubicBezTo>
                    <a:pt x="606782" y="257011"/>
                    <a:pt x="613496" y="271760"/>
                    <a:pt x="604768" y="280326"/>
                  </a:cubicBezTo>
                  <a:lnTo>
                    <a:pt x="496819" y="386544"/>
                  </a:lnTo>
                  <a:lnTo>
                    <a:pt x="564483" y="429002"/>
                  </a:lnTo>
                  <a:lnTo>
                    <a:pt x="437809" y="429002"/>
                  </a:lnTo>
                  <a:lnTo>
                    <a:pt x="401851" y="406432"/>
                  </a:lnTo>
                  <a:lnTo>
                    <a:pt x="472946" y="336415"/>
                  </a:lnTo>
                  <a:lnTo>
                    <a:pt x="388422" y="342597"/>
                  </a:lnTo>
                  <a:lnTo>
                    <a:pt x="388422" y="272579"/>
                  </a:lnTo>
                  <a:lnTo>
                    <a:pt x="336872" y="306545"/>
                  </a:lnTo>
                  <a:lnTo>
                    <a:pt x="313149" y="184088"/>
                  </a:lnTo>
                  <a:lnTo>
                    <a:pt x="263688" y="295223"/>
                  </a:lnTo>
                  <a:lnTo>
                    <a:pt x="185356" y="240699"/>
                  </a:lnTo>
                  <a:lnTo>
                    <a:pt x="209079" y="345651"/>
                  </a:lnTo>
                  <a:lnTo>
                    <a:pt x="142087" y="360101"/>
                  </a:lnTo>
                  <a:lnTo>
                    <a:pt x="190503" y="402261"/>
                  </a:lnTo>
                  <a:lnTo>
                    <a:pt x="156560" y="429002"/>
                  </a:lnTo>
                  <a:lnTo>
                    <a:pt x="36824" y="429002"/>
                  </a:lnTo>
                  <a:lnTo>
                    <a:pt x="100608" y="378798"/>
                  </a:lnTo>
                  <a:lnTo>
                    <a:pt x="29513" y="316899"/>
                  </a:lnTo>
                  <a:cubicBezTo>
                    <a:pt x="21381" y="309748"/>
                    <a:pt x="24813" y="296489"/>
                    <a:pt x="35332" y="294180"/>
                  </a:cubicBezTo>
                  <a:lnTo>
                    <a:pt x="135373" y="272654"/>
                  </a:lnTo>
                  <a:lnTo>
                    <a:pt x="98370" y="108782"/>
                  </a:lnTo>
                  <a:cubicBezTo>
                    <a:pt x="95759" y="97088"/>
                    <a:pt x="108889" y="88298"/>
                    <a:pt x="118662" y="95151"/>
                  </a:cubicBezTo>
                  <a:lnTo>
                    <a:pt x="237801" y="178129"/>
                  </a:lnTo>
                  <a:lnTo>
                    <a:pt x="313671" y="7777"/>
                  </a:lnTo>
                  <a:cubicBezTo>
                    <a:pt x="316282" y="1930"/>
                    <a:pt x="321877" y="-509"/>
                    <a:pt x="327127" y="8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20" name="直接连接符 19"/>
            <p:cNvCxnSpPr/>
            <p:nvPr/>
          </p:nvCxnSpPr>
          <p:spPr>
            <a:xfrm>
              <a:off x="3083537" y="3025507"/>
              <a:ext cx="0" cy="229929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5478138" y="3025507"/>
              <a:ext cx="0" cy="229929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>
              <a:off x="7872739" y="3025507"/>
              <a:ext cx="0" cy="229929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结果展示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276349"/>
            <a:ext cx="10848975" cy="4870451"/>
            <a:chOff x="669925" y="1276349"/>
            <a:chExt cx="10848975" cy="4870451"/>
          </a:xfrm>
        </p:grpSpPr>
        <p:sp>
          <p:nvSpPr>
            <p:cNvPr id="6" name="矩形 5"/>
            <p:cNvSpPr/>
            <p:nvPr/>
          </p:nvSpPr>
          <p:spPr>
            <a:xfrm>
              <a:off x="774700" y="1344262"/>
              <a:ext cx="4981575" cy="2924175"/>
            </a:xfrm>
            <a:prstGeom prst="rect">
              <a:avLst/>
            </a:prstGeom>
            <a:blipFill>
              <a:blip r:embed="rId1"/>
              <a:stretch>
                <a:fillRect t="-6459" b="-6403"/>
              </a:stretch>
            </a:blipFill>
            <a:ln w="3175">
              <a:noFill/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zh-CN" altLang="en-US" sz="2800" b="1">
                <a:cs typeface="+mn-ea"/>
                <a:sym typeface="+mn-lt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669925" y="1276349"/>
              <a:ext cx="104775" cy="3060000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774700" y="3823131"/>
              <a:ext cx="581025" cy="1304925"/>
              <a:chOff x="774700" y="3823131"/>
              <a:chExt cx="581025" cy="1304925"/>
            </a:xfrm>
          </p:grpSpPr>
          <p:sp>
            <p:nvSpPr>
              <p:cNvPr id="23" name="椭圆 22"/>
              <p:cNvSpPr/>
              <p:nvPr/>
            </p:nvSpPr>
            <p:spPr>
              <a:xfrm>
                <a:off x="774700" y="4547031"/>
                <a:ext cx="581025" cy="581025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algn="ctr"/>
                <a:r>
                  <a:rPr lang="en-US" altLang="zh-CN" sz="1600" b="1" dirty="0">
                    <a:cs typeface="+mn-ea"/>
                    <a:sym typeface="+mn-lt"/>
                  </a:rPr>
                  <a:t>01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  <p:cxnSp>
            <p:nvCxnSpPr>
              <p:cNvPr id="24" name="直接连接符 23"/>
              <p:cNvCxnSpPr>
                <a:stCxn id="23" idx="0"/>
              </p:cNvCxnSpPr>
              <p:nvPr/>
            </p:nvCxnSpPr>
            <p:spPr>
              <a:xfrm flipV="1">
                <a:off x="1065213" y="3823131"/>
                <a:ext cx="0" cy="723900"/>
              </a:xfrm>
              <a:prstGeom prst="line">
                <a:avLst/>
              </a:prstGeom>
              <a:ln w="3175" cap="rnd">
                <a:solidFill>
                  <a:schemeClr val="accent1"/>
                </a:solidFill>
                <a:prstDash val="solid"/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组合 8"/>
            <p:cNvGrpSpPr/>
            <p:nvPr/>
          </p:nvGrpSpPr>
          <p:grpSpPr>
            <a:xfrm>
              <a:off x="1441450" y="4451781"/>
              <a:ext cx="3330625" cy="1695019"/>
              <a:chOff x="1441450" y="4543425"/>
              <a:chExt cx="3330625" cy="1695019"/>
            </a:xfrm>
          </p:grpSpPr>
          <p:grpSp>
            <p:nvGrpSpPr>
              <p:cNvPr id="19" name="组合 18"/>
              <p:cNvGrpSpPr/>
              <p:nvPr/>
            </p:nvGrpSpPr>
            <p:grpSpPr>
              <a:xfrm>
                <a:off x="1441450" y="4543425"/>
                <a:ext cx="3330625" cy="1086937"/>
                <a:chOff x="1441450" y="4543425"/>
                <a:chExt cx="3330625" cy="1086937"/>
              </a:xfrm>
            </p:grpSpPr>
            <p:sp>
              <p:nvSpPr>
                <p:cNvPr id="21" name="文本框 20"/>
                <p:cNvSpPr txBox="1"/>
                <p:nvPr/>
              </p:nvSpPr>
              <p:spPr bwMode="auto">
                <a:xfrm>
                  <a:off x="1441450" y="4543425"/>
                  <a:ext cx="3330625" cy="455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en-US" altLang="zh-CN" sz="20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2000" b="1" dirty="0">
                      <a:cs typeface="+mn-ea"/>
                      <a:sym typeface="+mn-lt"/>
                    </a:rPr>
                    <a:t>结果</a:t>
                  </a:r>
                  <a:endParaRPr lang="id-ID" altLang="zh-CN" sz="20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矩形 21"/>
                <p:cNvSpPr/>
                <p:nvPr/>
              </p:nvSpPr>
              <p:spPr bwMode="auto">
                <a:xfrm>
                  <a:off x="1441450" y="4998606"/>
                  <a:ext cx="3330625" cy="6317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20" name="矩形 19"/>
              <p:cNvSpPr/>
              <p:nvPr/>
            </p:nvSpPr>
            <p:spPr bwMode="auto">
              <a:xfrm>
                <a:off x="1441450" y="5606688"/>
                <a:ext cx="3330625" cy="63175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sp>
          <p:nvSpPr>
            <p:cNvPr id="10" name="矩形 9"/>
            <p:cNvSpPr/>
            <p:nvPr/>
          </p:nvSpPr>
          <p:spPr>
            <a:xfrm>
              <a:off x="6537325" y="1344262"/>
              <a:ext cx="4981575" cy="2924175"/>
            </a:xfrm>
            <a:prstGeom prst="rect">
              <a:avLst/>
            </a:prstGeom>
            <a:blipFill>
              <a:blip r:embed="rId2"/>
              <a:stretch>
                <a:fillRect t="-6815" b="-6757"/>
              </a:stretch>
            </a:blipFill>
            <a:ln w="3175">
              <a:noFill/>
              <a:prstDash val="sysDash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 lang="zh-CN" altLang="en-US" sz="2800" b="1">
                <a:cs typeface="+mn-ea"/>
                <a:sym typeface="+mn-lt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432550" y="1276349"/>
              <a:ext cx="104775" cy="3060000"/>
            </a:xfrm>
            <a:prstGeom prst="rect">
              <a:avLst/>
            </a:prstGeom>
            <a:solidFill>
              <a:schemeClr val="accent2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2" name="椭圆 11"/>
            <p:cNvSpPr/>
            <p:nvPr/>
          </p:nvSpPr>
          <p:spPr>
            <a:xfrm>
              <a:off x="6537325" y="4547031"/>
              <a:ext cx="581025" cy="58102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normAutofit/>
            </a:bodyPr>
            <a:lstStyle/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02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cxnSp>
          <p:nvCxnSpPr>
            <p:cNvPr id="13" name="直接连接符 12"/>
            <p:cNvCxnSpPr>
              <a:stCxn id="12" idx="0"/>
            </p:cNvCxnSpPr>
            <p:nvPr/>
          </p:nvCxnSpPr>
          <p:spPr>
            <a:xfrm flipV="1">
              <a:off x="6827838" y="3823131"/>
              <a:ext cx="0" cy="723900"/>
            </a:xfrm>
            <a:prstGeom prst="line">
              <a:avLst/>
            </a:prstGeom>
            <a:ln w="3175" cap="rnd">
              <a:solidFill>
                <a:schemeClr val="accent2"/>
              </a:solidFill>
              <a:prstDash val="solid"/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组合 13"/>
            <p:cNvGrpSpPr/>
            <p:nvPr/>
          </p:nvGrpSpPr>
          <p:grpSpPr>
            <a:xfrm>
              <a:off x="7204075" y="4451781"/>
              <a:ext cx="3330625" cy="1695019"/>
              <a:chOff x="1441450" y="4543425"/>
              <a:chExt cx="3330625" cy="1695019"/>
            </a:xfrm>
          </p:grpSpPr>
          <p:grpSp>
            <p:nvGrpSpPr>
              <p:cNvPr id="15" name="组合 14"/>
              <p:cNvGrpSpPr/>
              <p:nvPr/>
            </p:nvGrpSpPr>
            <p:grpSpPr>
              <a:xfrm>
                <a:off x="1441450" y="4543425"/>
                <a:ext cx="3330625" cy="1086937"/>
                <a:chOff x="1441450" y="4543425"/>
                <a:chExt cx="3330625" cy="1086937"/>
              </a:xfrm>
            </p:grpSpPr>
            <p:sp>
              <p:nvSpPr>
                <p:cNvPr id="17" name="文本框 16"/>
                <p:cNvSpPr txBox="1"/>
                <p:nvPr/>
              </p:nvSpPr>
              <p:spPr bwMode="auto">
                <a:xfrm>
                  <a:off x="1441450" y="4543425"/>
                  <a:ext cx="3330625" cy="455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en-US" altLang="zh-CN" sz="20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2000" b="1" dirty="0">
                      <a:cs typeface="+mn-ea"/>
                      <a:sym typeface="+mn-lt"/>
                    </a:rPr>
                    <a:t>结果</a:t>
                  </a:r>
                  <a:endParaRPr lang="id-ID" altLang="zh-CN" sz="20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矩形 17"/>
                <p:cNvSpPr/>
                <p:nvPr/>
              </p:nvSpPr>
              <p:spPr bwMode="auto">
                <a:xfrm>
                  <a:off x="1441450" y="4998606"/>
                  <a:ext cx="3330625" cy="6317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6" name="矩形 15"/>
              <p:cNvSpPr/>
              <p:nvPr/>
            </p:nvSpPr>
            <p:spPr bwMode="auto">
              <a:xfrm>
                <a:off x="1441450" y="5606688"/>
                <a:ext cx="3330625" cy="63175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论文总结与展望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zh-CN" altLang="en-US" dirty="0">
                <a:cs typeface="+mn-ea"/>
                <a:sym typeface="+mn-lt"/>
              </a:rPr>
              <a:t>相关问题分析及对策</a:t>
            </a:r>
            <a:endParaRPr lang="en-US" altLang="zh-CN" dirty="0">
              <a:cs typeface="+mn-ea"/>
              <a:sym typeface="+mn-lt"/>
            </a:endParaRPr>
          </a:p>
          <a:p>
            <a:pPr lvl="0"/>
            <a:r>
              <a:rPr lang="zh-CN" altLang="en-US" dirty="0">
                <a:cs typeface="+mn-ea"/>
                <a:sym typeface="+mn-lt"/>
              </a:rPr>
              <a:t>研究总结</a:t>
            </a:r>
            <a:endParaRPr lang="en-US" altLang="zh-CN" dirty="0">
              <a:cs typeface="+mn-ea"/>
              <a:sym typeface="+mn-lt"/>
            </a:endParaRPr>
          </a:p>
          <a:p>
            <a:pPr lvl="0"/>
            <a:r>
              <a:rPr lang="zh-CN" altLang="en-US" dirty="0">
                <a:cs typeface="+mn-ea"/>
                <a:sym typeface="+mn-lt"/>
              </a:rPr>
              <a:t>展望未来</a:t>
            </a:r>
            <a:endParaRPr lang="en-US" altLang="zh-CN" dirty="0">
              <a:cs typeface="+mn-ea"/>
              <a:sym typeface="+mn-lt"/>
            </a:endParaRPr>
          </a:p>
          <a:p>
            <a:pPr lvl="0"/>
            <a:r>
              <a:rPr lang="zh-CN" altLang="en-US" dirty="0">
                <a:cs typeface="+mn-ea"/>
                <a:sym typeface="+mn-lt"/>
              </a:rPr>
              <a:t>参考文献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91703" y="3374184"/>
            <a:ext cx="1773697" cy="190590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相关问题分析及对策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399" y="1130300"/>
            <a:ext cx="10858501" cy="5003800"/>
            <a:chOff x="660399" y="1130300"/>
            <a:chExt cx="10858501" cy="5003800"/>
          </a:xfrm>
        </p:grpSpPr>
        <p:cxnSp>
          <p:nvCxnSpPr>
            <p:cNvPr id="6" name="直接连接符 5"/>
            <p:cNvCxnSpPr/>
            <p:nvPr/>
          </p:nvCxnSpPr>
          <p:spPr>
            <a:xfrm>
              <a:off x="660399" y="3632200"/>
              <a:ext cx="108585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/>
            <p:cNvGrpSpPr/>
            <p:nvPr/>
          </p:nvGrpSpPr>
          <p:grpSpPr>
            <a:xfrm>
              <a:off x="660400" y="1130300"/>
              <a:ext cx="5051577" cy="5003800"/>
              <a:chOff x="660400" y="1130300"/>
              <a:chExt cx="5051577" cy="5003800"/>
            </a:xfrm>
          </p:grpSpPr>
          <p:cxnSp>
            <p:nvCxnSpPr>
              <p:cNvPr id="26" name="直接连接符 25"/>
              <p:cNvCxnSpPr/>
              <p:nvPr/>
            </p:nvCxnSpPr>
            <p:spPr>
              <a:xfrm flipH="1" flipV="1">
                <a:off x="4709205" y="1130300"/>
                <a:ext cx="1002772" cy="250190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/>
              <p:nvPr/>
            </p:nvCxnSpPr>
            <p:spPr>
              <a:xfrm flipH="1">
                <a:off x="4709205" y="3632200"/>
                <a:ext cx="1002772" cy="250190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/>
              <p:nvPr/>
            </p:nvCxnSpPr>
            <p:spPr>
              <a:xfrm flipH="1">
                <a:off x="660400" y="1130300"/>
                <a:ext cx="4048806" cy="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/>
              <p:nvPr/>
            </p:nvCxnSpPr>
            <p:spPr>
              <a:xfrm flipH="1">
                <a:off x="660400" y="6134100"/>
                <a:ext cx="4048806" cy="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组合 7"/>
            <p:cNvGrpSpPr/>
            <p:nvPr/>
          </p:nvGrpSpPr>
          <p:grpSpPr>
            <a:xfrm>
              <a:off x="6467323" y="1130300"/>
              <a:ext cx="5051577" cy="5003800"/>
              <a:chOff x="6467323" y="1130300"/>
              <a:chExt cx="5051577" cy="5003800"/>
            </a:xfrm>
          </p:grpSpPr>
          <p:cxnSp>
            <p:nvCxnSpPr>
              <p:cNvPr id="22" name="直接连接符 21"/>
              <p:cNvCxnSpPr/>
              <p:nvPr/>
            </p:nvCxnSpPr>
            <p:spPr>
              <a:xfrm flipV="1">
                <a:off x="6467323" y="1130300"/>
                <a:ext cx="1002772" cy="2501900"/>
              </a:xfrm>
              <a:prstGeom prst="line">
                <a:avLst/>
              </a:prstGeom>
              <a:ln w="19050" cap="rnd">
                <a:solidFill>
                  <a:schemeClr val="accent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/>
              <p:nvPr/>
            </p:nvCxnSpPr>
            <p:spPr>
              <a:xfrm>
                <a:off x="6467323" y="3632200"/>
                <a:ext cx="1002772" cy="2501900"/>
              </a:xfrm>
              <a:prstGeom prst="line">
                <a:avLst/>
              </a:prstGeom>
              <a:ln w="19050" cap="rnd">
                <a:solidFill>
                  <a:schemeClr val="accent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/>
              <p:nvPr/>
            </p:nvCxnSpPr>
            <p:spPr>
              <a:xfrm flipH="1">
                <a:off x="7470094" y="1130300"/>
                <a:ext cx="4048806" cy="0"/>
              </a:xfrm>
              <a:prstGeom prst="line">
                <a:avLst/>
              </a:prstGeom>
              <a:ln w="19050" cap="rnd">
                <a:solidFill>
                  <a:schemeClr val="accent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/>
              <p:nvPr/>
            </p:nvCxnSpPr>
            <p:spPr>
              <a:xfrm flipH="1">
                <a:off x="7470094" y="6134100"/>
                <a:ext cx="4048806" cy="0"/>
              </a:xfrm>
              <a:prstGeom prst="line">
                <a:avLst/>
              </a:prstGeom>
              <a:ln w="19050" cap="rnd">
                <a:solidFill>
                  <a:schemeClr val="accent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" name="椭圆 8"/>
            <p:cNvSpPr/>
            <p:nvPr/>
          </p:nvSpPr>
          <p:spPr bwMode="auto">
            <a:xfrm>
              <a:off x="5159375" y="2701923"/>
              <a:ext cx="1860550" cy="1860554"/>
            </a:xfrm>
            <a:prstGeom prst="ellipse">
              <a:avLst/>
            </a:prstGeom>
            <a:blipFill>
              <a:blip r:embed="rId1"/>
              <a:stretch>
                <a:fillRect l="-25646" r="-25298"/>
              </a:stretch>
            </a:blip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441078" y="2495589"/>
              <a:ext cx="3295396" cy="2851072"/>
              <a:chOff x="2779776" y="4128198"/>
              <a:chExt cx="3072384" cy="2851072"/>
            </a:xfrm>
          </p:grpSpPr>
          <p:sp>
            <p:nvSpPr>
              <p:cNvPr id="20" name="矩形 19"/>
              <p:cNvSpPr/>
              <p:nvPr/>
            </p:nvSpPr>
            <p:spPr bwMode="auto">
              <a:xfrm>
                <a:off x="2779776" y="4570003"/>
                <a:ext cx="3072384" cy="24092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Theme color makes PPT more convenient to chang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Adjust the spacing to adapt to Chinese typesetting, use the reference line in PPT.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21" name="文本框 20"/>
              <p:cNvSpPr txBox="1"/>
              <p:nvPr/>
            </p:nvSpPr>
            <p:spPr bwMode="auto">
              <a:xfrm>
                <a:off x="2779776" y="4128198"/>
                <a:ext cx="307238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1400" b="1" dirty="0">
                    <a:cs typeface="+mn-ea"/>
                    <a:sym typeface="+mn-lt"/>
                  </a:rPr>
                  <a:t>…</a:t>
                </a:r>
                <a:r>
                  <a:rPr lang="zh-CN" altLang="en-US" sz="1400" b="1" dirty="0">
                    <a:cs typeface="+mn-ea"/>
                    <a:sym typeface="+mn-lt"/>
                  </a:rPr>
                  <a:t>问题</a:t>
                </a:r>
                <a:endParaRPr lang="en-US" altLang="zh-CN" sz="14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7442826" y="2495589"/>
              <a:ext cx="3295396" cy="2851072"/>
              <a:chOff x="2779776" y="4128198"/>
              <a:chExt cx="3072384" cy="2851072"/>
            </a:xfrm>
          </p:grpSpPr>
          <p:sp>
            <p:nvSpPr>
              <p:cNvPr id="18" name="矩形 17"/>
              <p:cNvSpPr/>
              <p:nvPr/>
            </p:nvSpPr>
            <p:spPr bwMode="auto">
              <a:xfrm>
                <a:off x="2779776" y="4570003"/>
                <a:ext cx="3072384" cy="24092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Theme color makes PPT more convenient to chang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Adjust the spacing to adapt to Chinese typesetting, use the reference line in PPT.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19" name="文本框 18"/>
              <p:cNvSpPr txBox="1"/>
              <p:nvPr/>
            </p:nvSpPr>
            <p:spPr bwMode="auto">
              <a:xfrm>
                <a:off x="2779776" y="4128198"/>
                <a:ext cx="307238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1400" b="1" dirty="0">
                    <a:cs typeface="+mn-ea"/>
                    <a:sym typeface="+mn-lt"/>
                  </a:rPr>
                  <a:t>…</a:t>
                </a:r>
                <a:r>
                  <a:rPr lang="zh-CN" altLang="en-US" sz="1400" b="1" dirty="0">
                    <a:cs typeface="+mn-ea"/>
                    <a:sym typeface="+mn-lt"/>
                  </a:rPr>
                  <a:t>对策</a:t>
                </a:r>
                <a:endParaRPr lang="en-US" altLang="zh-CN" sz="14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660400" y="3343275"/>
              <a:ext cx="577851" cy="577851"/>
              <a:chOff x="800716" y="1726731"/>
              <a:chExt cx="577851" cy="577851"/>
            </a:xfrm>
          </p:grpSpPr>
          <p:sp>
            <p:nvSpPr>
              <p:cNvPr id="16" name="椭圆 15"/>
              <p:cNvSpPr/>
              <p:nvPr/>
            </p:nvSpPr>
            <p:spPr>
              <a:xfrm>
                <a:off x="800716" y="1726731"/>
                <a:ext cx="577851" cy="577851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none" lIns="0" tIns="0" rIns="0" bIns="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3200"/>
                </a:pPr>
                <a:endParaRPr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7" name="任意多边形: 形状 16"/>
              <p:cNvSpPr/>
              <p:nvPr/>
            </p:nvSpPr>
            <p:spPr>
              <a:xfrm>
                <a:off x="944844" y="1884632"/>
                <a:ext cx="289596" cy="262048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  <a:gd name="connsiteX59" fmla="*/ 373273 h 605239"/>
                  <a:gd name="connsiteY59" fmla="*/ 373273 h 605239"/>
                  <a:gd name="connsiteX60" fmla="*/ 373273 h 605239"/>
                  <a:gd name="connsiteY60" fmla="*/ 373273 h 605239"/>
                  <a:gd name="connsiteX61" fmla="*/ 373273 h 605239"/>
                  <a:gd name="connsiteY61" fmla="*/ 373273 h 605239"/>
                  <a:gd name="connsiteX62" fmla="*/ 373273 h 605239"/>
                  <a:gd name="connsiteY62" fmla="*/ 373273 h 605239"/>
                  <a:gd name="connsiteX63" fmla="*/ 373273 h 605239"/>
                  <a:gd name="connsiteY63" fmla="*/ 373273 h 605239"/>
                  <a:gd name="connsiteX64" fmla="*/ 373273 h 605239"/>
                  <a:gd name="connsiteY64" fmla="*/ 373273 h 605239"/>
                  <a:gd name="connsiteX65" fmla="*/ 373273 h 605239"/>
                  <a:gd name="connsiteY65" fmla="*/ 373273 h 605239"/>
                  <a:gd name="connsiteX66" fmla="*/ 373273 h 605239"/>
                  <a:gd name="connsiteY66" fmla="*/ 373273 h 605239"/>
                  <a:gd name="connsiteX67" fmla="*/ 373273 h 605239"/>
                  <a:gd name="connsiteY67" fmla="*/ 373273 h 605239"/>
                  <a:gd name="connsiteX68" fmla="*/ 373273 h 605239"/>
                  <a:gd name="connsiteY68" fmla="*/ 373273 h 605239"/>
                  <a:gd name="connsiteX69" fmla="*/ 373273 h 605239"/>
                  <a:gd name="connsiteY69" fmla="*/ 373273 h 605239"/>
                  <a:gd name="connsiteX70" fmla="*/ 373273 h 605239"/>
                  <a:gd name="connsiteY70" fmla="*/ 373273 h 605239"/>
                  <a:gd name="connsiteX71" fmla="*/ 373273 h 605239"/>
                  <a:gd name="connsiteY71" fmla="*/ 373273 h 605239"/>
                  <a:gd name="connsiteX72" fmla="*/ 373273 h 605239"/>
                  <a:gd name="connsiteY72" fmla="*/ 373273 h 605239"/>
                  <a:gd name="connsiteX73" fmla="*/ 373273 h 605239"/>
                  <a:gd name="connsiteY73" fmla="*/ 373273 h 605239"/>
                  <a:gd name="connsiteX74" fmla="*/ 373273 h 605239"/>
                  <a:gd name="connsiteY74" fmla="*/ 373273 h 605239"/>
                  <a:gd name="connsiteX75" fmla="*/ 373273 h 605239"/>
                  <a:gd name="connsiteY75" fmla="*/ 373273 h 605239"/>
                  <a:gd name="connsiteX76" fmla="*/ 373273 h 605239"/>
                  <a:gd name="connsiteY76" fmla="*/ 373273 h 605239"/>
                  <a:gd name="connsiteX77" fmla="*/ 373273 h 605239"/>
                  <a:gd name="connsiteY77" fmla="*/ 373273 h 605239"/>
                  <a:gd name="connsiteX78" fmla="*/ 373273 h 605239"/>
                  <a:gd name="connsiteY78" fmla="*/ 373273 h 605239"/>
                  <a:gd name="connsiteX79" fmla="*/ 373273 h 605239"/>
                  <a:gd name="connsiteY79" fmla="*/ 373273 h 605239"/>
                  <a:gd name="connsiteX80" fmla="*/ 373273 h 605239"/>
                  <a:gd name="connsiteY80" fmla="*/ 373273 h 605239"/>
                  <a:gd name="connsiteX81" fmla="*/ 373273 h 605239"/>
                  <a:gd name="connsiteY81" fmla="*/ 373273 h 605239"/>
                  <a:gd name="connsiteX82" fmla="*/ 373273 h 605239"/>
                  <a:gd name="connsiteY82" fmla="*/ 373273 h 605239"/>
                  <a:gd name="connsiteX83" fmla="*/ 373273 h 605239"/>
                  <a:gd name="connsiteY83" fmla="*/ 373273 h 605239"/>
                  <a:gd name="connsiteX84" fmla="*/ 373273 h 605239"/>
                  <a:gd name="connsiteY84" fmla="*/ 373273 h 605239"/>
                  <a:gd name="connsiteX85" fmla="*/ 373273 h 605239"/>
                  <a:gd name="connsiteY85" fmla="*/ 373273 h 605239"/>
                  <a:gd name="connsiteX86" fmla="*/ 373273 h 605239"/>
                  <a:gd name="connsiteY86" fmla="*/ 373273 h 605239"/>
                  <a:gd name="connsiteX87" fmla="*/ 373273 h 605239"/>
                  <a:gd name="connsiteY87" fmla="*/ 373273 h 605239"/>
                  <a:gd name="connsiteX88" fmla="*/ 373273 h 605239"/>
                  <a:gd name="connsiteY88" fmla="*/ 373273 h 605239"/>
                  <a:gd name="connsiteX89" fmla="*/ 373273 h 605239"/>
                  <a:gd name="connsiteY89" fmla="*/ 373273 h 605239"/>
                  <a:gd name="connsiteX90" fmla="*/ 373273 h 605239"/>
                  <a:gd name="connsiteY90" fmla="*/ 373273 h 605239"/>
                  <a:gd name="connsiteX91" fmla="*/ 373273 h 605239"/>
                  <a:gd name="connsiteY91" fmla="*/ 373273 h 605239"/>
                  <a:gd name="connsiteX92" fmla="*/ 373273 h 605239"/>
                  <a:gd name="connsiteY92" fmla="*/ 373273 h 605239"/>
                  <a:gd name="connsiteX93" fmla="*/ 373273 h 605239"/>
                  <a:gd name="connsiteY93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608039" h="550199">
                    <a:moveTo>
                      <a:pt x="461128" y="431155"/>
                    </a:moveTo>
                    <a:lnTo>
                      <a:pt x="501529" y="431155"/>
                    </a:lnTo>
                    <a:lnTo>
                      <a:pt x="534583" y="431155"/>
                    </a:lnTo>
                    <a:lnTo>
                      <a:pt x="574984" y="431155"/>
                    </a:lnTo>
                    <a:cubicBezTo>
                      <a:pt x="593159" y="431155"/>
                      <a:pt x="608133" y="446024"/>
                      <a:pt x="608039" y="464280"/>
                    </a:cubicBezTo>
                    <a:lnTo>
                      <a:pt x="608039" y="517074"/>
                    </a:lnTo>
                    <a:cubicBezTo>
                      <a:pt x="608039" y="535236"/>
                      <a:pt x="593065" y="550199"/>
                      <a:pt x="574890" y="550199"/>
                    </a:cubicBezTo>
                    <a:lnTo>
                      <a:pt x="461128" y="550199"/>
                    </a:lnTo>
                    <a:cubicBezTo>
                      <a:pt x="442858" y="550199"/>
                      <a:pt x="427979" y="535236"/>
                      <a:pt x="427979" y="517074"/>
                    </a:cubicBezTo>
                    <a:lnTo>
                      <a:pt x="427979" y="464280"/>
                    </a:lnTo>
                    <a:cubicBezTo>
                      <a:pt x="427979" y="446024"/>
                      <a:pt x="442858" y="431155"/>
                      <a:pt x="461128" y="431155"/>
                    </a:cubicBezTo>
                    <a:close/>
                    <a:moveTo>
                      <a:pt x="247103" y="431155"/>
                    </a:moveTo>
                    <a:lnTo>
                      <a:pt x="287504" y="431155"/>
                    </a:lnTo>
                    <a:lnTo>
                      <a:pt x="320558" y="431155"/>
                    </a:lnTo>
                    <a:lnTo>
                      <a:pt x="360959" y="431155"/>
                    </a:lnTo>
                    <a:cubicBezTo>
                      <a:pt x="379134" y="431155"/>
                      <a:pt x="394108" y="446024"/>
                      <a:pt x="394014" y="464280"/>
                    </a:cubicBezTo>
                    <a:lnTo>
                      <a:pt x="394014" y="517074"/>
                    </a:lnTo>
                    <a:cubicBezTo>
                      <a:pt x="394014" y="535236"/>
                      <a:pt x="379040" y="550199"/>
                      <a:pt x="360865" y="550199"/>
                    </a:cubicBezTo>
                    <a:lnTo>
                      <a:pt x="247103" y="550199"/>
                    </a:lnTo>
                    <a:cubicBezTo>
                      <a:pt x="228833" y="550199"/>
                      <a:pt x="213954" y="535236"/>
                      <a:pt x="213954" y="517074"/>
                    </a:cubicBezTo>
                    <a:lnTo>
                      <a:pt x="213954" y="464280"/>
                    </a:lnTo>
                    <a:cubicBezTo>
                      <a:pt x="213954" y="446024"/>
                      <a:pt x="228833" y="431155"/>
                      <a:pt x="247103" y="431155"/>
                    </a:cubicBezTo>
                    <a:close/>
                    <a:moveTo>
                      <a:pt x="33162" y="431155"/>
                    </a:moveTo>
                    <a:lnTo>
                      <a:pt x="73578" y="431155"/>
                    </a:lnTo>
                    <a:lnTo>
                      <a:pt x="106646" y="431155"/>
                    </a:lnTo>
                    <a:lnTo>
                      <a:pt x="146968" y="431155"/>
                    </a:lnTo>
                    <a:cubicBezTo>
                      <a:pt x="165339" y="431155"/>
                      <a:pt x="180224" y="446024"/>
                      <a:pt x="180130" y="464280"/>
                    </a:cubicBezTo>
                    <a:lnTo>
                      <a:pt x="180130" y="517074"/>
                    </a:lnTo>
                    <a:cubicBezTo>
                      <a:pt x="180130" y="535236"/>
                      <a:pt x="165150" y="550199"/>
                      <a:pt x="146968" y="550199"/>
                    </a:cubicBezTo>
                    <a:lnTo>
                      <a:pt x="33162" y="550199"/>
                    </a:lnTo>
                    <a:cubicBezTo>
                      <a:pt x="14979" y="550199"/>
                      <a:pt x="0" y="535236"/>
                      <a:pt x="0" y="517074"/>
                    </a:cubicBezTo>
                    <a:lnTo>
                      <a:pt x="0" y="464280"/>
                    </a:lnTo>
                    <a:cubicBezTo>
                      <a:pt x="0" y="446024"/>
                      <a:pt x="14979" y="431155"/>
                      <a:pt x="33162" y="431155"/>
                    </a:cubicBezTo>
                    <a:close/>
                    <a:moveTo>
                      <a:pt x="163140" y="99327"/>
                    </a:moveTo>
                    <a:cubicBezTo>
                      <a:pt x="163046" y="101208"/>
                      <a:pt x="162857" y="102713"/>
                      <a:pt x="162857" y="104218"/>
                    </a:cubicBezTo>
                    <a:lnTo>
                      <a:pt x="162857" y="157362"/>
                    </a:lnTo>
                    <a:lnTo>
                      <a:pt x="162857" y="217184"/>
                    </a:lnTo>
                    <a:cubicBezTo>
                      <a:pt x="162857" y="234021"/>
                      <a:pt x="173220" y="244273"/>
                      <a:pt x="190176" y="244273"/>
                    </a:cubicBezTo>
                    <a:lnTo>
                      <a:pt x="249053" y="244273"/>
                    </a:lnTo>
                    <a:cubicBezTo>
                      <a:pt x="305480" y="244273"/>
                      <a:pt x="361813" y="244273"/>
                      <a:pt x="418146" y="244367"/>
                    </a:cubicBezTo>
                    <a:cubicBezTo>
                      <a:pt x="434443" y="244367"/>
                      <a:pt x="444994" y="233833"/>
                      <a:pt x="444994" y="217466"/>
                    </a:cubicBezTo>
                    <a:lnTo>
                      <a:pt x="444994" y="140525"/>
                    </a:lnTo>
                    <a:lnTo>
                      <a:pt x="444994" y="104971"/>
                    </a:lnTo>
                    <a:lnTo>
                      <a:pt x="444994" y="99327"/>
                    </a:lnTo>
                    <a:lnTo>
                      <a:pt x="248958" y="99327"/>
                    </a:lnTo>
                    <a:close/>
                    <a:moveTo>
                      <a:pt x="415226" y="33955"/>
                    </a:moveTo>
                    <a:cubicBezTo>
                      <a:pt x="406465" y="33955"/>
                      <a:pt x="399306" y="41104"/>
                      <a:pt x="399306" y="49852"/>
                    </a:cubicBezTo>
                    <a:cubicBezTo>
                      <a:pt x="399306" y="58693"/>
                      <a:pt x="406465" y="65842"/>
                      <a:pt x="415226" y="65842"/>
                    </a:cubicBezTo>
                    <a:cubicBezTo>
                      <a:pt x="423987" y="65842"/>
                      <a:pt x="431146" y="58693"/>
                      <a:pt x="431146" y="49852"/>
                    </a:cubicBezTo>
                    <a:cubicBezTo>
                      <a:pt x="431146" y="41104"/>
                      <a:pt x="423987" y="33955"/>
                      <a:pt x="415226" y="33955"/>
                    </a:cubicBezTo>
                    <a:close/>
                    <a:moveTo>
                      <a:pt x="360306" y="33955"/>
                    </a:moveTo>
                    <a:cubicBezTo>
                      <a:pt x="351545" y="33955"/>
                      <a:pt x="344386" y="41104"/>
                      <a:pt x="344386" y="49852"/>
                    </a:cubicBezTo>
                    <a:cubicBezTo>
                      <a:pt x="344386" y="58693"/>
                      <a:pt x="351545" y="65842"/>
                      <a:pt x="360306" y="65842"/>
                    </a:cubicBezTo>
                    <a:cubicBezTo>
                      <a:pt x="369161" y="65842"/>
                      <a:pt x="376320" y="58693"/>
                      <a:pt x="376320" y="49852"/>
                    </a:cubicBezTo>
                    <a:cubicBezTo>
                      <a:pt x="376320" y="41104"/>
                      <a:pt x="369161" y="33955"/>
                      <a:pt x="360306" y="33955"/>
                    </a:cubicBezTo>
                    <a:close/>
                    <a:moveTo>
                      <a:pt x="305480" y="33955"/>
                    </a:moveTo>
                    <a:cubicBezTo>
                      <a:pt x="296625" y="33955"/>
                      <a:pt x="289466" y="41104"/>
                      <a:pt x="289466" y="49852"/>
                    </a:cubicBezTo>
                    <a:cubicBezTo>
                      <a:pt x="289466" y="58693"/>
                      <a:pt x="296625" y="65842"/>
                      <a:pt x="305480" y="65842"/>
                    </a:cubicBezTo>
                    <a:cubicBezTo>
                      <a:pt x="314241" y="65842"/>
                      <a:pt x="321400" y="58693"/>
                      <a:pt x="321400" y="49852"/>
                    </a:cubicBezTo>
                    <a:cubicBezTo>
                      <a:pt x="321400" y="41104"/>
                      <a:pt x="314241" y="33955"/>
                      <a:pt x="305480" y="33955"/>
                    </a:cubicBezTo>
                    <a:close/>
                    <a:moveTo>
                      <a:pt x="189611" y="0"/>
                    </a:moveTo>
                    <a:lnTo>
                      <a:pt x="248958" y="0"/>
                    </a:lnTo>
                    <a:lnTo>
                      <a:pt x="417770" y="0"/>
                    </a:lnTo>
                    <a:cubicBezTo>
                      <a:pt x="452813" y="0"/>
                      <a:pt x="477871" y="25396"/>
                      <a:pt x="477871" y="60386"/>
                    </a:cubicBezTo>
                    <a:lnTo>
                      <a:pt x="477871" y="157456"/>
                    </a:lnTo>
                    <a:lnTo>
                      <a:pt x="477871" y="217560"/>
                    </a:lnTo>
                    <a:cubicBezTo>
                      <a:pt x="477871" y="242016"/>
                      <a:pt x="466755" y="260169"/>
                      <a:pt x="444712" y="271457"/>
                    </a:cubicBezTo>
                    <a:cubicBezTo>
                      <a:pt x="436045" y="275877"/>
                      <a:pt x="426625" y="277288"/>
                      <a:pt x="417016" y="277288"/>
                    </a:cubicBezTo>
                    <a:lnTo>
                      <a:pt x="320552" y="277288"/>
                    </a:lnTo>
                    <a:lnTo>
                      <a:pt x="320552" y="340685"/>
                    </a:lnTo>
                    <a:lnTo>
                      <a:pt x="518095" y="340685"/>
                    </a:lnTo>
                    <a:cubicBezTo>
                      <a:pt x="527233" y="340685"/>
                      <a:pt x="534675" y="348021"/>
                      <a:pt x="534675" y="357145"/>
                    </a:cubicBezTo>
                    <a:lnTo>
                      <a:pt x="534675" y="402294"/>
                    </a:lnTo>
                    <a:lnTo>
                      <a:pt x="501610" y="402294"/>
                    </a:lnTo>
                    <a:lnTo>
                      <a:pt x="501610" y="373606"/>
                    </a:lnTo>
                    <a:lnTo>
                      <a:pt x="320647" y="373606"/>
                    </a:lnTo>
                    <a:lnTo>
                      <a:pt x="320647" y="402294"/>
                    </a:lnTo>
                    <a:lnTo>
                      <a:pt x="287582" y="402294"/>
                    </a:lnTo>
                    <a:lnTo>
                      <a:pt x="287582" y="373606"/>
                    </a:lnTo>
                    <a:lnTo>
                      <a:pt x="106618" y="373606"/>
                    </a:lnTo>
                    <a:lnTo>
                      <a:pt x="106524" y="373606"/>
                    </a:lnTo>
                    <a:lnTo>
                      <a:pt x="106524" y="402294"/>
                    </a:lnTo>
                    <a:lnTo>
                      <a:pt x="73459" y="402294"/>
                    </a:lnTo>
                    <a:lnTo>
                      <a:pt x="73459" y="357145"/>
                    </a:lnTo>
                    <a:cubicBezTo>
                      <a:pt x="73459" y="348115"/>
                      <a:pt x="80901" y="340685"/>
                      <a:pt x="90039" y="340685"/>
                    </a:cubicBezTo>
                    <a:lnTo>
                      <a:pt x="287393" y="340685"/>
                    </a:lnTo>
                    <a:lnTo>
                      <a:pt x="287393" y="277288"/>
                    </a:lnTo>
                    <a:lnTo>
                      <a:pt x="248770" y="277288"/>
                    </a:lnTo>
                    <a:cubicBezTo>
                      <a:pt x="228328" y="277382"/>
                      <a:pt x="207980" y="277382"/>
                      <a:pt x="187633" y="277288"/>
                    </a:cubicBezTo>
                    <a:cubicBezTo>
                      <a:pt x="161727" y="277100"/>
                      <a:pt x="139778" y="260734"/>
                      <a:pt x="132524" y="236090"/>
                    </a:cubicBezTo>
                    <a:cubicBezTo>
                      <a:pt x="130828" y="230352"/>
                      <a:pt x="129981" y="224239"/>
                      <a:pt x="129981" y="218219"/>
                    </a:cubicBezTo>
                    <a:lnTo>
                      <a:pt x="129981" y="157456"/>
                    </a:lnTo>
                    <a:lnTo>
                      <a:pt x="129981" y="58881"/>
                    </a:lnTo>
                    <a:cubicBezTo>
                      <a:pt x="130075" y="25208"/>
                      <a:pt x="155698" y="0"/>
                      <a:pt x="1896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none" lIns="0" tIns="0" rIns="0" bIns="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3200"/>
                </a:pPr>
                <a:endParaRPr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0941049" y="3343275"/>
              <a:ext cx="577851" cy="577851"/>
              <a:chOff x="800716" y="1726731"/>
              <a:chExt cx="577851" cy="577851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800716" y="1726731"/>
                <a:ext cx="577851" cy="577851"/>
              </a:xfrm>
              <a:prstGeom prst="ellipse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none" lIns="0" tIns="0" rIns="0" bIns="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3200"/>
                </a:pPr>
                <a:endParaRPr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" name="任意多边形: 形状 14"/>
              <p:cNvSpPr/>
              <p:nvPr/>
            </p:nvSpPr>
            <p:spPr>
              <a:xfrm>
                <a:off x="944844" y="1884632"/>
                <a:ext cx="289596" cy="262048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  <a:gd name="connsiteX59" fmla="*/ 373273 h 605239"/>
                  <a:gd name="connsiteY59" fmla="*/ 373273 h 605239"/>
                  <a:gd name="connsiteX60" fmla="*/ 373273 h 605239"/>
                  <a:gd name="connsiteY60" fmla="*/ 373273 h 605239"/>
                  <a:gd name="connsiteX61" fmla="*/ 373273 h 605239"/>
                  <a:gd name="connsiteY61" fmla="*/ 373273 h 605239"/>
                  <a:gd name="connsiteX62" fmla="*/ 373273 h 605239"/>
                  <a:gd name="connsiteY62" fmla="*/ 373273 h 605239"/>
                  <a:gd name="connsiteX63" fmla="*/ 373273 h 605239"/>
                  <a:gd name="connsiteY63" fmla="*/ 373273 h 605239"/>
                  <a:gd name="connsiteX64" fmla="*/ 373273 h 605239"/>
                  <a:gd name="connsiteY64" fmla="*/ 373273 h 605239"/>
                  <a:gd name="connsiteX65" fmla="*/ 373273 h 605239"/>
                  <a:gd name="connsiteY65" fmla="*/ 373273 h 605239"/>
                  <a:gd name="connsiteX66" fmla="*/ 373273 h 605239"/>
                  <a:gd name="connsiteY66" fmla="*/ 373273 h 605239"/>
                  <a:gd name="connsiteX67" fmla="*/ 373273 h 605239"/>
                  <a:gd name="connsiteY67" fmla="*/ 373273 h 605239"/>
                  <a:gd name="connsiteX68" fmla="*/ 373273 h 605239"/>
                  <a:gd name="connsiteY68" fmla="*/ 373273 h 605239"/>
                  <a:gd name="connsiteX69" fmla="*/ 373273 h 605239"/>
                  <a:gd name="connsiteY69" fmla="*/ 373273 h 605239"/>
                  <a:gd name="connsiteX70" fmla="*/ 373273 h 605239"/>
                  <a:gd name="connsiteY70" fmla="*/ 373273 h 605239"/>
                  <a:gd name="connsiteX71" fmla="*/ 373273 h 605239"/>
                  <a:gd name="connsiteY71" fmla="*/ 373273 h 605239"/>
                  <a:gd name="connsiteX72" fmla="*/ 373273 h 605239"/>
                  <a:gd name="connsiteY72" fmla="*/ 373273 h 605239"/>
                  <a:gd name="connsiteX73" fmla="*/ 373273 h 605239"/>
                  <a:gd name="connsiteY73" fmla="*/ 373273 h 605239"/>
                  <a:gd name="connsiteX74" fmla="*/ 373273 h 605239"/>
                  <a:gd name="connsiteY74" fmla="*/ 373273 h 605239"/>
                  <a:gd name="connsiteX75" fmla="*/ 373273 h 605239"/>
                  <a:gd name="connsiteY75" fmla="*/ 373273 h 605239"/>
                  <a:gd name="connsiteX76" fmla="*/ 373273 h 605239"/>
                  <a:gd name="connsiteY76" fmla="*/ 373273 h 605239"/>
                  <a:gd name="connsiteX77" fmla="*/ 373273 h 605239"/>
                  <a:gd name="connsiteY77" fmla="*/ 373273 h 605239"/>
                  <a:gd name="connsiteX78" fmla="*/ 373273 h 605239"/>
                  <a:gd name="connsiteY78" fmla="*/ 373273 h 605239"/>
                  <a:gd name="connsiteX79" fmla="*/ 373273 h 605239"/>
                  <a:gd name="connsiteY79" fmla="*/ 373273 h 605239"/>
                  <a:gd name="connsiteX80" fmla="*/ 373273 h 605239"/>
                  <a:gd name="connsiteY80" fmla="*/ 373273 h 605239"/>
                  <a:gd name="connsiteX81" fmla="*/ 373273 h 605239"/>
                  <a:gd name="connsiteY81" fmla="*/ 373273 h 605239"/>
                  <a:gd name="connsiteX82" fmla="*/ 373273 h 605239"/>
                  <a:gd name="connsiteY82" fmla="*/ 373273 h 605239"/>
                  <a:gd name="connsiteX83" fmla="*/ 373273 h 605239"/>
                  <a:gd name="connsiteY83" fmla="*/ 373273 h 605239"/>
                  <a:gd name="connsiteX84" fmla="*/ 373273 h 605239"/>
                  <a:gd name="connsiteY84" fmla="*/ 373273 h 605239"/>
                  <a:gd name="connsiteX85" fmla="*/ 373273 h 605239"/>
                  <a:gd name="connsiteY85" fmla="*/ 373273 h 605239"/>
                  <a:gd name="connsiteX86" fmla="*/ 373273 h 605239"/>
                  <a:gd name="connsiteY86" fmla="*/ 373273 h 605239"/>
                  <a:gd name="connsiteX87" fmla="*/ 373273 h 605239"/>
                  <a:gd name="connsiteY87" fmla="*/ 373273 h 605239"/>
                  <a:gd name="connsiteX88" fmla="*/ 373273 h 605239"/>
                  <a:gd name="connsiteY88" fmla="*/ 373273 h 605239"/>
                  <a:gd name="connsiteX89" fmla="*/ 373273 h 605239"/>
                  <a:gd name="connsiteY89" fmla="*/ 373273 h 605239"/>
                  <a:gd name="connsiteX90" fmla="*/ 373273 h 605239"/>
                  <a:gd name="connsiteY90" fmla="*/ 373273 h 605239"/>
                  <a:gd name="connsiteX91" fmla="*/ 373273 h 605239"/>
                  <a:gd name="connsiteY91" fmla="*/ 373273 h 605239"/>
                  <a:gd name="connsiteX92" fmla="*/ 373273 h 605239"/>
                  <a:gd name="connsiteY92" fmla="*/ 373273 h 605239"/>
                  <a:gd name="connsiteX93" fmla="*/ 373273 h 605239"/>
                  <a:gd name="connsiteY93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608039" h="550199">
                    <a:moveTo>
                      <a:pt x="461128" y="431155"/>
                    </a:moveTo>
                    <a:lnTo>
                      <a:pt x="501529" y="431155"/>
                    </a:lnTo>
                    <a:lnTo>
                      <a:pt x="534583" y="431155"/>
                    </a:lnTo>
                    <a:lnTo>
                      <a:pt x="574984" y="431155"/>
                    </a:lnTo>
                    <a:cubicBezTo>
                      <a:pt x="593159" y="431155"/>
                      <a:pt x="608133" y="446024"/>
                      <a:pt x="608039" y="464280"/>
                    </a:cubicBezTo>
                    <a:lnTo>
                      <a:pt x="608039" y="517074"/>
                    </a:lnTo>
                    <a:cubicBezTo>
                      <a:pt x="608039" y="535236"/>
                      <a:pt x="593065" y="550199"/>
                      <a:pt x="574890" y="550199"/>
                    </a:cubicBezTo>
                    <a:lnTo>
                      <a:pt x="461128" y="550199"/>
                    </a:lnTo>
                    <a:cubicBezTo>
                      <a:pt x="442858" y="550199"/>
                      <a:pt x="427979" y="535236"/>
                      <a:pt x="427979" y="517074"/>
                    </a:cubicBezTo>
                    <a:lnTo>
                      <a:pt x="427979" y="464280"/>
                    </a:lnTo>
                    <a:cubicBezTo>
                      <a:pt x="427979" y="446024"/>
                      <a:pt x="442858" y="431155"/>
                      <a:pt x="461128" y="431155"/>
                    </a:cubicBezTo>
                    <a:close/>
                    <a:moveTo>
                      <a:pt x="247103" y="431155"/>
                    </a:moveTo>
                    <a:lnTo>
                      <a:pt x="287504" y="431155"/>
                    </a:lnTo>
                    <a:lnTo>
                      <a:pt x="320558" y="431155"/>
                    </a:lnTo>
                    <a:lnTo>
                      <a:pt x="360959" y="431155"/>
                    </a:lnTo>
                    <a:cubicBezTo>
                      <a:pt x="379134" y="431155"/>
                      <a:pt x="394108" y="446024"/>
                      <a:pt x="394014" y="464280"/>
                    </a:cubicBezTo>
                    <a:lnTo>
                      <a:pt x="394014" y="517074"/>
                    </a:lnTo>
                    <a:cubicBezTo>
                      <a:pt x="394014" y="535236"/>
                      <a:pt x="379040" y="550199"/>
                      <a:pt x="360865" y="550199"/>
                    </a:cubicBezTo>
                    <a:lnTo>
                      <a:pt x="247103" y="550199"/>
                    </a:lnTo>
                    <a:cubicBezTo>
                      <a:pt x="228833" y="550199"/>
                      <a:pt x="213954" y="535236"/>
                      <a:pt x="213954" y="517074"/>
                    </a:cubicBezTo>
                    <a:lnTo>
                      <a:pt x="213954" y="464280"/>
                    </a:lnTo>
                    <a:cubicBezTo>
                      <a:pt x="213954" y="446024"/>
                      <a:pt x="228833" y="431155"/>
                      <a:pt x="247103" y="431155"/>
                    </a:cubicBezTo>
                    <a:close/>
                    <a:moveTo>
                      <a:pt x="33162" y="431155"/>
                    </a:moveTo>
                    <a:lnTo>
                      <a:pt x="73578" y="431155"/>
                    </a:lnTo>
                    <a:lnTo>
                      <a:pt x="106646" y="431155"/>
                    </a:lnTo>
                    <a:lnTo>
                      <a:pt x="146968" y="431155"/>
                    </a:lnTo>
                    <a:cubicBezTo>
                      <a:pt x="165339" y="431155"/>
                      <a:pt x="180224" y="446024"/>
                      <a:pt x="180130" y="464280"/>
                    </a:cubicBezTo>
                    <a:lnTo>
                      <a:pt x="180130" y="517074"/>
                    </a:lnTo>
                    <a:cubicBezTo>
                      <a:pt x="180130" y="535236"/>
                      <a:pt x="165150" y="550199"/>
                      <a:pt x="146968" y="550199"/>
                    </a:cubicBezTo>
                    <a:lnTo>
                      <a:pt x="33162" y="550199"/>
                    </a:lnTo>
                    <a:cubicBezTo>
                      <a:pt x="14979" y="550199"/>
                      <a:pt x="0" y="535236"/>
                      <a:pt x="0" y="517074"/>
                    </a:cubicBezTo>
                    <a:lnTo>
                      <a:pt x="0" y="464280"/>
                    </a:lnTo>
                    <a:cubicBezTo>
                      <a:pt x="0" y="446024"/>
                      <a:pt x="14979" y="431155"/>
                      <a:pt x="33162" y="431155"/>
                    </a:cubicBezTo>
                    <a:close/>
                    <a:moveTo>
                      <a:pt x="163140" y="99327"/>
                    </a:moveTo>
                    <a:cubicBezTo>
                      <a:pt x="163046" y="101208"/>
                      <a:pt x="162857" y="102713"/>
                      <a:pt x="162857" y="104218"/>
                    </a:cubicBezTo>
                    <a:lnTo>
                      <a:pt x="162857" y="157362"/>
                    </a:lnTo>
                    <a:lnTo>
                      <a:pt x="162857" y="217184"/>
                    </a:lnTo>
                    <a:cubicBezTo>
                      <a:pt x="162857" y="234021"/>
                      <a:pt x="173220" y="244273"/>
                      <a:pt x="190176" y="244273"/>
                    </a:cubicBezTo>
                    <a:lnTo>
                      <a:pt x="249053" y="244273"/>
                    </a:lnTo>
                    <a:cubicBezTo>
                      <a:pt x="305480" y="244273"/>
                      <a:pt x="361813" y="244273"/>
                      <a:pt x="418146" y="244367"/>
                    </a:cubicBezTo>
                    <a:cubicBezTo>
                      <a:pt x="434443" y="244367"/>
                      <a:pt x="444994" y="233833"/>
                      <a:pt x="444994" y="217466"/>
                    </a:cubicBezTo>
                    <a:lnTo>
                      <a:pt x="444994" y="140525"/>
                    </a:lnTo>
                    <a:lnTo>
                      <a:pt x="444994" y="104971"/>
                    </a:lnTo>
                    <a:lnTo>
                      <a:pt x="444994" y="99327"/>
                    </a:lnTo>
                    <a:lnTo>
                      <a:pt x="248958" y="99327"/>
                    </a:lnTo>
                    <a:close/>
                    <a:moveTo>
                      <a:pt x="415226" y="33955"/>
                    </a:moveTo>
                    <a:cubicBezTo>
                      <a:pt x="406465" y="33955"/>
                      <a:pt x="399306" y="41104"/>
                      <a:pt x="399306" y="49852"/>
                    </a:cubicBezTo>
                    <a:cubicBezTo>
                      <a:pt x="399306" y="58693"/>
                      <a:pt x="406465" y="65842"/>
                      <a:pt x="415226" y="65842"/>
                    </a:cubicBezTo>
                    <a:cubicBezTo>
                      <a:pt x="423987" y="65842"/>
                      <a:pt x="431146" y="58693"/>
                      <a:pt x="431146" y="49852"/>
                    </a:cubicBezTo>
                    <a:cubicBezTo>
                      <a:pt x="431146" y="41104"/>
                      <a:pt x="423987" y="33955"/>
                      <a:pt x="415226" y="33955"/>
                    </a:cubicBezTo>
                    <a:close/>
                    <a:moveTo>
                      <a:pt x="360306" y="33955"/>
                    </a:moveTo>
                    <a:cubicBezTo>
                      <a:pt x="351545" y="33955"/>
                      <a:pt x="344386" y="41104"/>
                      <a:pt x="344386" y="49852"/>
                    </a:cubicBezTo>
                    <a:cubicBezTo>
                      <a:pt x="344386" y="58693"/>
                      <a:pt x="351545" y="65842"/>
                      <a:pt x="360306" y="65842"/>
                    </a:cubicBezTo>
                    <a:cubicBezTo>
                      <a:pt x="369161" y="65842"/>
                      <a:pt x="376320" y="58693"/>
                      <a:pt x="376320" y="49852"/>
                    </a:cubicBezTo>
                    <a:cubicBezTo>
                      <a:pt x="376320" y="41104"/>
                      <a:pt x="369161" y="33955"/>
                      <a:pt x="360306" y="33955"/>
                    </a:cubicBezTo>
                    <a:close/>
                    <a:moveTo>
                      <a:pt x="305480" y="33955"/>
                    </a:moveTo>
                    <a:cubicBezTo>
                      <a:pt x="296625" y="33955"/>
                      <a:pt x="289466" y="41104"/>
                      <a:pt x="289466" y="49852"/>
                    </a:cubicBezTo>
                    <a:cubicBezTo>
                      <a:pt x="289466" y="58693"/>
                      <a:pt x="296625" y="65842"/>
                      <a:pt x="305480" y="65842"/>
                    </a:cubicBezTo>
                    <a:cubicBezTo>
                      <a:pt x="314241" y="65842"/>
                      <a:pt x="321400" y="58693"/>
                      <a:pt x="321400" y="49852"/>
                    </a:cubicBezTo>
                    <a:cubicBezTo>
                      <a:pt x="321400" y="41104"/>
                      <a:pt x="314241" y="33955"/>
                      <a:pt x="305480" y="33955"/>
                    </a:cubicBezTo>
                    <a:close/>
                    <a:moveTo>
                      <a:pt x="189611" y="0"/>
                    </a:moveTo>
                    <a:lnTo>
                      <a:pt x="248958" y="0"/>
                    </a:lnTo>
                    <a:lnTo>
                      <a:pt x="417770" y="0"/>
                    </a:lnTo>
                    <a:cubicBezTo>
                      <a:pt x="452813" y="0"/>
                      <a:pt x="477871" y="25396"/>
                      <a:pt x="477871" y="60386"/>
                    </a:cubicBezTo>
                    <a:lnTo>
                      <a:pt x="477871" y="157456"/>
                    </a:lnTo>
                    <a:lnTo>
                      <a:pt x="477871" y="217560"/>
                    </a:lnTo>
                    <a:cubicBezTo>
                      <a:pt x="477871" y="242016"/>
                      <a:pt x="466755" y="260169"/>
                      <a:pt x="444712" y="271457"/>
                    </a:cubicBezTo>
                    <a:cubicBezTo>
                      <a:pt x="436045" y="275877"/>
                      <a:pt x="426625" y="277288"/>
                      <a:pt x="417016" y="277288"/>
                    </a:cubicBezTo>
                    <a:lnTo>
                      <a:pt x="320552" y="277288"/>
                    </a:lnTo>
                    <a:lnTo>
                      <a:pt x="320552" y="340685"/>
                    </a:lnTo>
                    <a:lnTo>
                      <a:pt x="518095" y="340685"/>
                    </a:lnTo>
                    <a:cubicBezTo>
                      <a:pt x="527233" y="340685"/>
                      <a:pt x="534675" y="348021"/>
                      <a:pt x="534675" y="357145"/>
                    </a:cubicBezTo>
                    <a:lnTo>
                      <a:pt x="534675" y="402294"/>
                    </a:lnTo>
                    <a:lnTo>
                      <a:pt x="501610" y="402294"/>
                    </a:lnTo>
                    <a:lnTo>
                      <a:pt x="501610" y="373606"/>
                    </a:lnTo>
                    <a:lnTo>
                      <a:pt x="320647" y="373606"/>
                    </a:lnTo>
                    <a:lnTo>
                      <a:pt x="320647" y="402294"/>
                    </a:lnTo>
                    <a:lnTo>
                      <a:pt x="287582" y="402294"/>
                    </a:lnTo>
                    <a:lnTo>
                      <a:pt x="287582" y="373606"/>
                    </a:lnTo>
                    <a:lnTo>
                      <a:pt x="106618" y="373606"/>
                    </a:lnTo>
                    <a:lnTo>
                      <a:pt x="106524" y="373606"/>
                    </a:lnTo>
                    <a:lnTo>
                      <a:pt x="106524" y="402294"/>
                    </a:lnTo>
                    <a:lnTo>
                      <a:pt x="73459" y="402294"/>
                    </a:lnTo>
                    <a:lnTo>
                      <a:pt x="73459" y="357145"/>
                    </a:lnTo>
                    <a:cubicBezTo>
                      <a:pt x="73459" y="348115"/>
                      <a:pt x="80901" y="340685"/>
                      <a:pt x="90039" y="340685"/>
                    </a:cubicBezTo>
                    <a:lnTo>
                      <a:pt x="287393" y="340685"/>
                    </a:lnTo>
                    <a:lnTo>
                      <a:pt x="287393" y="277288"/>
                    </a:lnTo>
                    <a:lnTo>
                      <a:pt x="248770" y="277288"/>
                    </a:lnTo>
                    <a:cubicBezTo>
                      <a:pt x="228328" y="277382"/>
                      <a:pt x="207980" y="277382"/>
                      <a:pt x="187633" y="277288"/>
                    </a:cubicBezTo>
                    <a:cubicBezTo>
                      <a:pt x="161727" y="277100"/>
                      <a:pt x="139778" y="260734"/>
                      <a:pt x="132524" y="236090"/>
                    </a:cubicBezTo>
                    <a:cubicBezTo>
                      <a:pt x="130828" y="230352"/>
                      <a:pt x="129981" y="224239"/>
                      <a:pt x="129981" y="218219"/>
                    </a:cubicBezTo>
                    <a:lnTo>
                      <a:pt x="129981" y="157456"/>
                    </a:lnTo>
                    <a:lnTo>
                      <a:pt x="129981" y="58881"/>
                    </a:lnTo>
                    <a:cubicBezTo>
                      <a:pt x="130075" y="25208"/>
                      <a:pt x="155698" y="0"/>
                      <a:pt x="1896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none" lIns="0" tIns="0" rIns="0" bIns="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3200"/>
                </a:pPr>
                <a:endParaRPr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总结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464817"/>
            <a:ext cx="10858500" cy="4215266"/>
            <a:chOff x="660400" y="1464817"/>
            <a:chExt cx="10858501" cy="4215266"/>
          </a:xfrm>
        </p:grpSpPr>
        <p:grpSp>
          <p:nvGrpSpPr>
            <p:cNvPr id="6" name="组合 5"/>
            <p:cNvGrpSpPr/>
            <p:nvPr/>
          </p:nvGrpSpPr>
          <p:grpSpPr>
            <a:xfrm>
              <a:off x="6156545" y="1709483"/>
              <a:ext cx="5362356" cy="3845434"/>
              <a:chOff x="660400" y="1961967"/>
              <a:chExt cx="4927108" cy="3533311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1210817" y="2467994"/>
                <a:ext cx="4376691" cy="302728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7" name="矩形 16"/>
              <p:cNvSpPr/>
              <p:nvPr/>
            </p:nvSpPr>
            <p:spPr>
              <a:xfrm>
                <a:off x="900098" y="2148398"/>
                <a:ext cx="4376691" cy="3027284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矩形 17"/>
              <p:cNvSpPr/>
              <p:nvPr/>
            </p:nvSpPr>
            <p:spPr>
              <a:xfrm>
                <a:off x="660400" y="1961967"/>
                <a:ext cx="4376691" cy="3027284"/>
              </a:xfrm>
              <a:prstGeom prst="rect">
                <a:avLst/>
              </a:prstGeom>
              <a:blipFill>
                <a:blip r:embed="rId1"/>
                <a:stretch>
                  <a:fillRect l="-1881" r="-1871"/>
                </a:stretch>
              </a:blipFill>
              <a:ln w="1905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7" name="任意多边形: 形状 6"/>
            <p:cNvSpPr/>
            <p:nvPr/>
          </p:nvSpPr>
          <p:spPr>
            <a:xfrm>
              <a:off x="660400" y="1464817"/>
              <a:ext cx="635154" cy="514904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1490852" y="2065081"/>
              <a:ext cx="4173103" cy="2989309"/>
              <a:chOff x="1490852" y="2217780"/>
              <a:chExt cx="4173103" cy="2989309"/>
            </a:xfrm>
          </p:grpSpPr>
          <p:grpSp>
            <p:nvGrpSpPr>
              <p:cNvPr id="10" name="组合 9"/>
              <p:cNvGrpSpPr/>
              <p:nvPr/>
            </p:nvGrpSpPr>
            <p:grpSpPr>
              <a:xfrm>
                <a:off x="1490852" y="3570770"/>
                <a:ext cx="4173103" cy="1636319"/>
                <a:chOff x="1490852" y="1464817"/>
                <a:chExt cx="4173103" cy="1636319"/>
              </a:xfrm>
            </p:grpSpPr>
            <p:sp>
              <p:nvSpPr>
                <p:cNvPr id="14" name="矩形 13"/>
                <p:cNvSpPr/>
                <p:nvPr/>
              </p:nvSpPr>
              <p:spPr bwMode="auto">
                <a:xfrm>
                  <a:off x="1490854" y="1882441"/>
                  <a:ext cx="4173101" cy="121869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Theme color makes PPT more convenient to change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Adjust the spacing to adapt to Chinese typesetting, use the reference line in PP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5" name="文本框 14"/>
                <p:cNvSpPr txBox="1"/>
                <p:nvPr/>
              </p:nvSpPr>
              <p:spPr>
                <a:xfrm>
                  <a:off x="1490852" y="1464817"/>
                  <a:ext cx="4173101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en-US" altLang="zh-CN" sz="1600" b="1" dirty="0">
                      <a:cs typeface="+mn-ea"/>
                      <a:sym typeface="+mn-lt"/>
                    </a:rPr>
                    <a:t>02. …</a:t>
                  </a:r>
                  <a:r>
                    <a:rPr lang="zh-CN" altLang="en-US" sz="1600" b="1" dirty="0">
                      <a:cs typeface="+mn-ea"/>
                      <a:sym typeface="+mn-lt"/>
                    </a:rPr>
                    <a:t>方面</a:t>
                  </a:r>
                  <a:endParaRPr lang="id-ID" sz="1600" b="1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1" name="组合 10"/>
              <p:cNvGrpSpPr/>
              <p:nvPr/>
            </p:nvGrpSpPr>
            <p:grpSpPr>
              <a:xfrm>
                <a:off x="1490852" y="2217780"/>
                <a:ext cx="4173103" cy="1044736"/>
                <a:chOff x="1921829" y="1695412"/>
                <a:chExt cx="3742124" cy="1044736"/>
              </a:xfrm>
            </p:grpSpPr>
            <p:sp>
              <p:nvSpPr>
                <p:cNvPr id="12" name="矩形 11"/>
                <p:cNvSpPr/>
                <p:nvPr/>
              </p:nvSpPr>
              <p:spPr>
                <a:xfrm>
                  <a:off x="1921829" y="1695412"/>
                  <a:ext cx="3742124" cy="417624"/>
                </a:xfrm>
                <a:prstGeom prst="rect">
                  <a:avLst/>
                </a:prstGeom>
                <a:noFill/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01. …</a:t>
                  </a:r>
                  <a:r>
                    <a:rPr lang="zh-CN" altLang="en-US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方面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3" name="矩形 12"/>
                <p:cNvSpPr/>
                <p:nvPr/>
              </p:nvSpPr>
              <p:spPr bwMode="auto">
                <a:xfrm>
                  <a:off x="1921829" y="2113035"/>
                  <a:ext cx="3742124" cy="6271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9" name="矩形: 圆角 8"/>
            <p:cNvSpPr/>
            <p:nvPr/>
          </p:nvSpPr>
          <p:spPr>
            <a:xfrm>
              <a:off x="1490852" y="5207089"/>
              <a:ext cx="1029809" cy="472994"/>
            </a:xfrm>
            <a:prstGeom prst="roundRect">
              <a:avLst>
                <a:gd name="adj" fmla="val 7941"/>
              </a:avLst>
            </a:prstGeom>
            <a:noFill/>
            <a:ln w="12700" cap="rnd">
              <a:solidFill>
                <a:schemeClr val="accent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r>
                <a:rPr lang="en-US" altLang="zh-CN" sz="1200" dirty="0">
                  <a:solidFill>
                    <a:schemeClr val="tx1"/>
                  </a:solidFill>
                  <a:cs typeface="+mn-ea"/>
                  <a:sym typeface="+mn-lt"/>
                </a:rPr>
                <a:t>…text</a:t>
              </a:r>
              <a:endParaRPr lang="zh-CN" altLang="en-US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展望未来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sp>
          <p:nvSpPr>
            <p:cNvPr id="6" name="矩形 5"/>
            <p:cNvSpPr/>
            <p:nvPr/>
          </p:nvSpPr>
          <p:spPr>
            <a:xfrm>
              <a:off x="660400" y="1130300"/>
              <a:ext cx="3543300" cy="5003800"/>
            </a:xfrm>
            <a:prstGeom prst="rect">
              <a:avLst/>
            </a:prstGeom>
            <a:blipFill>
              <a:blip r:embed="rId1"/>
              <a:stretch>
                <a:fillRect l="-6510" r="-6464"/>
              </a:stretch>
            </a:blipFill>
            <a:ln w="762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" name="图文框 6"/>
            <p:cNvSpPr/>
            <p:nvPr/>
          </p:nvSpPr>
          <p:spPr>
            <a:xfrm>
              <a:off x="2432050" y="2625631"/>
              <a:ext cx="9086850" cy="2485624"/>
            </a:xfrm>
            <a:prstGeom prst="frame">
              <a:avLst>
                <a:gd name="adj1" fmla="val 1388"/>
              </a:avLst>
            </a:prstGeom>
            <a:solidFill>
              <a:schemeClr val="bg1">
                <a:lumMod val="95000"/>
              </a:schemeClr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4203700" y="2153145"/>
              <a:ext cx="5375370" cy="2670176"/>
              <a:chOff x="4327923" y="2153145"/>
              <a:chExt cx="5375370" cy="2670176"/>
            </a:xfrm>
          </p:grpSpPr>
          <p:sp>
            <p:nvSpPr>
              <p:cNvPr id="9" name="矩形 8"/>
              <p:cNvSpPr/>
              <p:nvPr/>
            </p:nvSpPr>
            <p:spPr>
              <a:xfrm>
                <a:off x="4327923" y="2153145"/>
                <a:ext cx="5375370" cy="472486"/>
              </a:xfrm>
              <a:prstGeom prst="rect">
                <a:avLst/>
              </a:prstGeom>
              <a:solidFill>
                <a:schemeClr val="accent1"/>
              </a:solidFill>
              <a:ln w="254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altLang="zh-CN" b="1" dirty="0">
                    <a:solidFill>
                      <a:schemeClr val="bg1"/>
                    </a:solidFill>
                    <a:cs typeface="+mn-ea"/>
                    <a:sym typeface="+mn-lt"/>
                  </a:rPr>
                  <a:t>XX</a:t>
                </a:r>
                <a:r>
                  <a:rPr lang="zh-CN" altLang="en-US" b="1" dirty="0">
                    <a:solidFill>
                      <a:schemeClr val="bg1"/>
                    </a:solidFill>
                    <a:cs typeface="+mn-ea"/>
                    <a:sym typeface="+mn-lt"/>
                  </a:rPr>
                  <a:t>未来发展</a:t>
                </a:r>
                <a:r>
                  <a:rPr lang="en-US" altLang="zh-CN" b="1" dirty="0">
                    <a:solidFill>
                      <a:schemeClr val="bg1"/>
                    </a:solidFill>
                    <a:cs typeface="+mn-ea"/>
                    <a:sym typeface="+mn-lt"/>
                  </a:rPr>
                  <a:t>…</a:t>
                </a:r>
                <a:endParaRPr lang="en-US" altLang="zh-CN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0" name="矩形 9"/>
              <p:cNvSpPr/>
              <p:nvPr/>
            </p:nvSpPr>
            <p:spPr bwMode="auto">
              <a:xfrm>
                <a:off x="4327923" y="2625631"/>
                <a:ext cx="5375370" cy="21976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7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Unified fonts make reading more </a:t>
                </a:r>
                <a:r>
                  <a:rPr lang="en-US" altLang="zh-CN" sz="1100" dirty="0" err="1">
                    <a:cs typeface="+mn-ea"/>
                    <a:sym typeface="+mn-lt"/>
                  </a:rPr>
                  <a:t>fluent.Theme</a:t>
                </a:r>
                <a:r>
                  <a:rPr lang="en-US" altLang="zh-CN" sz="1100" dirty="0">
                    <a:cs typeface="+mn-ea"/>
                    <a:sym typeface="+mn-lt"/>
                  </a:rPr>
                  <a:t> color makes PPT more convenient to </a:t>
                </a:r>
                <a:r>
                  <a:rPr lang="en-US" altLang="zh-CN" sz="1100" dirty="0" err="1">
                    <a:cs typeface="+mn-ea"/>
                    <a:sym typeface="+mn-lt"/>
                  </a:rPr>
                  <a:t>change.Adjust</a:t>
                </a:r>
                <a:r>
                  <a:rPr lang="en-US" altLang="zh-CN" sz="1100" dirty="0">
                    <a:cs typeface="+mn-ea"/>
                    <a:sym typeface="+mn-lt"/>
                  </a:rPr>
                  <a:t> the spacing to adapt to Chinese typesetting, use the reference line in PP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628650" lvl="1" indent="-171450">
                  <a:lnSpc>
                    <a:spcPct val="170000"/>
                  </a:lnSpc>
                  <a:buFont typeface="Arial" panose="020B0604020202020204" pitchFamily="34" charset="0"/>
                  <a:buChar char="−"/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628650" lvl="1" indent="-171450">
                  <a:lnSpc>
                    <a:spcPct val="170000"/>
                  </a:lnSpc>
                  <a:buFont typeface="Arial" panose="020B0604020202020204" pitchFamily="34" charset="0"/>
                  <a:buChar char="−"/>
                </a:pPr>
                <a:r>
                  <a:rPr lang="en-US" altLang="zh-CN" sz="1100" dirty="0">
                    <a:cs typeface="+mn-ea"/>
                    <a:sym typeface="+mn-lt"/>
                  </a:rPr>
                  <a:t>You can use the icon library in </a:t>
                </a:r>
                <a:r>
                  <a:rPr lang="en-US" altLang="zh-CN" sz="1100" dirty="0" err="1">
                    <a:cs typeface="+mn-ea"/>
                    <a:sym typeface="+mn-lt"/>
                  </a:rPr>
                  <a:t>OfficePLUS</a:t>
                </a:r>
                <a:r>
                  <a:rPr lang="en-US" altLang="zh-CN" sz="1100" dirty="0">
                    <a:cs typeface="+mn-ea"/>
                    <a:sym typeface="+mn-lt"/>
                  </a:rPr>
                  <a:t>  (OfficePLUS) to filter and replace existing icon elements with one click.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参考文献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3608" y="1130300"/>
            <a:ext cx="10844784" cy="5016500"/>
            <a:chOff x="673608" y="1130300"/>
            <a:chExt cx="10844783" cy="5016500"/>
          </a:xfrm>
        </p:grpSpPr>
        <p:grpSp>
          <p:nvGrpSpPr>
            <p:cNvPr id="6" name="组合 5"/>
            <p:cNvGrpSpPr/>
            <p:nvPr/>
          </p:nvGrpSpPr>
          <p:grpSpPr>
            <a:xfrm>
              <a:off x="673608" y="1130300"/>
              <a:ext cx="10844783" cy="2850008"/>
              <a:chOff x="673608" y="1149839"/>
              <a:chExt cx="10844783" cy="2850008"/>
            </a:xfrm>
          </p:grpSpPr>
          <p:grpSp>
            <p:nvGrpSpPr>
              <p:cNvPr id="17" name="组合 16"/>
              <p:cNvGrpSpPr/>
              <p:nvPr/>
            </p:nvGrpSpPr>
            <p:grpSpPr>
              <a:xfrm>
                <a:off x="673608" y="2387770"/>
                <a:ext cx="10844783" cy="1612077"/>
                <a:chOff x="819039" y="3149601"/>
                <a:chExt cx="10519124" cy="1563668"/>
              </a:xfrm>
            </p:grpSpPr>
            <p:sp>
              <p:nvSpPr>
                <p:cNvPr id="38" name="任意多边形: 形状 37"/>
                <p:cNvSpPr/>
                <p:nvPr/>
              </p:nvSpPr>
              <p:spPr>
                <a:xfrm>
                  <a:off x="819039" y="3149601"/>
                  <a:ext cx="2603682" cy="1187604"/>
                </a:xfrm>
                <a:custGeom>
                  <a:avLst/>
                  <a:gdLst>
                    <a:gd name="connsiteX0" fmla="*/ 914459 w 1828919"/>
                    <a:gd name="connsiteY0" fmla="*/ 0 h 781199"/>
                    <a:gd name="connsiteX1" fmla="*/ 1822662 w 1828919"/>
                    <a:gd name="connsiteY1" fmla="*/ 740205 h 781199"/>
                    <a:gd name="connsiteX2" fmla="*/ 1828919 w 1828919"/>
                    <a:gd name="connsiteY2" fmla="*/ 781199 h 781199"/>
                    <a:gd name="connsiteX3" fmla="*/ 0 w 1828919"/>
                    <a:gd name="connsiteY3" fmla="*/ 781199 h 781199"/>
                    <a:gd name="connsiteX4" fmla="*/ 6256 w 1828919"/>
                    <a:gd name="connsiteY4" fmla="*/ 740205 h 781199"/>
                    <a:gd name="connsiteX5" fmla="*/ 914459 w 1828919"/>
                    <a:gd name="connsiteY5" fmla="*/ 0 h 78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28919" h="781199">
                      <a:moveTo>
                        <a:pt x="914459" y="0"/>
                      </a:moveTo>
                      <a:cubicBezTo>
                        <a:pt x="1362449" y="0"/>
                        <a:pt x="1736219" y="317771"/>
                        <a:pt x="1822662" y="740205"/>
                      </a:cubicBezTo>
                      <a:lnTo>
                        <a:pt x="1828919" y="781199"/>
                      </a:lnTo>
                      <a:lnTo>
                        <a:pt x="0" y="781199"/>
                      </a:lnTo>
                      <a:lnTo>
                        <a:pt x="6256" y="740205"/>
                      </a:lnTo>
                      <a:cubicBezTo>
                        <a:pt x="92699" y="317771"/>
                        <a:pt x="466470" y="0"/>
                        <a:pt x="914459" y="0"/>
                      </a:cubicBez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9" name="任意多边形: 形状 38"/>
                <p:cNvSpPr/>
                <p:nvPr/>
              </p:nvSpPr>
              <p:spPr>
                <a:xfrm>
                  <a:off x="3457520" y="3149601"/>
                  <a:ext cx="2603682" cy="1187604"/>
                </a:xfrm>
                <a:custGeom>
                  <a:avLst/>
                  <a:gdLst>
                    <a:gd name="connsiteX0" fmla="*/ 914459 w 1828919"/>
                    <a:gd name="connsiteY0" fmla="*/ 0 h 781199"/>
                    <a:gd name="connsiteX1" fmla="*/ 1822662 w 1828919"/>
                    <a:gd name="connsiteY1" fmla="*/ 740205 h 781199"/>
                    <a:gd name="connsiteX2" fmla="*/ 1828919 w 1828919"/>
                    <a:gd name="connsiteY2" fmla="*/ 781199 h 781199"/>
                    <a:gd name="connsiteX3" fmla="*/ 0 w 1828919"/>
                    <a:gd name="connsiteY3" fmla="*/ 781199 h 781199"/>
                    <a:gd name="connsiteX4" fmla="*/ 6256 w 1828919"/>
                    <a:gd name="connsiteY4" fmla="*/ 740205 h 781199"/>
                    <a:gd name="connsiteX5" fmla="*/ 914459 w 1828919"/>
                    <a:gd name="connsiteY5" fmla="*/ 0 h 78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28919" h="781199">
                      <a:moveTo>
                        <a:pt x="914459" y="0"/>
                      </a:moveTo>
                      <a:cubicBezTo>
                        <a:pt x="1362449" y="0"/>
                        <a:pt x="1736219" y="317771"/>
                        <a:pt x="1822662" y="740205"/>
                      </a:cubicBezTo>
                      <a:lnTo>
                        <a:pt x="1828919" y="781199"/>
                      </a:lnTo>
                      <a:lnTo>
                        <a:pt x="0" y="781199"/>
                      </a:lnTo>
                      <a:lnTo>
                        <a:pt x="6256" y="740205"/>
                      </a:lnTo>
                      <a:cubicBezTo>
                        <a:pt x="92699" y="317771"/>
                        <a:pt x="466470" y="0"/>
                        <a:pt x="914459" y="0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/>
                <p:cNvSpPr/>
                <p:nvPr/>
              </p:nvSpPr>
              <p:spPr>
                <a:xfrm>
                  <a:off x="6096001" y="3149601"/>
                  <a:ext cx="2603682" cy="1187604"/>
                </a:xfrm>
                <a:custGeom>
                  <a:avLst/>
                  <a:gdLst>
                    <a:gd name="connsiteX0" fmla="*/ 914459 w 1828919"/>
                    <a:gd name="connsiteY0" fmla="*/ 0 h 781199"/>
                    <a:gd name="connsiteX1" fmla="*/ 1822662 w 1828919"/>
                    <a:gd name="connsiteY1" fmla="*/ 740205 h 781199"/>
                    <a:gd name="connsiteX2" fmla="*/ 1828919 w 1828919"/>
                    <a:gd name="connsiteY2" fmla="*/ 781199 h 781199"/>
                    <a:gd name="connsiteX3" fmla="*/ 0 w 1828919"/>
                    <a:gd name="connsiteY3" fmla="*/ 781199 h 781199"/>
                    <a:gd name="connsiteX4" fmla="*/ 6256 w 1828919"/>
                    <a:gd name="connsiteY4" fmla="*/ 740205 h 781199"/>
                    <a:gd name="connsiteX5" fmla="*/ 914459 w 1828919"/>
                    <a:gd name="connsiteY5" fmla="*/ 0 h 78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28919" h="781199">
                      <a:moveTo>
                        <a:pt x="914459" y="0"/>
                      </a:moveTo>
                      <a:cubicBezTo>
                        <a:pt x="1362449" y="0"/>
                        <a:pt x="1736219" y="317771"/>
                        <a:pt x="1822662" y="740205"/>
                      </a:cubicBezTo>
                      <a:lnTo>
                        <a:pt x="1828919" y="781199"/>
                      </a:lnTo>
                      <a:lnTo>
                        <a:pt x="0" y="781199"/>
                      </a:lnTo>
                      <a:lnTo>
                        <a:pt x="6256" y="740205"/>
                      </a:lnTo>
                      <a:cubicBezTo>
                        <a:pt x="92699" y="317771"/>
                        <a:pt x="466470" y="0"/>
                        <a:pt x="914459" y="0"/>
                      </a:cubicBez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任意多边形: 形状 40"/>
                <p:cNvSpPr/>
                <p:nvPr/>
              </p:nvSpPr>
              <p:spPr>
                <a:xfrm>
                  <a:off x="8734483" y="3149601"/>
                  <a:ext cx="2603680" cy="1187604"/>
                </a:xfrm>
                <a:custGeom>
                  <a:avLst/>
                  <a:gdLst>
                    <a:gd name="connsiteX0" fmla="*/ 914459 w 1828918"/>
                    <a:gd name="connsiteY0" fmla="*/ 0 h 781199"/>
                    <a:gd name="connsiteX1" fmla="*/ 1822662 w 1828918"/>
                    <a:gd name="connsiteY1" fmla="*/ 740205 h 781199"/>
                    <a:gd name="connsiteX2" fmla="*/ 1828918 w 1828918"/>
                    <a:gd name="connsiteY2" fmla="*/ 781199 h 781199"/>
                    <a:gd name="connsiteX3" fmla="*/ 0 w 1828918"/>
                    <a:gd name="connsiteY3" fmla="*/ 781199 h 781199"/>
                    <a:gd name="connsiteX4" fmla="*/ 6256 w 1828918"/>
                    <a:gd name="connsiteY4" fmla="*/ 740205 h 781199"/>
                    <a:gd name="connsiteX5" fmla="*/ 914459 w 1828918"/>
                    <a:gd name="connsiteY5" fmla="*/ 0 h 781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28918" h="781199">
                      <a:moveTo>
                        <a:pt x="914459" y="0"/>
                      </a:moveTo>
                      <a:cubicBezTo>
                        <a:pt x="1362448" y="0"/>
                        <a:pt x="1736219" y="317771"/>
                        <a:pt x="1822662" y="740205"/>
                      </a:cubicBezTo>
                      <a:lnTo>
                        <a:pt x="1828918" y="781199"/>
                      </a:lnTo>
                      <a:lnTo>
                        <a:pt x="0" y="781199"/>
                      </a:lnTo>
                      <a:lnTo>
                        <a:pt x="6256" y="740205"/>
                      </a:lnTo>
                      <a:cubicBezTo>
                        <a:pt x="92699" y="317771"/>
                        <a:pt x="466470" y="0"/>
                        <a:pt x="914459" y="0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矩形 41"/>
                <p:cNvSpPr/>
                <p:nvPr/>
              </p:nvSpPr>
              <p:spPr>
                <a:xfrm>
                  <a:off x="819039" y="4379591"/>
                  <a:ext cx="10519124" cy="6541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等腰三角形 42"/>
                <p:cNvSpPr/>
                <p:nvPr/>
              </p:nvSpPr>
              <p:spPr>
                <a:xfrm rot="10800000">
                  <a:off x="4603765" y="4445001"/>
                  <a:ext cx="311190" cy="268268"/>
                </a:xfrm>
                <a:prstGeom prst="triangl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等腰三角形 43"/>
                <p:cNvSpPr/>
                <p:nvPr/>
              </p:nvSpPr>
              <p:spPr>
                <a:xfrm rot="10800000">
                  <a:off x="9880722" y="4445001"/>
                  <a:ext cx="311190" cy="268268"/>
                </a:xfrm>
                <a:prstGeom prst="triangl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grpSp>
              <p:nvGrpSpPr>
                <p:cNvPr id="45" name="组合 44"/>
                <p:cNvGrpSpPr/>
                <p:nvPr/>
              </p:nvGrpSpPr>
              <p:grpSpPr>
                <a:xfrm>
                  <a:off x="819039" y="4379591"/>
                  <a:ext cx="2603682" cy="333678"/>
                  <a:chOff x="819039" y="4379591"/>
                  <a:chExt cx="2603682" cy="333678"/>
                </a:xfrm>
              </p:grpSpPr>
              <p:sp>
                <p:nvSpPr>
                  <p:cNvPr id="49" name="等腰三角形 48"/>
                  <p:cNvSpPr/>
                  <p:nvPr/>
                </p:nvSpPr>
                <p:spPr>
                  <a:xfrm rot="10800000">
                    <a:off x="1965285" y="4445001"/>
                    <a:ext cx="311190" cy="268268"/>
                  </a:xfrm>
                  <a:prstGeom prst="triangl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50" name="矩形 49"/>
                  <p:cNvSpPr/>
                  <p:nvPr/>
                </p:nvSpPr>
                <p:spPr>
                  <a:xfrm>
                    <a:off x="819039" y="4379591"/>
                    <a:ext cx="2603682" cy="6541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46" name="组合 45"/>
                <p:cNvGrpSpPr/>
                <p:nvPr/>
              </p:nvGrpSpPr>
              <p:grpSpPr>
                <a:xfrm>
                  <a:off x="6095997" y="4379591"/>
                  <a:ext cx="2603682" cy="333678"/>
                  <a:chOff x="819039" y="4379591"/>
                  <a:chExt cx="2603682" cy="333678"/>
                </a:xfrm>
              </p:grpSpPr>
              <p:sp>
                <p:nvSpPr>
                  <p:cNvPr id="47" name="等腰三角形 46"/>
                  <p:cNvSpPr/>
                  <p:nvPr/>
                </p:nvSpPr>
                <p:spPr>
                  <a:xfrm rot="10800000">
                    <a:off x="1965285" y="4445001"/>
                    <a:ext cx="311190" cy="268268"/>
                  </a:xfrm>
                  <a:prstGeom prst="triangl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48" name="矩形 47"/>
                  <p:cNvSpPr/>
                  <p:nvPr/>
                </p:nvSpPr>
                <p:spPr>
                  <a:xfrm>
                    <a:off x="819039" y="4379591"/>
                    <a:ext cx="2603682" cy="6541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</p:grpSp>
          </p:grpSp>
          <p:grpSp>
            <p:nvGrpSpPr>
              <p:cNvPr id="18" name="组合 17"/>
              <p:cNvGrpSpPr/>
              <p:nvPr/>
            </p:nvGrpSpPr>
            <p:grpSpPr>
              <a:xfrm>
                <a:off x="1610391" y="1149839"/>
                <a:ext cx="810722" cy="810722"/>
                <a:chOff x="2309091" y="2078181"/>
                <a:chExt cx="923636" cy="923636"/>
              </a:xfrm>
            </p:grpSpPr>
            <p:sp>
              <p:nvSpPr>
                <p:cNvPr id="36" name="泪滴形 35"/>
                <p:cNvSpPr/>
                <p:nvPr/>
              </p:nvSpPr>
              <p:spPr>
                <a:xfrm rot="8100000">
                  <a:off x="2309091" y="2078181"/>
                  <a:ext cx="923636" cy="923636"/>
                </a:xfrm>
                <a:prstGeom prst="teardrop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7" name="椭圆 36"/>
                <p:cNvSpPr/>
                <p:nvPr/>
              </p:nvSpPr>
              <p:spPr>
                <a:xfrm>
                  <a:off x="2429164" y="2198254"/>
                  <a:ext cx="683491" cy="68349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9" name="组合 18"/>
              <p:cNvGrpSpPr/>
              <p:nvPr/>
            </p:nvGrpSpPr>
            <p:grpSpPr>
              <a:xfrm>
                <a:off x="4330555" y="1149839"/>
                <a:ext cx="810722" cy="810722"/>
                <a:chOff x="2309091" y="2078181"/>
                <a:chExt cx="923636" cy="923636"/>
              </a:xfrm>
            </p:grpSpPr>
            <p:sp>
              <p:nvSpPr>
                <p:cNvPr id="34" name="泪滴形 33"/>
                <p:cNvSpPr/>
                <p:nvPr/>
              </p:nvSpPr>
              <p:spPr>
                <a:xfrm rot="8100000">
                  <a:off x="2309091" y="2078181"/>
                  <a:ext cx="923636" cy="923636"/>
                </a:xfrm>
                <a:prstGeom prst="teardrop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5" name="椭圆 34"/>
                <p:cNvSpPr/>
                <p:nvPr/>
              </p:nvSpPr>
              <p:spPr>
                <a:xfrm>
                  <a:off x="2429164" y="2198254"/>
                  <a:ext cx="683491" cy="68349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/>
              <p:cNvGrpSpPr/>
              <p:nvPr/>
            </p:nvGrpSpPr>
            <p:grpSpPr>
              <a:xfrm>
                <a:off x="7050719" y="1149839"/>
                <a:ext cx="810722" cy="810722"/>
                <a:chOff x="2309091" y="2078181"/>
                <a:chExt cx="923636" cy="923636"/>
              </a:xfrm>
            </p:grpSpPr>
            <p:sp>
              <p:nvSpPr>
                <p:cNvPr id="32" name="泪滴形 31"/>
                <p:cNvSpPr/>
                <p:nvPr/>
              </p:nvSpPr>
              <p:spPr>
                <a:xfrm rot="8100000">
                  <a:off x="2309091" y="2078181"/>
                  <a:ext cx="923636" cy="923636"/>
                </a:xfrm>
                <a:prstGeom prst="teardrop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3" name="椭圆 32"/>
                <p:cNvSpPr/>
                <p:nvPr/>
              </p:nvSpPr>
              <p:spPr>
                <a:xfrm>
                  <a:off x="2429164" y="2198254"/>
                  <a:ext cx="683491" cy="68349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1" name="组合 20"/>
              <p:cNvGrpSpPr/>
              <p:nvPr/>
            </p:nvGrpSpPr>
            <p:grpSpPr>
              <a:xfrm>
                <a:off x="9770883" y="1149839"/>
                <a:ext cx="810722" cy="810722"/>
                <a:chOff x="2309091" y="2078181"/>
                <a:chExt cx="923636" cy="923636"/>
              </a:xfrm>
            </p:grpSpPr>
            <p:sp>
              <p:nvSpPr>
                <p:cNvPr id="30" name="泪滴形 29"/>
                <p:cNvSpPr/>
                <p:nvPr/>
              </p:nvSpPr>
              <p:spPr>
                <a:xfrm rot="8100000">
                  <a:off x="2309091" y="2078181"/>
                  <a:ext cx="923636" cy="923636"/>
                </a:xfrm>
                <a:prstGeom prst="teardrop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椭圆 30"/>
                <p:cNvSpPr/>
                <p:nvPr/>
              </p:nvSpPr>
              <p:spPr>
                <a:xfrm>
                  <a:off x="2429164" y="2198254"/>
                  <a:ext cx="683491" cy="68349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22" name="任意多边形: 形状 21"/>
              <p:cNvSpPr/>
              <p:nvPr/>
            </p:nvSpPr>
            <p:spPr>
              <a:xfrm>
                <a:off x="1895231" y="1434861"/>
                <a:ext cx="241042" cy="240678"/>
              </a:xfrm>
              <a:custGeom>
                <a:avLst/>
                <a:gdLst>
                  <a:gd name="T0" fmla="*/ 5916 w 6827"/>
                  <a:gd name="T1" fmla="*/ 2503 h 6827"/>
                  <a:gd name="T2" fmla="*/ 5014 w 6827"/>
                  <a:gd name="T3" fmla="*/ 3300 h 6827"/>
                  <a:gd name="T4" fmla="*/ 1813 w 6827"/>
                  <a:gd name="T5" fmla="*/ 3300 h 6827"/>
                  <a:gd name="T6" fmla="*/ 1462 w 6827"/>
                  <a:gd name="T7" fmla="*/ 2691 h 6827"/>
                  <a:gd name="T8" fmla="*/ 2736 w 6827"/>
                  <a:gd name="T9" fmla="*/ 1516 h 6827"/>
                  <a:gd name="T10" fmla="*/ 3413 w 6827"/>
                  <a:gd name="T11" fmla="*/ 1820 h 6827"/>
                  <a:gd name="T12" fmla="*/ 4324 w 6827"/>
                  <a:gd name="T13" fmla="*/ 910 h 6827"/>
                  <a:gd name="T14" fmla="*/ 3413 w 6827"/>
                  <a:gd name="T15" fmla="*/ 0 h 6827"/>
                  <a:gd name="T16" fmla="*/ 2503 w 6827"/>
                  <a:gd name="T17" fmla="*/ 910 h 6827"/>
                  <a:gd name="T18" fmla="*/ 2605 w 6827"/>
                  <a:gd name="T19" fmla="*/ 1327 h 6827"/>
                  <a:gd name="T20" fmla="*/ 1256 w 6827"/>
                  <a:gd name="T21" fmla="*/ 2572 h 6827"/>
                  <a:gd name="T22" fmla="*/ 910 w 6827"/>
                  <a:gd name="T23" fmla="*/ 2503 h 6827"/>
                  <a:gd name="T24" fmla="*/ 0 w 6827"/>
                  <a:gd name="T25" fmla="*/ 3413 h 6827"/>
                  <a:gd name="T26" fmla="*/ 910 w 6827"/>
                  <a:gd name="T27" fmla="*/ 4324 h 6827"/>
                  <a:gd name="T28" fmla="*/ 1813 w 6827"/>
                  <a:gd name="T29" fmla="*/ 3527 h 6827"/>
                  <a:gd name="T30" fmla="*/ 5014 w 6827"/>
                  <a:gd name="T31" fmla="*/ 3527 h 6827"/>
                  <a:gd name="T32" fmla="*/ 5365 w 6827"/>
                  <a:gd name="T33" fmla="*/ 4135 h 6827"/>
                  <a:gd name="T34" fmla="*/ 4091 w 6827"/>
                  <a:gd name="T35" fmla="*/ 5311 h 6827"/>
                  <a:gd name="T36" fmla="*/ 3413 w 6827"/>
                  <a:gd name="T37" fmla="*/ 5006 h 6827"/>
                  <a:gd name="T38" fmla="*/ 2503 w 6827"/>
                  <a:gd name="T39" fmla="*/ 5916 h 6827"/>
                  <a:gd name="T40" fmla="*/ 3413 w 6827"/>
                  <a:gd name="T41" fmla="*/ 6827 h 6827"/>
                  <a:gd name="T42" fmla="*/ 4324 w 6827"/>
                  <a:gd name="T43" fmla="*/ 5916 h 6827"/>
                  <a:gd name="T44" fmla="*/ 4222 w 6827"/>
                  <a:gd name="T45" fmla="*/ 5500 h 6827"/>
                  <a:gd name="T46" fmla="*/ 5571 w 6827"/>
                  <a:gd name="T47" fmla="*/ 4255 h 6827"/>
                  <a:gd name="T48" fmla="*/ 5916 w 6827"/>
                  <a:gd name="T49" fmla="*/ 4324 h 6827"/>
                  <a:gd name="T50" fmla="*/ 6827 w 6827"/>
                  <a:gd name="T51" fmla="*/ 3413 h 6827"/>
                  <a:gd name="T52" fmla="*/ 5916 w 6827"/>
                  <a:gd name="T53" fmla="*/ 2503 h 6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827" h="6827">
                    <a:moveTo>
                      <a:pt x="5916" y="2503"/>
                    </a:moveTo>
                    <a:cubicBezTo>
                      <a:pt x="5453" y="2503"/>
                      <a:pt x="5070" y="2851"/>
                      <a:pt x="5014" y="3300"/>
                    </a:cubicBezTo>
                    <a:lnTo>
                      <a:pt x="1813" y="3300"/>
                    </a:lnTo>
                    <a:cubicBezTo>
                      <a:pt x="1782" y="3052"/>
                      <a:pt x="1651" y="2836"/>
                      <a:pt x="1462" y="2691"/>
                    </a:cubicBezTo>
                    <a:lnTo>
                      <a:pt x="2736" y="1516"/>
                    </a:lnTo>
                    <a:cubicBezTo>
                      <a:pt x="2902" y="1702"/>
                      <a:pt x="3144" y="1820"/>
                      <a:pt x="3413" y="1820"/>
                    </a:cubicBezTo>
                    <a:cubicBezTo>
                      <a:pt x="3915" y="1820"/>
                      <a:pt x="4324" y="1412"/>
                      <a:pt x="4324" y="910"/>
                    </a:cubicBezTo>
                    <a:cubicBezTo>
                      <a:pt x="4324" y="408"/>
                      <a:pt x="3915" y="0"/>
                      <a:pt x="3413" y="0"/>
                    </a:cubicBezTo>
                    <a:cubicBezTo>
                      <a:pt x="2911" y="0"/>
                      <a:pt x="2503" y="408"/>
                      <a:pt x="2503" y="910"/>
                    </a:cubicBezTo>
                    <a:cubicBezTo>
                      <a:pt x="2503" y="1060"/>
                      <a:pt x="2540" y="1202"/>
                      <a:pt x="2605" y="1327"/>
                    </a:cubicBezTo>
                    <a:lnTo>
                      <a:pt x="1256" y="2572"/>
                    </a:lnTo>
                    <a:cubicBezTo>
                      <a:pt x="1149" y="2528"/>
                      <a:pt x="1033" y="2503"/>
                      <a:pt x="910" y="2503"/>
                    </a:cubicBezTo>
                    <a:cubicBezTo>
                      <a:pt x="408" y="2503"/>
                      <a:pt x="0" y="2911"/>
                      <a:pt x="0" y="3413"/>
                    </a:cubicBezTo>
                    <a:cubicBezTo>
                      <a:pt x="0" y="3915"/>
                      <a:pt x="408" y="4324"/>
                      <a:pt x="910" y="4324"/>
                    </a:cubicBezTo>
                    <a:cubicBezTo>
                      <a:pt x="1374" y="4324"/>
                      <a:pt x="1756" y="3975"/>
                      <a:pt x="1813" y="3527"/>
                    </a:cubicBezTo>
                    <a:lnTo>
                      <a:pt x="5014" y="3527"/>
                    </a:lnTo>
                    <a:cubicBezTo>
                      <a:pt x="5045" y="3775"/>
                      <a:pt x="5176" y="3991"/>
                      <a:pt x="5365" y="4135"/>
                    </a:cubicBezTo>
                    <a:lnTo>
                      <a:pt x="4091" y="5311"/>
                    </a:lnTo>
                    <a:cubicBezTo>
                      <a:pt x="3924" y="5125"/>
                      <a:pt x="3683" y="5006"/>
                      <a:pt x="3413" y="5006"/>
                    </a:cubicBezTo>
                    <a:cubicBezTo>
                      <a:pt x="2911" y="5006"/>
                      <a:pt x="2503" y="5415"/>
                      <a:pt x="2503" y="5916"/>
                    </a:cubicBezTo>
                    <a:cubicBezTo>
                      <a:pt x="2503" y="6418"/>
                      <a:pt x="2911" y="6827"/>
                      <a:pt x="3413" y="6827"/>
                    </a:cubicBezTo>
                    <a:cubicBezTo>
                      <a:pt x="3915" y="6827"/>
                      <a:pt x="4324" y="6418"/>
                      <a:pt x="4324" y="5916"/>
                    </a:cubicBezTo>
                    <a:cubicBezTo>
                      <a:pt x="4324" y="5766"/>
                      <a:pt x="4286" y="5625"/>
                      <a:pt x="4222" y="5500"/>
                    </a:cubicBezTo>
                    <a:lnTo>
                      <a:pt x="5571" y="4255"/>
                    </a:lnTo>
                    <a:cubicBezTo>
                      <a:pt x="5677" y="4299"/>
                      <a:pt x="5794" y="4324"/>
                      <a:pt x="5916" y="4324"/>
                    </a:cubicBezTo>
                    <a:cubicBezTo>
                      <a:pt x="6418" y="4324"/>
                      <a:pt x="6827" y="3915"/>
                      <a:pt x="6827" y="3413"/>
                    </a:cubicBezTo>
                    <a:cubicBezTo>
                      <a:pt x="6827" y="2911"/>
                      <a:pt x="6418" y="2503"/>
                      <a:pt x="5916" y="2503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/>
              <p:cNvSpPr/>
              <p:nvPr/>
            </p:nvSpPr>
            <p:spPr>
              <a:xfrm>
                <a:off x="4615395" y="1434861"/>
                <a:ext cx="241042" cy="240678"/>
              </a:xfrm>
              <a:custGeom>
                <a:avLst/>
                <a:gdLst>
                  <a:gd name="T0" fmla="*/ 5916 w 6827"/>
                  <a:gd name="T1" fmla="*/ 2503 h 6827"/>
                  <a:gd name="T2" fmla="*/ 5014 w 6827"/>
                  <a:gd name="T3" fmla="*/ 3300 h 6827"/>
                  <a:gd name="T4" fmla="*/ 1813 w 6827"/>
                  <a:gd name="T5" fmla="*/ 3300 h 6827"/>
                  <a:gd name="T6" fmla="*/ 1462 w 6827"/>
                  <a:gd name="T7" fmla="*/ 2691 h 6827"/>
                  <a:gd name="T8" fmla="*/ 2736 w 6827"/>
                  <a:gd name="T9" fmla="*/ 1516 h 6827"/>
                  <a:gd name="T10" fmla="*/ 3413 w 6827"/>
                  <a:gd name="T11" fmla="*/ 1820 h 6827"/>
                  <a:gd name="T12" fmla="*/ 4324 w 6827"/>
                  <a:gd name="T13" fmla="*/ 910 h 6827"/>
                  <a:gd name="T14" fmla="*/ 3413 w 6827"/>
                  <a:gd name="T15" fmla="*/ 0 h 6827"/>
                  <a:gd name="T16" fmla="*/ 2503 w 6827"/>
                  <a:gd name="T17" fmla="*/ 910 h 6827"/>
                  <a:gd name="T18" fmla="*/ 2605 w 6827"/>
                  <a:gd name="T19" fmla="*/ 1327 h 6827"/>
                  <a:gd name="T20" fmla="*/ 1256 w 6827"/>
                  <a:gd name="T21" fmla="*/ 2572 h 6827"/>
                  <a:gd name="T22" fmla="*/ 910 w 6827"/>
                  <a:gd name="T23" fmla="*/ 2503 h 6827"/>
                  <a:gd name="T24" fmla="*/ 0 w 6827"/>
                  <a:gd name="T25" fmla="*/ 3413 h 6827"/>
                  <a:gd name="T26" fmla="*/ 910 w 6827"/>
                  <a:gd name="T27" fmla="*/ 4324 h 6827"/>
                  <a:gd name="T28" fmla="*/ 1813 w 6827"/>
                  <a:gd name="T29" fmla="*/ 3527 h 6827"/>
                  <a:gd name="T30" fmla="*/ 5014 w 6827"/>
                  <a:gd name="T31" fmla="*/ 3527 h 6827"/>
                  <a:gd name="T32" fmla="*/ 5365 w 6827"/>
                  <a:gd name="T33" fmla="*/ 4135 h 6827"/>
                  <a:gd name="T34" fmla="*/ 4091 w 6827"/>
                  <a:gd name="T35" fmla="*/ 5311 h 6827"/>
                  <a:gd name="T36" fmla="*/ 3413 w 6827"/>
                  <a:gd name="T37" fmla="*/ 5006 h 6827"/>
                  <a:gd name="T38" fmla="*/ 2503 w 6827"/>
                  <a:gd name="T39" fmla="*/ 5916 h 6827"/>
                  <a:gd name="T40" fmla="*/ 3413 w 6827"/>
                  <a:gd name="T41" fmla="*/ 6827 h 6827"/>
                  <a:gd name="T42" fmla="*/ 4324 w 6827"/>
                  <a:gd name="T43" fmla="*/ 5916 h 6827"/>
                  <a:gd name="T44" fmla="*/ 4222 w 6827"/>
                  <a:gd name="T45" fmla="*/ 5500 h 6827"/>
                  <a:gd name="T46" fmla="*/ 5571 w 6827"/>
                  <a:gd name="T47" fmla="*/ 4255 h 6827"/>
                  <a:gd name="T48" fmla="*/ 5916 w 6827"/>
                  <a:gd name="T49" fmla="*/ 4324 h 6827"/>
                  <a:gd name="T50" fmla="*/ 6827 w 6827"/>
                  <a:gd name="T51" fmla="*/ 3413 h 6827"/>
                  <a:gd name="T52" fmla="*/ 5916 w 6827"/>
                  <a:gd name="T53" fmla="*/ 2503 h 6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827" h="6827">
                    <a:moveTo>
                      <a:pt x="5916" y="2503"/>
                    </a:moveTo>
                    <a:cubicBezTo>
                      <a:pt x="5453" y="2503"/>
                      <a:pt x="5070" y="2851"/>
                      <a:pt x="5014" y="3300"/>
                    </a:cubicBezTo>
                    <a:lnTo>
                      <a:pt x="1813" y="3300"/>
                    </a:lnTo>
                    <a:cubicBezTo>
                      <a:pt x="1782" y="3052"/>
                      <a:pt x="1651" y="2836"/>
                      <a:pt x="1462" y="2691"/>
                    </a:cubicBezTo>
                    <a:lnTo>
                      <a:pt x="2736" y="1516"/>
                    </a:lnTo>
                    <a:cubicBezTo>
                      <a:pt x="2902" y="1702"/>
                      <a:pt x="3144" y="1820"/>
                      <a:pt x="3413" y="1820"/>
                    </a:cubicBezTo>
                    <a:cubicBezTo>
                      <a:pt x="3915" y="1820"/>
                      <a:pt x="4324" y="1412"/>
                      <a:pt x="4324" y="910"/>
                    </a:cubicBezTo>
                    <a:cubicBezTo>
                      <a:pt x="4324" y="408"/>
                      <a:pt x="3915" y="0"/>
                      <a:pt x="3413" y="0"/>
                    </a:cubicBezTo>
                    <a:cubicBezTo>
                      <a:pt x="2911" y="0"/>
                      <a:pt x="2503" y="408"/>
                      <a:pt x="2503" y="910"/>
                    </a:cubicBezTo>
                    <a:cubicBezTo>
                      <a:pt x="2503" y="1060"/>
                      <a:pt x="2540" y="1202"/>
                      <a:pt x="2605" y="1327"/>
                    </a:cubicBezTo>
                    <a:lnTo>
                      <a:pt x="1256" y="2572"/>
                    </a:lnTo>
                    <a:cubicBezTo>
                      <a:pt x="1149" y="2528"/>
                      <a:pt x="1033" y="2503"/>
                      <a:pt x="910" y="2503"/>
                    </a:cubicBezTo>
                    <a:cubicBezTo>
                      <a:pt x="408" y="2503"/>
                      <a:pt x="0" y="2911"/>
                      <a:pt x="0" y="3413"/>
                    </a:cubicBezTo>
                    <a:cubicBezTo>
                      <a:pt x="0" y="3915"/>
                      <a:pt x="408" y="4324"/>
                      <a:pt x="910" y="4324"/>
                    </a:cubicBezTo>
                    <a:cubicBezTo>
                      <a:pt x="1374" y="4324"/>
                      <a:pt x="1756" y="3975"/>
                      <a:pt x="1813" y="3527"/>
                    </a:cubicBezTo>
                    <a:lnTo>
                      <a:pt x="5014" y="3527"/>
                    </a:lnTo>
                    <a:cubicBezTo>
                      <a:pt x="5045" y="3775"/>
                      <a:pt x="5176" y="3991"/>
                      <a:pt x="5365" y="4135"/>
                    </a:cubicBezTo>
                    <a:lnTo>
                      <a:pt x="4091" y="5311"/>
                    </a:lnTo>
                    <a:cubicBezTo>
                      <a:pt x="3924" y="5125"/>
                      <a:pt x="3683" y="5006"/>
                      <a:pt x="3413" y="5006"/>
                    </a:cubicBezTo>
                    <a:cubicBezTo>
                      <a:pt x="2911" y="5006"/>
                      <a:pt x="2503" y="5415"/>
                      <a:pt x="2503" y="5916"/>
                    </a:cubicBezTo>
                    <a:cubicBezTo>
                      <a:pt x="2503" y="6418"/>
                      <a:pt x="2911" y="6827"/>
                      <a:pt x="3413" y="6827"/>
                    </a:cubicBezTo>
                    <a:cubicBezTo>
                      <a:pt x="3915" y="6827"/>
                      <a:pt x="4324" y="6418"/>
                      <a:pt x="4324" y="5916"/>
                    </a:cubicBezTo>
                    <a:cubicBezTo>
                      <a:pt x="4324" y="5766"/>
                      <a:pt x="4286" y="5625"/>
                      <a:pt x="4222" y="5500"/>
                    </a:cubicBezTo>
                    <a:lnTo>
                      <a:pt x="5571" y="4255"/>
                    </a:lnTo>
                    <a:cubicBezTo>
                      <a:pt x="5677" y="4299"/>
                      <a:pt x="5794" y="4324"/>
                      <a:pt x="5916" y="4324"/>
                    </a:cubicBezTo>
                    <a:cubicBezTo>
                      <a:pt x="6418" y="4324"/>
                      <a:pt x="6827" y="3915"/>
                      <a:pt x="6827" y="3413"/>
                    </a:cubicBezTo>
                    <a:cubicBezTo>
                      <a:pt x="6827" y="2911"/>
                      <a:pt x="6418" y="2503"/>
                      <a:pt x="5916" y="2503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/>
              <p:cNvSpPr/>
              <p:nvPr/>
            </p:nvSpPr>
            <p:spPr>
              <a:xfrm>
                <a:off x="7335559" y="1434861"/>
                <a:ext cx="241042" cy="240678"/>
              </a:xfrm>
              <a:custGeom>
                <a:avLst/>
                <a:gdLst>
                  <a:gd name="T0" fmla="*/ 5916 w 6827"/>
                  <a:gd name="T1" fmla="*/ 2503 h 6827"/>
                  <a:gd name="T2" fmla="*/ 5014 w 6827"/>
                  <a:gd name="T3" fmla="*/ 3300 h 6827"/>
                  <a:gd name="T4" fmla="*/ 1813 w 6827"/>
                  <a:gd name="T5" fmla="*/ 3300 h 6827"/>
                  <a:gd name="T6" fmla="*/ 1462 w 6827"/>
                  <a:gd name="T7" fmla="*/ 2691 h 6827"/>
                  <a:gd name="T8" fmla="*/ 2736 w 6827"/>
                  <a:gd name="T9" fmla="*/ 1516 h 6827"/>
                  <a:gd name="T10" fmla="*/ 3413 w 6827"/>
                  <a:gd name="T11" fmla="*/ 1820 h 6827"/>
                  <a:gd name="T12" fmla="*/ 4324 w 6827"/>
                  <a:gd name="T13" fmla="*/ 910 h 6827"/>
                  <a:gd name="T14" fmla="*/ 3413 w 6827"/>
                  <a:gd name="T15" fmla="*/ 0 h 6827"/>
                  <a:gd name="T16" fmla="*/ 2503 w 6827"/>
                  <a:gd name="T17" fmla="*/ 910 h 6827"/>
                  <a:gd name="T18" fmla="*/ 2605 w 6827"/>
                  <a:gd name="T19" fmla="*/ 1327 h 6827"/>
                  <a:gd name="T20" fmla="*/ 1256 w 6827"/>
                  <a:gd name="T21" fmla="*/ 2572 h 6827"/>
                  <a:gd name="T22" fmla="*/ 910 w 6827"/>
                  <a:gd name="T23" fmla="*/ 2503 h 6827"/>
                  <a:gd name="T24" fmla="*/ 0 w 6827"/>
                  <a:gd name="T25" fmla="*/ 3413 h 6827"/>
                  <a:gd name="T26" fmla="*/ 910 w 6827"/>
                  <a:gd name="T27" fmla="*/ 4324 h 6827"/>
                  <a:gd name="T28" fmla="*/ 1813 w 6827"/>
                  <a:gd name="T29" fmla="*/ 3527 h 6827"/>
                  <a:gd name="T30" fmla="*/ 5014 w 6827"/>
                  <a:gd name="T31" fmla="*/ 3527 h 6827"/>
                  <a:gd name="T32" fmla="*/ 5365 w 6827"/>
                  <a:gd name="T33" fmla="*/ 4135 h 6827"/>
                  <a:gd name="T34" fmla="*/ 4091 w 6827"/>
                  <a:gd name="T35" fmla="*/ 5311 h 6827"/>
                  <a:gd name="T36" fmla="*/ 3413 w 6827"/>
                  <a:gd name="T37" fmla="*/ 5006 h 6827"/>
                  <a:gd name="T38" fmla="*/ 2503 w 6827"/>
                  <a:gd name="T39" fmla="*/ 5916 h 6827"/>
                  <a:gd name="T40" fmla="*/ 3413 w 6827"/>
                  <a:gd name="T41" fmla="*/ 6827 h 6827"/>
                  <a:gd name="T42" fmla="*/ 4324 w 6827"/>
                  <a:gd name="T43" fmla="*/ 5916 h 6827"/>
                  <a:gd name="T44" fmla="*/ 4222 w 6827"/>
                  <a:gd name="T45" fmla="*/ 5500 h 6827"/>
                  <a:gd name="T46" fmla="*/ 5571 w 6827"/>
                  <a:gd name="T47" fmla="*/ 4255 h 6827"/>
                  <a:gd name="T48" fmla="*/ 5916 w 6827"/>
                  <a:gd name="T49" fmla="*/ 4324 h 6827"/>
                  <a:gd name="T50" fmla="*/ 6827 w 6827"/>
                  <a:gd name="T51" fmla="*/ 3413 h 6827"/>
                  <a:gd name="T52" fmla="*/ 5916 w 6827"/>
                  <a:gd name="T53" fmla="*/ 2503 h 6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827" h="6827">
                    <a:moveTo>
                      <a:pt x="5916" y="2503"/>
                    </a:moveTo>
                    <a:cubicBezTo>
                      <a:pt x="5453" y="2503"/>
                      <a:pt x="5070" y="2851"/>
                      <a:pt x="5014" y="3300"/>
                    </a:cubicBezTo>
                    <a:lnTo>
                      <a:pt x="1813" y="3300"/>
                    </a:lnTo>
                    <a:cubicBezTo>
                      <a:pt x="1782" y="3052"/>
                      <a:pt x="1651" y="2836"/>
                      <a:pt x="1462" y="2691"/>
                    </a:cubicBezTo>
                    <a:lnTo>
                      <a:pt x="2736" y="1516"/>
                    </a:lnTo>
                    <a:cubicBezTo>
                      <a:pt x="2902" y="1702"/>
                      <a:pt x="3144" y="1820"/>
                      <a:pt x="3413" y="1820"/>
                    </a:cubicBezTo>
                    <a:cubicBezTo>
                      <a:pt x="3915" y="1820"/>
                      <a:pt x="4324" y="1412"/>
                      <a:pt x="4324" y="910"/>
                    </a:cubicBezTo>
                    <a:cubicBezTo>
                      <a:pt x="4324" y="408"/>
                      <a:pt x="3915" y="0"/>
                      <a:pt x="3413" y="0"/>
                    </a:cubicBezTo>
                    <a:cubicBezTo>
                      <a:pt x="2911" y="0"/>
                      <a:pt x="2503" y="408"/>
                      <a:pt x="2503" y="910"/>
                    </a:cubicBezTo>
                    <a:cubicBezTo>
                      <a:pt x="2503" y="1060"/>
                      <a:pt x="2540" y="1202"/>
                      <a:pt x="2605" y="1327"/>
                    </a:cubicBezTo>
                    <a:lnTo>
                      <a:pt x="1256" y="2572"/>
                    </a:lnTo>
                    <a:cubicBezTo>
                      <a:pt x="1149" y="2528"/>
                      <a:pt x="1033" y="2503"/>
                      <a:pt x="910" y="2503"/>
                    </a:cubicBezTo>
                    <a:cubicBezTo>
                      <a:pt x="408" y="2503"/>
                      <a:pt x="0" y="2911"/>
                      <a:pt x="0" y="3413"/>
                    </a:cubicBezTo>
                    <a:cubicBezTo>
                      <a:pt x="0" y="3915"/>
                      <a:pt x="408" y="4324"/>
                      <a:pt x="910" y="4324"/>
                    </a:cubicBezTo>
                    <a:cubicBezTo>
                      <a:pt x="1374" y="4324"/>
                      <a:pt x="1756" y="3975"/>
                      <a:pt x="1813" y="3527"/>
                    </a:cubicBezTo>
                    <a:lnTo>
                      <a:pt x="5014" y="3527"/>
                    </a:lnTo>
                    <a:cubicBezTo>
                      <a:pt x="5045" y="3775"/>
                      <a:pt x="5176" y="3991"/>
                      <a:pt x="5365" y="4135"/>
                    </a:cubicBezTo>
                    <a:lnTo>
                      <a:pt x="4091" y="5311"/>
                    </a:lnTo>
                    <a:cubicBezTo>
                      <a:pt x="3924" y="5125"/>
                      <a:pt x="3683" y="5006"/>
                      <a:pt x="3413" y="5006"/>
                    </a:cubicBezTo>
                    <a:cubicBezTo>
                      <a:pt x="2911" y="5006"/>
                      <a:pt x="2503" y="5415"/>
                      <a:pt x="2503" y="5916"/>
                    </a:cubicBezTo>
                    <a:cubicBezTo>
                      <a:pt x="2503" y="6418"/>
                      <a:pt x="2911" y="6827"/>
                      <a:pt x="3413" y="6827"/>
                    </a:cubicBezTo>
                    <a:cubicBezTo>
                      <a:pt x="3915" y="6827"/>
                      <a:pt x="4324" y="6418"/>
                      <a:pt x="4324" y="5916"/>
                    </a:cubicBezTo>
                    <a:cubicBezTo>
                      <a:pt x="4324" y="5766"/>
                      <a:pt x="4286" y="5625"/>
                      <a:pt x="4222" y="5500"/>
                    </a:cubicBezTo>
                    <a:lnTo>
                      <a:pt x="5571" y="4255"/>
                    </a:lnTo>
                    <a:cubicBezTo>
                      <a:pt x="5677" y="4299"/>
                      <a:pt x="5794" y="4324"/>
                      <a:pt x="5916" y="4324"/>
                    </a:cubicBezTo>
                    <a:cubicBezTo>
                      <a:pt x="6418" y="4324"/>
                      <a:pt x="6827" y="3915"/>
                      <a:pt x="6827" y="3413"/>
                    </a:cubicBezTo>
                    <a:cubicBezTo>
                      <a:pt x="6827" y="2911"/>
                      <a:pt x="6418" y="2503"/>
                      <a:pt x="5916" y="2503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/>
              <p:cNvSpPr/>
              <p:nvPr/>
            </p:nvSpPr>
            <p:spPr>
              <a:xfrm>
                <a:off x="10055723" y="1434861"/>
                <a:ext cx="241042" cy="240678"/>
              </a:xfrm>
              <a:custGeom>
                <a:avLst/>
                <a:gdLst>
                  <a:gd name="T0" fmla="*/ 5916 w 6827"/>
                  <a:gd name="T1" fmla="*/ 2503 h 6827"/>
                  <a:gd name="T2" fmla="*/ 5014 w 6827"/>
                  <a:gd name="T3" fmla="*/ 3300 h 6827"/>
                  <a:gd name="T4" fmla="*/ 1813 w 6827"/>
                  <a:gd name="T5" fmla="*/ 3300 h 6827"/>
                  <a:gd name="T6" fmla="*/ 1462 w 6827"/>
                  <a:gd name="T7" fmla="*/ 2691 h 6827"/>
                  <a:gd name="T8" fmla="*/ 2736 w 6827"/>
                  <a:gd name="T9" fmla="*/ 1516 h 6827"/>
                  <a:gd name="T10" fmla="*/ 3413 w 6827"/>
                  <a:gd name="T11" fmla="*/ 1820 h 6827"/>
                  <a:gd name="T12" fmla="*/ 4324 w 6827"/>
                  <a:gd name="T13" fmla="*/ 910 h 6827"/>
                  <a:gd name="T14" fmla="*/ 3413 w 6827"/>
                  <a:gd name="T15" fmla="*/ 0 h 6827"/>
                  <a:gd name="T16" fmla="*/ 2503 w 6827"/>
                  <a:gd name="T17" fmla="*/ 910 h 6827"/>
                  <a:gd name="T18" fmla="*/ 2605 w 6827"/>
                  <a:gd name="T19" fmla="*/ 1327 h 6827"/>
                  <a:gd name="T20" fmla="*/ 1256 w 6827"/>
                  <a:gd name="T21" fmla="*/ 2572 h 6827"/>
                  <a:gd name="T22" fmla="*/ 910 w 6827"/>
                  <a:gd name="T23" fmla="*/ 2503 h 6827"/>
                  <a:gd name="T24" fmla="*/ 0 w 6827"/>
                  <a:gd name="T25" fmla="*/ 3413 h 6827"/>
                  <a:gd name="T26" fmla="*/ 910 w 6827"/>
                  <a:gd name="T27" fmla="*/ 4324 h 6827"/>
                  <a:gd name="T28" fmla="*/ 1813 w 6827"/>
                  <a:gd name="T29" fmla="*/ 3527 h 6827"/>
                  <a:gd name="T30" fmla="*/ 5014 w 6827"/>
                  <a:gd name="T31" fmla="*/ 3527 h 6827"/>
                  <a:gd name="T32" fmla="*/ 5365 w 6827"/>
                  <a:gd name="T33" fmla="*/ 4135 h 6827"/>
                  <a:gd name="T34" fmla="*/ 4091 w 6827"/>
                  <a:gd name="T35" fmla="*/ 5311 h 6827"/>
                  <a:gd name="T36" fmla="*/ 3413 w 6827"/>
                  <a:gd name="T37" fmla="*/ 5006 h 6827"/>
                  <a:gd name="T38" fmla="*/ 2503 w 6827"/>
                  <a:gd name="T39" fmla="*/ 5916 h 6827"/>
                  <a:gd name="T40" fmla="*/ 3413 w 6827"/>
                  <a:gd name="T41" fmla="*/ 6827 h 6827"/>
                  <a:gd name="T42" fmla="*/ 4324 w 6827"/>
                  <a:gd name="T43" fmla="*/ 5916 h 6827"/>
                  <a:gd name="T44" fmla="*/ 4222 w 6827"/>
                  <a:gd name="T45" fmla="*/ 5500 h 6827"/>
                  <a:gd name="T46" fmla="*/ 5571 w 6827"/>
                  <a:gd name="T47" fmla="*/ 4255 h 6827"/>
                  <a:gd name="T48" fmla="*/ 5916 w 6827"/>
                  <a:gd name="T49" fmla="*/ 4324 h 6827"/>
                  <a:gd name="T50" fmla="*/ 6827 w 6827"/>
                  <a:gd name="T51" fmla="*/ 3413 h 6827"/>
                  <a:gd name="T52" fmla="*/ 5916 w 6827"/>
                  <a:gd name="T53" fmla="*/ 2503 h 6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827" h="6827">
                    <a:moveTo>
                      <a:pt x="5916" y="2503"/>
                    </a:moveTo>
                    <a:cubicBezTo>
                      <a:pt x="5453" y="2503"/>
                      <a:pt x="5070" y="2851"/>
                      <a:pt x="5014" y="3300"/>
                    </a:cubicBezTo>
                    <a:lnTo>
                      <a:pt x="1813" y="3300"/>
                    </a:lnTo>
                    <a:cubicBezTo>
                      <a:pt x="1782" y="3052"/>
                      <a:pt x="1651" y="2836"/>
                      <a:pt x="1462" y="2691"/>
                    </a:cubicBezTo>
                    <a:lnTo>
                      <a:pt x="2736" y="1516"/>
                    </a:lnTo>
                    <a:cubicBezTo>
                      <a:pt x="2902" y="1702"/>
                      <a:pt x="3144" y="1820"/>
                      <a:pt x="3413" y="1820"/>
                    </a:cubicBezTo>
                    <a:cubicBezTo>
                      <a:pt x="3915" y="1820"/>
                      <a:pt x="4324" y="1412"/>
                      <a:pt x="4324" y="910"/>
                    </a:cubicBezTo>
                    <a:cubicBezTo>
                      <a:pt x="4324" y="408"/>
                      <a:pt x="3915" y="0"/>
                      <a:pt x="3413" y="0"/>
                    </a:cubicBezTo>
                    <a:cubicBezTo>
                      <a:pt x="2911" y="0"/>
                      <a:pt x="2503" y="408"/>
                      <a:pt x="2503" y="910"/>
                    </a:cubicBezTo>
                    <a:cubicBezTo>
                      <a:pt x="2503" y="1060"/>
                      <a:pt x="2540" y="1202"/>
                      <a:pt x="2605" y="1327"/>
                    </a:cubicBezTo>
                    <a:lnTo>
                      <a:pt x="1256" y="2572"/>
                    </a:lnTo>
                    <a:cubicBezTo>
                      <a:pt x="1149" y="2528"/>
                      <a:pt x="1033" y="2503"/>
                      <a:pt x="910" y="2503"/>
                    </a:cubicBezTo>
                    <a:cubicBezTo>
                      <a:pt x="408" y="2503"/>
                      <a:pt x="0" y="2911"/>
                      <a:pt x="0" y="3413"/>
                    </a:cubicBezTo>
                    <a:cubicBezTo>
                      <a:pt x="0" y="3915"/>
                      <a:pt x="408" y="4324"/>
                      <a:pt x="910" y="4324"/>
                    </a:cubicBezTo>
                    <a:cubicBezTo>
                      <a:pt x="1374" y="4324"/>
                      <a:pt x="1756" y="3975"/>
                      <a:pt x="1813" y="3527"/>
                    </a:cubicBezTo>
                    <a:lnTo>
                      <a:pt x="5014" y="3527"/>
                    </a:lnTo>
                    <a:cubicBezTo>
                      <a:pt x="5045" y="3775"/>
                      <a:pt x="5176" y="3991"/>
                      <a:pt x="5365" y="4135"/>
                    </a:cubicBezTo>
                    <a:lnTo>
                      <a:pt x="4091" y="5311"/>
                    </a:lnTo>
                    <a:cubicBezTo>
                      <a:pt x="3924" y="5125"/>
                      <a:pt x="3683" y="5006"/>
                      <a:pt x="3413" y="5006"/>
                    </a:cubicBezTo>
                    <a:cubicBezTo>
                      <a:pt x="2911" y="5006"/>
                      <a:pt x="2503" y="5415"/>
                      <a:pt x="2503" y="5916"/>
                    </a:cubicBezTo>
                    <a:cubicBezTo>
                      <a:pt x="2503" y="6418"/>
                      <a:pt x="2911" y="6827"/>
                      <a:pt x="3413" y="6827"/>
                    </a:cubicBezTo>
                    <a:cubicBezTo>
                      <a:pt x="3915" y="6827"/>
                      <a:pt x="4324" y="6418"/>
                      <a:pt x="4324" y="5916"/>
                    </a:cubicBezTo>
                    <a:cubicBezTo>
                      <a:pt x="4324" y="5766"/>
                      <a:pt x="4286" y="5625"/>
                      <a:pt x="4222" y="5500"/>
                    </a:cubicBezTo>
                    <a:lnTo>
                      <a:pt x="5571" y="4255"/>
                    </a:lnTo>
                    <a:cubicBezTo>
                      <a:pt x="5677" y="4299"/>
                      <a:pt x="5794" y="4324"/>
                      <a:pt x="5916" y="4324"/>
                    </a:cubicBezTo>
                    <a:cubicBezTo>
                      <a:pt x="6418" y="4324"/>
                      <a:pt x="6827" y="3915"/>
                      <a:pt x="6827" y="3413"/>
                    </a:cubicBezTo>
                    <a:cubicBezTo>
                      <a:pt x="6827" y="2911"/>
                      <a:pt x="6418" y="2503"/>
                      <a:pt x="5916" y="2503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文本框 25"/>
              <p:cNvSpPr txBox="1"/>
              <p:nvPr/>
            </p:nvSpPr>
            <p:spPr bwMode="auto">
              <a:xfrm flipH="1">
                <a:off x="1050559" y="2953835"/>
                <a:ext cx="1930384" cy="4835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/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800">
                    <a:solidFill>
                      <a:schemeClr val="bg1"/>
                    </a:solidFill>
                    <a:cs typeface="+mn-ea"/>
                    <a:sym typeface="+mn-lt"/>
                  </a:rPr>
                  <a:t>69%</a:t>
                </a:r>
                <a:endParaRPr lang="en-US" altLang="zh-CN" sz="280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文本框 26"/>
              <p:cNvSpPr txBox="1"/>
              <p:nvPr/>
            </p:nvSpPr>
            <p:spPr bwMode="auto">
              <a:xfrm flipH="1">
                <a:off x="3770724" y="2953835"/>
                <a:ext cx="1930384" cy="4835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/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800">
                    <a:cs typeface="+mn-ea"/>
                    <a:sym typeface="+mn-lt"/>
                  </a:rPr>
                  <a:t>80%</a:t>
                </a:r>
                <a:endParaRPr lang="en-US" altLang="zh-CN" sz="2800">
                  <a:cs typeface="+mn-ea"/>
                  <a:sym typeface="+mn-lt"/>
                </a:endParaRPr>
              </a:p>
            </p:txBody>
          </p:sp>
          <p:sp>
            <p:nvSpPr>
              <p:cNvPr id="28" name="文本框 27"/>
              <p:cNvSpPr txBox="1"/>
              <p:nvPr/>
            </p:nvSpPr>
            <p:spPr bwMode="auto">
              <a:xfrm flipH="1">
                <a:off x="6490889" y="2953835"/>
                <a:ext cx="1930384" cy="4835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/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800">
                    <a:solidFill>
                      <a:schemeClr val="bg1"/>
                    </a:solidFill>
                    <a:cs typeface="+mn-ea"/>
                    <a:sym typeface="+mn-lt"/>
                  </a:rPr>
                  <a:t>82%</a:t>
                </a:r>
                <a:endParaRPr lang="en-US" altLang="zh-CN" sz="280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文本框 28"/>
              <p:cNvSpPr txBox="1"/>
              <p:nvPr/>
            </p:nvSpPr>
            <p:spPr bwMode="auto">
              <a:xfrm flipH="1">
                <a:off x="9211054" y="2953835"/>
                <a:ext cx="1930384" cy="4835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/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800">
                    <a:cs typeface="+mn-ea"/>
                    <a:sym typeface="+mn-lt"/>
                  </a:rPr>
                  <a:t>40%</a:t>
                </a:r>
                <a:endParaRPr lang="en-US" altLang="zh-CN" sz="2800">
                  <a:cs typeface="+mn-ea"/>
                  <a:sym typeface="+mn-lt"/>
                </a:endParaRPr>
              </a:p>
            </p:txBody>
          </p:sp>
        </p:grpSp>
        <p:sp>
          <p:nvSpPr>
            <p:cNvPr id="7" name="矩形 6"/>
            <p:cNvSpPr/>
            <p:nvPr/>
          </p:nvSpPr>
          <p:spPr bwMode="auto">
            <a:xfrm flipH="1">
              <a:off x="801244" y="4685514"/>
              <a:ext cx="2429009" cy="7754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00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r>
                <a:rPr lang="en-US" altLang="zh-CN" sz="1000">
                  <a:cs typeface="+mn-ea"/>
                  <a:sym typeface="+mn-lt"/>
                </a:rPr>
                <a:t>……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endParaRPr lang="en-US" altLang="zh-CN" sz="1000">
                <a:cs typeface="+mn-ea"/>
                <a:sym typeface="+mn-lt"/>
              </a:endParaRPr>
            </a:p>
          </p:txBody>
        </p:sp>
        <p:sp>
          <p:nvSpPr>
            <p:cNvPr id="8" name="文本框 7"/>
            <p:cNvSpPr txBox="1"/>
            <p:nvPr/>
          </p:nvSpPr>
          <p:spPr bwMode="auto">
            <a:xfrm flipH="1">
              <a:off x="801246" y="4151612"/>
              <a:ext cx="2429009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cs typeface="+mn-ea"/>
                  <a:sym typeface="+mn-lt"/>
                </a:rPr>
                <a:t>文献</a:t>
              </a:r>
              <a:endParaRPr lang="en-US" altLang="zh-CN" sz="1600" b="1" dirty="0">
                <a:cs typeface="+mn-ea"/>
                <a:sym typeface="+mn-lt"/>
              </a:endParaRPr>
            </a:p>
          </p:txBody>
        </p:sp>
        <p:sp>
          <p:nvSpPr>
            <p:cNvPr id="9" name="矩形 8"/>
            <p:cNvSpPr/>
            <p:nvPr/>
          </p:nvSpPr>
          <p:spPr bwMode="auto">
            <a:xfrm flipH="1">
              <a:off x="3521409" y="4685514"/>
              <a:ext cx="2429009" cy="7754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00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r>
                <a:rPr lang="en-US" altLang="zh-CN" sz="1000">
                  <a:cs typeface="+mn-ea"/>
                  <a:sym typeface="+mn-lt"/>
                </a:rPr>
                <a:t>……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endParaRPr lang="en-US" altLang="zh-CN" sz="1000">
                <a:cs typeface="+mn-ea"/>
                <a:sym typeface="+mn-lt"/>
              </a:endParaRPr>
            </a:p>
          </p:txBody>
        </p:sp>
        <p:sp>
          <p:nvSpPr>
            <p:cNvPr id="10" name="文本框 9"/>
            <p:cNvSpPr txBox="1"/>
            <p:nvPr/>
          </p:nvSpPr>
          <p:spPr bwMode="auto">
            <a:xfrm flipH="1">
              <a:off x="3521411" y="4151612"/>
              <a:ext cx="2429009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cs typeface="+mn-ea"/>
                  <a:sym typeface="+mn-lt"/>
                </a:rPr>
                <a:t>文献</a:t>
              </a:r>
              <a:endParaRPr lang="en-US" altLang="zh-CN" sz="1600" b="1" dirty="0">
                <a:cs typeface="+mn-ea"/>
                <a:sym typeface="+mn-lt"/>
              </a:endParaRPr>
            </a:p>
          </p:txBody>
        </p:sp>
        <p:sp>
          <p:nvSpPr>
            <p:cNvPr id="11" name="矩形 10"/>
            <p:cNvSpPr/>
            <p:nvPr/>
          </p:nvSpPr>
          <p:spPr bwMode="auto">
            <a:xfrm flipH="1">
              <a:off x="6241574" y="4685514"/>
              <a:ext cx="2429009" cy="7754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00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r>
                <a:rPr lang="en-US" altLang="zh-CN" sz="1000">
                  <a:cs typeface="+mn-ea"/>
                  <a:sym typeface="+mn-lt"/>
                </a:rPr>
                <a:t>……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endParaRPr lang="en-US" altLang="zh-CN" sz="1000">
                <a:cs typeface="+mn-ea"/>
                <a:sym typeface="+mn-lt"/>
              </a:endParaRPr>
            </a:p>
          </p:txBody>
        </p:sp>
        <p:sp>
          <p:nvSpPr>
            <p:cNvPr id="12" name="文本框 11"/>
            <p:cNvSpPr txBox="1"/>
            <p:nvPr/>
          </p:nvSpPr>
          <p:spPr bwMode="auto">
            <a:xfrm flipH="1">
              <a:off x="6241576" y="4151612"/>
              <a:ext cx="2429009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cs typeface="+mn-ea"/>
                  <a:sym typeface="+mn-lt"/>
                </a:rPr>
                <a:t>文献</a:t>
              </a:r>
              <a:endParaRPr lang="en-US" altLang="zh-CN" sz="1600" b="1" dirty="0">
                <a:cs typeface="+mn-ea"/>
                <a:sym typeface="+mn-lt"/>
              </a:endParaRPr>
            </a:p>
          </p:txBody>
        </p:sp>
        <p:sp>
          <p:nvSpPr>
            <p:cNvPr id="13" name="矩形 12"/>
            <p:cNvSpPr/>
            <p:nvPr/>
          </p:nvSpPr>
          <p:spPr bwMode="auto">
            <a:xfrm flipH="1">
              <a:off x="8961739" y="4685514"/>
              <a:ext cx="2429009" cy="7754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0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000">
                  <a:cs typeface="+mn-ea"/>
                  <a:sym typeface="+mn-lt"/>
                </a:rPr>
                <a:t>retain text.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r>
                <a:rPr lang="en-US" altLang="zh-CN" sz="1000">
                  <a:cs typeface="+mn-ea"/>
                  <a:sym typeface="+mn-lt"/>
                </a:rPr>
                <a:t>……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endParaRPr lang="en-US" altLang="zh-CN" sz="1000">
                <a:cs typeface="+mn-ea"/>
                <a:sym typeface="+mn-lt"/>
              </a:endParaRPr>
            </a:p>
          </p:txBody>
        </p:sp>
        <p:sp>
          <p:nvSpPr>
            <p:cNvPr id="14" name="文本框 13"/>
            <p:cNvSpPr txBox="1"/>
            <p:nvPr/>
          </p:nvSpPr>
          <p:spPr bwMode="auto">
            <a:xfrm flipH="1">
              <a:off x="8961741" y="4151612"/>
              <a:ext cx="2429009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cs typeface="+mn-ea"/>
                  <a:sym typeface="+mn-lt"/>
                </a:rPr>
                <a:t>文献</a:t>
              </a:r>
              <a:endParaRPr lang="en-US" altLang="zh-CN" sz="1600" b="1" dirty="0">
                <a:cs typeface="+mn-ea"/>
                <a:sym typeface="+mn-lt"/>
              </a:endParaRPr>
            </a:p>
          </p:txBody>
        </p:sp>
        <p:sp>
          <p:nvSpPr>
            <p:cNvPr id="15" name="矩形 14"/>
            <p:cNvSpPr/>
            <p:nvPr/>
          </p:nvSpPr>
          <p:spPr bwMode="auto">
            <a:xfrm flipH="1">
              <a:off x="3521409" y="5371314"/>
              <a:ext cx="2429009" cy="7754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000">
                  <a:cs typeface="+mn-ea"/>
                  <a:sym typeface="+mn-lt"/>
                </a:rPr>
                <a:t>Copy paste fonts. Choose the only option to retain text.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r>
                <a:rPr lang="en-US" altLang="zh-CN" sz="1000">
                  <a:cs typeface="+mn-ea"/>
                  <a:sym typeface="+mn-lt"/>
                </a:rPr>
                <a:t>……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endParaRPr lang="en-US" altLang="zh-CN" sz="1000">
                <a:cs typeface="+mn-ea"/>
                <a:sym typeface="+mn-lt"/>
              </a:endParaRPr>
            </a:p>
          </p:txBody>
        </p:sp>
        <p:sp>
          <p:nvSpPr>
            <p:cNvPr id="16" name="矩形 15"/>
            <p:cNvSpPr/>
            <p:nvPr/>
          </p:nvSpPr>
          <p:spPr bwMode="auto">
            <a:xfrm flipH="1">
              <a:off x="8961739" y="5371314"/>
              <a:ext cx="2429009" cy="7754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0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000">
                  <a:cs typeface="+mn-ea"/>
                  <a:sym typeface="+mn-lt"/>
                </a:rPr>
                <a:t>retain text.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r>
                <a:rPr lang="en-US" altLang="zh-CN" sz="1000">
                  <a:cs typeface="+mn-ea"/>
                  <a:sym typeface="+mn-lt"/>
                </a:rPr>
                <a:t>……</a:t>
              </a:r>
              <a:endParaRPr lang="en-US" altLang="zh-CN" sz="1000">
                <a:cs typeface="+mn-ea"/>
                <a:sym typeface="+mn-lt"/>
              </a:endParaRPr>
            </a:p>
            <a:p>
              <a:pPr algn="ctr"/>
              <a:endParaRPr lang="en-US" altLang="zh-CN" sz="1000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6000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6000" dirty="0">
                <a:solidFill>
                  <a:schemeClr val="accent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b="0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b="0" dirty="0">
              <a:solidFill>
                <a:schemeClr val="accent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Speaker name and title</a:t>
            </a:r>
            <a:endParaRPr lang="en-US" altLang="zh-CN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506168" y="3374184"/>
            <a:ext cx="4164462" cy="8445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选题背景及意义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>
              <a:defRPr/>
            </a:pPr>
            <a:r>
              <a:rPr lang="zh-CN" altLang="en-US" dirty="0">
                <a:cs typeface="+mn-ea"/>
                <a:sym typeface="+mn-lt"/>
              </a:rPr>
              <a:t>选题背景</a:t>
            </a:r>
            <a:endParaRPr lang="en-US" altLang="zh-CN" dirty="0">
              <a:cs typeface="+mn-ea"/>
              <a:sym typeface="+mn-lt"/>
            </a:endParaRPr>
          </a:p>
          <a:p>
            <a:pPr>
              <a:defRPr/>
            </a:pPr>
            <a:r>
              <a:rPr lang="zh-CN" altLang="en-US" dirty="0">
                <a:cs typeface="+mn-ea"/>
                <a:sym typeface="+mn-lt"/>
              </a:rPr>
              <a:t>研究意义</a:t>
            </a:r>
            <a:endParaRPr lang="en-US" altLang="zh-CN" dirty="0">
              <a:cs typeface="+mn-ea"/>
              <a:sym typeface="+mn-lt"/>
            </a:endParaRPr>
          </a:p>
          <a:p>
            <a:pPr>
              <a:defRPr/>
            </a:pPr>
            <a:r>
              <a:rPr lang="zh-CN" altLang="en-US" dirty="0">
                <a:cs typeface="+mn-ea"/>
                <a:sym typeface="+mn-lt"/>
              </a:rPr>
              <a:t>综述</a:t>
            </a:r>
            <a:endParaRPr lang="en-US" altLang="zh-CN" dirty="0">
              <a:cs typeface="+mn-ea"/>
              <a:sym typeface="+mn-lt"/>
            </a:endParaRPr>
          </a:p>
          <a:p>
            <a:pPr lvl="0"/>
            <a:r>
              <a:rPr lang="zh-CN" altLang="en-US" dirty="0">
                <a:cs typeface="+mn-ea"/>
                <a:sym typeface="+mn-lt"/>
              </a:rPr>
              <a:t>贡献创新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91703" y="3374184"/>
            <a:ext cx="1773697" cy="190590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选题背景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566431" y="1127369"/>
            <a:ext cx="9046439" cy="5009662"/>
            <a:chOff x="1566431" y="1127369"/>
            <a:chExt cx="9046439" cy="5009662"/>
          </a:xfrm>
        </p:grpSpPr>
        <p:grpSp>
          <p:nvGrpSpPr>
            <p:cNvPr id="6" name="组合 5"/>
            <p:cNvGrpSpPr/>
            <p:nvPr/>
          </p:nvGrpSpPr>
          <p:grpSpPr>
            <a:xfrm>
              <a:off x="3630755" y="1127369"/>
              <a:ext cx="4969400" cy="5009662"/>
              <a:chOff x="3604950" y="1127369"/>
              <a:chExt cx="4969400" cy="5009662"/>
            </a:xfrm>
          </p:grpSpPr>
          <p:sp>
            <p:nvSpPr>
              <p:cNvPr id="19" name="椭圆 18"/>
              <p:cNvSpPr/>
              <p:nvPr/>
            </p:nvSpPr>
            <p:spPr>
              <a:xfrm>
                <a:off x="4065080" y="1543455"/>
                <a:ext cx="3916853" cy="3916853"/>
              </a:xfrm>
              <a:prstGeom prst="ellipse">
                <a:avLst/>
              </a:prstGeom>
              <a:noFill/>
              <a:ln w="19050" cap="rnd">
                <a:solidFill>
                  <a:schemeClr val="bg1">
                    <a:lumMod val="75000"/>
                  </a:schemeClr>
                </a:solidFill>
                <a:prstDash val="sysDot"/>
                <a:rou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" name="椭圆 19"/>
              <p:cNvSpPr/>
              <p:nvPr/>
            </p:nvSpPr>
            <p:spPr>
              <a:xfrm>
                <a:off x="5917102" y="3479783"/>
                <a:ext cx="2657248" cy="2657248"/>
              </a:xfrm>
              <a:prstGeom prst="ellipse">
                <a:avLst/>
              </a:prstGeom>
              <a:noFill/>
              <a:ln w="19050" cap="rnd">
                <a:solidFill>
                  <a:schemeClr val="bg1">
                    <a:lumMod val="75000"/>
                  </a:schemeClr>
                </a:solidFill>
                <a:prstDash val="sysDot"/>
                <a:rou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" name="椭圆 20"/>
              <p:cNvSpPr/>
              <p:nvPr/>
            </p:nvSpPr>
            <p:spPr>
              <a:xfrm>
                <a:off x="3604950" y="1127369"/>
                <a:ext cx="1967054" cy="1967054"/>
              </a:xfrm>
              <a:prstGeom prst="ellipse">
                <a:avLst/>
              </a:prstGeom>
              <a:noFill/>
              <a:ln w="19050" cap="rnd">
                <a:solidFill>
                  <a:schemeClr val="bg1">
                    <a:lumMod val="75000"/>
                  </a:schemeClr>
                </a:solidFill>
                <a:prstDash val="sysDot"/>
                <a:rou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椭圆 21"/>
              <p:cNvSpPr/>
              <p:nvPr/>
            </p:nvSpPr>
            <p:spPr>
              <a:xfrm>
                <a:off x="3902626" y="1559225"/>
                <a:ext cx="1041044" cy="1041043"/>
              </a:xfrm>
              <a:prstGeom prst="ellipse">
                <a:avLst/>
              </a:prstGeom>
              <a:solidFill>
                <a:schemeClr val="accent1"/>
              </a:solidFill>
              <a:ln w="76200" cap="flat" cmpd="sng" algn="ctr">
                <a:noFill/>
                <a:prstDash val="solid"/>
                <a:miter lim="800000"/>
              </a:ln>
              <a:effectLst>
                <a:outerShdw blurRad="38100" dist="38100" dir="2700000" sx="105000" sy="105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3" name="椭圆 22"/>
              <p:cNvSpPr/>
              <p:nvPr/>
            </p:nvSpPr>
            <p:spPr>
              <a:xfrm>
                <a:off x="6665213" y="1606639"/>
                <a:ext cx="1322873" cy="1322873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76200" cap="flat" cmpd="sng" algn="ctr">
                <a:noFill/>
                <a:prstDash val="solid"/>
                <a:miter lim="800000"/>
              </a:ln>
              <a:effectLst>
                <a:outerShdw blurRad="38100" dist="38100" dir="2700000" sx="105000" sy="105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4" name="椭圆 23"/>
              <p:cNvSpPr/>
              <p:nvPr/>
            </p:nvSpPr>
            <p:spPr>
              <a:xfrm>
                <a:off x="6161527" y="3742513"/>
                <a:ext cx="1863525" cy="1863525"/>
              </a:xfrm>
              <a:prstGeom prst="ellipse">
                <a:avLst/>
              </a:prstGeom>
              <a:solidFill>
                <a:schemeClr val="accent1"/>
              </a:solidFill>
              <a:ln w="76200" cap="flat" cmpd="sng" algn="ctr">
                <a:noFill/>
                <a:prstDash val="solid"/>
                <a:miter lim="800000"/>
              </a:ln>
              <a:effectLst>
                <a:outerShdw blurRad="38100" dist="38100" dir="2700000" sx="105000" sy="105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5" name="椭圆 24"/>
              <p:cNvSpPr/>
              <p:nvPr/>
            </p:nvSpPr>
            <p:spPr>
              <a:xfrm>
                <a:off x="3643804" y="3587579"/>
                <a:ext cx="1690976" cy="169097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76200" cap="flat" cmpd="sng" algn="ctr">
                <a:noFill/>
                <a:prstDash val="solid"/>
                <a:miter lim="800000"/>
              </a:ln>
              <a:effectLst>
                <a:outerShdw blurRad="38100" dist="38100" dir="2700000" sx="105000" sy="105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6" name="椭圆 25"/>
              <p:cNvSpPr/>
              <p:nvPr/>
            </p:nvSpPr>
            <p:spPr>
              <a:xfrm>
                <a:off x="5379233" y="1559225"/>
                <a:ext cx="118001" cy="118001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" name="椭圆 26"/>
              <p:cNvSpPr/>
              <p:nvPr/>
            </p:nvSpPr>
            <p:spPr>
              <a:xfrm>
                <a:off x="6017662" y="5401307"/>
                <a:ext cx="118001" cy="118001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" name="椭圆 27"/>
              <p:cNvSpPr/>
              <p:nvPr/>
            </p:nvSpPr>
            <p:spPr>
              <a:xfrm>
                <a:off x="7922931" y="3640826"/>
                <a:ext cx="118001" cy="118001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" name="椭圆 28"/>
              <p:cNvSpPr/>
              <p:nvPr/>
            </p:nvSpPr>
            <p:spPr>
              <a:xfrm>
                <a:off x="4638833" y="2249419"/>
                <a:ext cx="2444439" cy="2444439"/>
              </a:xfrm>
              <a:prstGeom prst="ellipse">
                <a:avLst/>
              </a:prstGeom>
              <a:blipFill>
                <a:blip r:embed="rId1"/>
                <a:stretch>
                  <a:fillRect l="-16754" r="-16579"/>
                </a:stretch>
              </a:blipFill>
              <a:ln w="76200" cap="flat" cmpd="sng" algn="ctr">
                <a:noFill/>
                <a:prstDash val="solid"/>
                <a:miter lim="800000"/>
              </a:ln>
              <a:effectLst>
                <a:outerShdw blurRad="38100" dist="38100" dir="2700000" sx="105000" sy="105000" algn="t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/>
              <p:cNvSpPr/>
              <p:nvPr/>
            </p:nvSpPr>
            <p:spPr>
              <a:xfrm>
                <a:off x="4273869" y="1878391"/>
                <a:ext cx="298558" cy="402710"/>
              </a:xfrm>
              <a:custGeom>
                <a:avLst/>
                <a:gdLst>
                  <a:gd name="connsiteX0" fmla="*/ 363366 w 449447"/>
                  <a:gd name="connsiteY0" fmla="*/ 179144 h 606236"/>
                  <a:gd name="connsiteX1" fmla="*/ 377720 w 449447"/>
                  <a:gd name="connsiteY1" fmla="*/ 197780 h 606236"/>
                  <a:gd name="connsiteX2" fmla="*/ 376285 w 449447"/>
                  <a:gd name="connsiteY2" fmla="*/ 202081 h 606236"/>
                  <a:gd name="connsiteX3" fmla="*/ 215517 w 449447"/>
                  <a:gd name="connsiteY3" fmla="*/ 424280 h 606236"/>
                  <a:gd name="connsiteX4" fmla="*/ 212646 w 449447"/>
                  <a:gd name="connsiteY4" fmla="*/ 427147 h 606236"/>
                  <a:gd name="connsiteX5" fmla="*/ 211211 w 449447"/>
                  <a:gd name="connsiteY5" fmla="*/ 427147 h 606236"/>
                  <a:gd name="connsiteX6" fmla="*/ 208340 w 449447"/>
                  <a:gd name="connsiteY6" fmla="*/ 425714 h 606236"/>
                  <a:gd name="connsiteX7" fmla="*/ 90635 w 449447"/>
                  <a:gd name="connsiteY7" fmla="*/ 306729 h 606236"/>
                  <a:gd name="connsiteX8" fmla="*/ 126521 w 449447"/>
                  <a:gd name="connsiteY8" fmla="*/ 276625 h 606236"/>
                  <a:gd name="connsiteX9" fmla="*/ 191115 w 449447"/>
                  <a:gd name="connsiteY9" fmla="*/ 326799 h 606236"/>
                  <a:gd name="connsiteX10" fmla="*/ 363366 w 449447"/>
                  <a:gd name="connsiteY10" fmla="*/ 179144 h 606236"/>
                  <a:gd name="connsiteX11" fmla="*/ 224006 w 449447"/>
                  <a:gd name="connsiteY11" fmla="*/ 65927 h 606236"/>
                  <a:gd name="connsiteX12" fmla="*/ 218262 w 449447"/>
                  <a:gd name="connsiteY12" fmla="*/ 70226 h 606236"/>
                  <a:gd name="connsiteX13" fmla="*/ 56001 w 449447"/>
                  <a:gd name="connsiteY13" fmla="*/ 123254 h 606236"/>
                  <a:gd name="connsiteX14" fmla="*/ 48822 w 449447"/>
                  <a:gd name="connsiteY14" fmla="*/ 130420 h 606236"/>
                  <a:gd name="connsiteX15" fmla="*/ 48822 w 449447"/>
                  <a:gd name="connsiteY15" fmla="*/ 365462 h 606236"/>
                  <a:gd name="connsiteX16" fmla="*/ 221134 w 449447"/>
                  <a:gd name="connsiteY16" fmla="*/ 538877 h 606236"/>
                  <a:gd name="connsiteX17" fmla="*/ 224006 w 449447"/>
                  <a:gd name="connsiteY17" fmla="*/ 540310 h 606236"/>
                  <a:gd name="connsiteX18" fmla="*/ 226877 w 449447"/>
                  <a:gd name="connsiteY18" fmla="*/ 538877 h 606236"/>
                  <a:gd name="connsiteX19" fmla="*/ 400625 w 449447"/>
                  <a:gd name="connsiteY19" fmla="*/ 365462 h 606236"/>
                  <a:gd name="connsiteX20" fmla="*/ 400625 w 449447"/>
                  <a:gd name="connsiteY20" fmla="*/ 130420 h 606236"/>
                  <a:gd name="connsiteX21" fmla="*/ 393446 w 449447"/>
                  <a:gd name="connsiteY21" fmla="*/ 123254 h 606236"/>
                  <a:gd name="connsiteX22" fmla="*/ 231185 w 449447"/>
                  <a:gd name="connsiteY22" fmla="*/ 70226 h 606236"/>
                  <a:gd name="connsiteX23" fmla="*/ 224006 w 449447"/>
                  <a:gd name="connsiteY23" fmla="*/ 65927 h 606236"/>
                  <a:gd name="connsiteX24" fmla="*/ 224006 w 449447"/>
                  <a:gd name="connsiteY24" fmla="*/ 0 h 606236"/>
                  <a:gd name="connsiteX25" fmla="*/ 232621 w 449447"/>
                  <a:gd name="connsiteY25" fmla="*/ 5733 h 606236"/>
                  <a:gd name="connsiteX26" fmla="*/ 440831 w 449447"/>
                  <a:gd name="connsiteY26" fmla="*/ 73093 h 606236"/>
                  <a:gd name="connsiteX27" fmla="*/ 449447 w 449447"/>
                  <a:gd name="connsiteY27" fmla="*/ 81692 h 606236"/>
                  <a:gd name="connsiteX28" fmla="*/ 449447 w 449447"/>
                  <a:gd name="connsiteY28" fmla="*/ 384093 h 606236"/>
                  <a:gd name="connsiteX29" fmla="*/ 228313 w 449447"/>
                  <a:gd name="connsiteY29" fmla="*/ 604803 h 606236"/>
                  <a:gd name="connsiteX30" fmla="*/ 224006 w 449447"/>
                  <a:gd name="connsiteY30" fmla="*/ 606236 h 606236"/>
                  <a:gd name="connsiteX31" fmla="*/ 221134 w 449447"/>
                  <a:gd name="connsiteY31" fmla="*/ 604803 h 606236"/>
                  <a:gd name="connsiteX32" fmla="*/ 0 w 449447"/>
                  <a:gd name="connsiteY32" fmla="*/ 384093 h 606236"/>
                  <a:gd name="connsiteX33" fmla="*/ 0 w 449447"/>
                  <a:gd name="connsiteY33" fmla="*/ 81692 h 606236"/>
                  <a:gd name="connsiteX34" fmla="*/ 8616 w 449447"/>
                  <a:gd name="connsiteY34" fmla="*/ 73093 h 606236"/>
                  <a:gd name="connsiteX35" fmla="*/ 216826 w 449447"/>
                  <a:gd name="connsiteY35" fmla="*/ 5733 h 606236"/>
                  <a:gd name="connsiteX36" fmla="*/ 224006 w 449447"/>
                  <a:gd name="connsiteY36" fmla="*/ 0 h 606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449447" h="606236">
                    <a:moveTo>
                      <a:pt x="363366" y="179144"/>
                    </a:moveTo>
                    <a:cubicBezTo>
                      <a:pt x="364801" y="177710"/>
                      <a:pt x="377720" y="197780"/>
                      <a:pt x="377720" y="197780"/>
                    </a:cubicBezTo>
                    <a:cubicBezTo>
                      <a:pt x="377720" y="199213"/>
                      <a:pt x="377720" y="200647"/>
                      <a:pt x="376285" y="202081"/>
                    </a:cubicBezTo>
                    <a:cubicBezTo>
                      <a:pt x="297336" y="275191"/>
                      <a:pt x="234178" y="376973"/>
                      <a:pt x="215517" y="424280"/>
                    </a:cubicBezTo>
                    <a:cubicBezTo>
                      <a:pt x="215517" y="425714"/>
                      <a:pt x="214082" y="427147"/>
                      <a:pt x="212646" y="427147"/>
                    </a:cubicBezTo>
                    <a:cubicBezTo>
                      <a:pt x="211211" y="427147"/>
                      <a:pt x="211211" y="427147"/>
                      <a:pt x="211211" y="427147"/>
                    </a:cubicBezTo>
                    <a:cubicBezTo>
                      <a:pt x="209776" y="427147"/>
                      <a:pt x="208340" y="427147"/>
                      <a:pt x="208340" y="425714"/>
                    </a:cubicBezTo>
                    <a:lnTo>
                      <a:pt x="90635" y="306729"/>
                    </a:lnTo>
                    <a:cubicBezTo>
                      <a:pt x="89200" y="306729"/>
                      <a:pt x="125086" y="275191"/>
                      <a:pt x="126521" y="276625"/>
                    </a:cubicBezTo>
                    <a:lnTo>
                      <a:pt x="191115" y="326799"/>
                    </a:lnTo>
                    <a:cubicBezTo>
                      <a:pt x="216953" y="296695"/>
                      <a:pt x="278676" y="230751"/>
                      <a:pt x="363366" y="179144"/>
                    </a:cubicBezTo>
                    <a:close/>
                    <a:moveTo>
                      <a:pt x="224006" y="65927"/>
                    </a:moveTo>
                    <a:cubicBezTo>
                      <a:pt x="221134" y="65927"/>
                      <a:pt x="219698" y="67360"/>
                      <a:pt x="218262" y="70226"/>
                    </a:cubicBezTo>
                    <a:cubicBezTo>
                      <a:pt x="218262" y="70226"/>
                      <a:pt x="193851" y="123254"/>
                      <a:pt x="56001" y="123254"/>
                    </a:cubicBezTo>
                    <a:cubicBezTo>
                      <a:pt x="51694" y="123254"/>
                      <a:pt x="48822" y="126120"/>
                      <a:pt x="48822" y="130420"/>
                    </a:cubicBezTo>
                    <a:lnTo>
                      <a:pt x="48822" y="365462"/>
                    </a:lnTo>
                    <a:cubicBezTo>
                      <a:pt x="48822" y="462918"/>
                      <a:pt x="213954" y="536010"/>
                      <a:pt x="221134" y="538877"/>
                    </a:cubicBezTo>
                    <a:cubicBezTo>
                      <a:pt x="222570" y="540310"/>
                      <a:pt x="224006" y="540310"/>
                      <a:pt x="224006" y="540310"/>
                    </a:cubicBezTo>
                    <a:cubicBezTo>
                      <a:pt x="225441" y="540310"/>
                      <a:pt x="226877" y="540310"/>
                      <a:pt x="226877" y="538877"/>
                    </a:cubicBezTo>
                    <a:cubicBezTo>
                      <a:pt x="234057" y="536010"/>
                      <a:pt x="400625" y="462918"/>
                      <a:pt x="400625" y="365462"/>
                    </a:cubicBezTo>
                    <a:lnTo>
                      <a:pt x="400625" y="130420"/>
                    </a:lnTo>
                    <a:cubicBezTo>
                      <a:pt x="400625" y="126120"/>
                      <a:pt x="397753" y="123254"/>
                      <a:pt x="393446" y="123254"/>
                    </a:cubicBezTo>
                    <a:cubicBezTo>
                      <a:pt x="254160" y="123254"/>
                      <a:pt x="231185" y="70226"/>
                      <a:pt x="231185" y="70226"/>
                    </a:cubicBezTo>
                    <a:cubicBezTo>
                      <a:pt x="229749" y="67360"/>
                      <a:pt x="226877" y="65927"/>
                      <a:pt x="224006" y="65927"/>
                    </a:cubicBezTo>
                    <a:close/>
                    <a:moveTo>
                      <a:pt x="224006" y="0"/>
                    </a:moveTo>
                    <a:cubicBezTo>
                      <a:pt x="228313" y="0"/>
                      <a:pt x="231185" y="2867"/>
                      <a:pt x="232621" y="5733"/>
                    </a:cubicBezTo>
                    <a:cubicBezTo>
                      <a:pt x="232621" y="5733"/>
                      <a:pt x="262776" y="73093"/>
                      <a:pt x="440831" y="73093"/>
                    </a:cubicBezTo>
                    <a:cubicBezTo>
                      <a:pt x="445139" y="73093"/>
                      <a:pt x="449447" y="77392"/>
                      <a:pt x="449447" y="81692"/>
                    </a:cubicBezTo>
                    <a:lnTo>
                      <a:pt x="449447" y="384093"/>
                    </a:lnTo>
                    <a:cubicBezTo>
                      <a:pt x="449447" y="507347"/>
                      <a:pt x="236929" y="600503"/>
                      <a:pt x="228313" y="604803"/>
                    </a:cubicBezTo>
                    <a:cubicBezTo>
                      <a:pt x="226877" y="604803"/>
                      <a:pt x="225441" y="606236"/>
                      <a:pt x="224006" y="606236"/>
                    </a:cubicBezTo>
                    <a:cubicBezTo>
                      <a:pt x="222570" y="606236"/>
                      <a:pt x="222570" y="604803"/>
                      <a:pt x="221134" y="604803"/>
                    </a:cubicBezTo>
                    <a:cubicBezTo>
                      <a:pt x="212518" y="600503"/>
                      <a:pt x="0" y="507347"/>
                      <a:pt x="0" y="384093"/>
                    </a:cubicBezTo>
                    <a:lnTo>
                      <a:pt x="0" y="81692"/>
                    </a:lnTo>
                    <a:cubicBezTo>
                      <a:pt x="0" y="77392"/>
                      <a:pt x="2872" y="73093"/>
                      <a:pt x="8616" y="73093"/>
                    </a:cubicBezTo>
                    <a:cubicBezTo>
                      <a:pt x="185235" y="73093"/>
                      <a:pt x="215390" y="5733"/>
                      <a:pt x="216826" y="5733"/>
                    </a:cubicBezTo>
                    <a:cubicBezTo>
                      <a:pt x="218262" y="2867"/>
                      <a:pt x="221134" y="0"/>
                      <a:pt x="22400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/>
              <p:cNvSpPr/>
              <p:nvPr/>
            </p:nvSpPr>
            <p:spPr>
              <a:xfrm>
                <a:off x="7063744" y="2050045"/>
                <a:ext cx="525810" cy="436061"/>
              </a:xfrm>
              <a:custGeom>
                <a:avLst/>
                <a:gdLst>
                  <a:gd name="connsiteX0" fmla="*/ 487366 w 608556"/>
                  <a:gd name="connsiteY0" fmla="*/ 344359 h 504684"/>
                  <a:gd name="connsiteX1" fmla="*/ 555009 w 608556"/>
                  <a:gd name="connsiteY1" fmla="*/ 400299 h 504684"/>
                  <a:gd name="connsiteX2" fmla="*/ 556199 w 608556"/>
                  <a:gd name="connsiteY2" fmla="*/ 400299 h 504684"/>
                  <a:gd name="connsiteX3" fmla="*/ 608556 w 608556"/>
                  <a:gd name="connsiteY3" fmla="*/ 452492 h 504684"/>
                  <a:gd name="connsiteX4" fmla="*/ 556199 w 608556"/>
                  <a:gd name="connsiteY4" fmla="*/ 504684 h 504684"/>
                  <a:gd name="connsiteX5" fmla="*/ 415512 w 608556"/>
                  <a:gd name="connsiteY5" fmla="*/ 504684 h 504684"/>
                  <a:gd name="connsiteX6" fmla="*/ 380912 w 608556"/>
                  <a:gd name="connsiteY6" fmla="*/ 467208 h 504684"/>
                  <a:gd name="connsiteX7" fmla="*/ 418441 w 608556"/>
                  <a:gd name="connsiteY7" fmla="*/ 429640 h 504684"/>
                  <a:gd name="connsiteX8" fmla="*/ 420638 w 608556"/>
                  <a:gd name="connsiteY8" fmla="*/ 429915 h 504684"/>
                  <a:gd name="connsiteX9" fmla="*/ 418441 w 608556"/>
                  <a:gd name="connsiteY9" fmla="*/ 413096 h 504684"/>
                  <a:gd name="connsiteX10" fmla="*/ 487366 w 608556"/>
                  <a:gd name="connsiteY10" fmla="*/ 344359 h 504684"/>
                  <a:gd name="connsiteX11" fmla="*/ 106454 w 608556"/>
                  <a:gd name="connsiteY11" fmla="*/ 283602 h 504684"/>
                  <a:gd name="connsiteX12" fmla="*/ 174097 w 608556"/>
                  <a:gd name="connsiteY12" fmla="*/ 339534 h 504684"/>
                  <a:gd name="connsiteX13" fmla="*/ 175378 w 608556"/>
                  <a:gd name="connsiteY13" fmla="*/ 339534 h 504684"/>
                  <a:gd name="connsiteX14" fmla="*/ 227644 w 608556"/>
                  <a:gd name="connsiteY14" fmla="*/ 391720 h 504684"/>
                  <a:gd name="connsiteX15" fmla="*/ 175378 w 608556"/>
                  <a:gd name="connsiteY15" fmla="*/ 443997 h 504684"/>
                  <a:gd name="connsiteX16" fmla="*/ 34600 w 608556"/>
                  <a:gd name="connsiteY16" fmla="*/ 443997 h 504684"/>
                  <a:gd name="connsiteX17" fmla="*/ 0 w 608556"/>
                  <a:gd name="connsiteY17" fmla="*/ 406435 h 504684"/>
                  <a:gd name="connsiteX18" fmla="*/ 37529 w 608556"/>
                  <a:gd name="connsiteY18" fmla="*/ 368963 h 504684"/>
                  <a:gd name="connsiteX19" fmla="*/ 39726 w 608556"/>
                  <a:gd name="connsiteY19" fmla="*/ 369146 h 504684"/>
                  <a:gd name="connsiteX20" fmla="*/ 37529 w 608556"/>
                  <a:gd name="connsiteY20" fmla="*/ 352421 h 504684"/>
                  <a:gd name="connsiteX21" fmla="*/ 106454 w 608556"/>
                  <a:gd name="connsiteY21" fmla="*/ 283602 h 504684"/>
                  <a:gd name="connsiteX22" fmla="*/ 284846 w 608556"/>
                  <a:gd name="connsiteY22" fmla="*/ 180577 h 504684"/>
                  <a:gd name="connsiteX23" fmla="*/ 325391 w 608556"/>
                  <a:gd name="connsiteY23" fmla="*/ 180577 h 504684"/>
                  <a:gd name="connsiteX24" fmla="*/ 325391 w 608556"/>
                  <a:gd name="connsiteY24" fmla="*/ 257911 h 504684"/>
                  <a:gd name="connsiteX25" fmla="*/ 351566 w 608556"/>
                  <a:gd name="connsiteY25" fmla="*/ 299503 h 504684"/>
                  <a:gd name="connsiteX26" fmla="*/ 351017 w 608556"/>
                  <a:gd name="connsiteY26" fmla="*/ 305445 h 504684"/>
                  <a:gd name="connsiteX27" fmla="*/ 422405 w 608556"/>
                  <a:gd name="connsiteY27" fmla="*/ 352522 h 504684"/>
                  <a:gd name="connsiteX28" fmla="*/ 402362 w 608556"/>
                  <a:gd name="connsiteY28" fmla="*/ 387898 h 504684"/>
                  <a:gd name="connsiteX29" fmla="*/ 328686 w 608556"/>
                  <a:gd name="connsiteY29" fmla="*/ 339267 h 504684"/>
                  <a:gd name="connsiteX30" fmla="*/ 305164 w 608556"/>
                  <a:gd name="connsiteY30" fmla="*/ 345940 h 504684"/>
                  <a:gd name="connsiteX31" fmla="*/ 272033 w 608556"/>
                  <a:gd name="connsiteY31" fmla="*/ 331954 h 504684"/>
                  <a:gd name="connsiteX32" fmla="*/ 231305 w 608556"/>
                  <a:gd name="connsiteY32" fmla="*/ 345666 h 504684"/>
                  <a:gd name="connsiteX33" fmla="*/ 189754 w 608556"/>
                  <a:gd name="connsiteY33" fmla="*/ 320710 h 504684"/>
                  <a:gd name="connsiteX34" fmla="*/ 188198 w 608556"/>
                  <a:gd name="connsiteY34" fmla="*/ 317420 h 504684"/>
                  <a:gd name="connsiteX35" fmla="*/ 259220 w 608556"/>
                  <a:gd name="connsiteY35" fmla="*/ 293561 h 504684"/>
                  <a:gd name="connsiteX36" fmla="*/ 284846 w 608556"/>
                  <a:gd name="connsiteY36" fmla="*/ 257911 h 504684"/>
                  <a:gd name="connsiteX37" fmla="*/ 296910 w 608556"/>
                  <a:gd name="connsiteY37" fmla="*/ 0 h 504684"/>
                  <a:gd name="connsiteX38" fmla="*/ 364553 w 608556"/>
                  <a:gd name="connsiteY38" fmla="*/ 56024 h 504684"/>
                  <a:gd name="connsiteX39" fmla="*/ 365743 w 608556"/>
                  <a:gd name="connsiteY39" fmla="*/ 55932 h 504684"/>
                  <a:gd name="connsiteX40" fmla="*/ 418100 w 608556"/>
                  <a:gd name="connsiteY40" fmla="*/ 108118 h 504684"/>
                  <a:gd name="connsiteX41" fmla="*/ 365743 w 608556"/>
                  <a:gd name="connsiteY41" fmla="*/ 160395 h 504684"/>
                  <a:gd name="connsiteX42" fmla="*/ 225056 w 608556"/>
                  <a:gd name="connsiteY42" fmla="*/ 160395 h 504684"/>
                  <a:gd name="connsiteX43" fmla="*/ 190456 w 608556"/>
                  <a:gd name="connsiteY43" fmla="*/ 122832 h 504684"/>
                  <a:gd name="connsiteX44" fmla="*/ 227985 w 608556"/>
                  <a:gd name="connsiteY44" fmla="*/ 85361 h 504684"/>
                  <a:gd name="connsiteX45" fmla="*/ 230182 w 608556"/>
                  <a:gd name="connsiteY45" fmla="*/ 85544 h 504684"/>
                  <a:gd name="connsiteX46" fmla="*/ 227985 w 608556"/>
                  <a:gd name="connsiteY46" fmla="*/ 68819 h 504684"/>
                  <a:gd name="connsiteX47" fmla="*/ 296910 w 608556"/>
                  <a:gd name="connsiteY47" fmla="*/ 0 h 50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8556" h="504684">
                    <a:moveTo>
                      <a:pt x="487366" y="344359"/>
                    </a:moveTo>
                    <a:cubicBezTo>
                      <a:pt x="520958" y="344359"/>
                      <a:pt x="548968" y="368490"/>
                      <a:pt x="555009" y="400299"/>
                    </a:cubicBezTo>
                    <a:cubicBezTo>
                      <a:pt x="555375" y="400299"/>
                      <a:pt x="555833" y="400299"/>
                      <a:pt x="556199" y="400299"/>
                    </a:cubicBezTo>
                    <a:cubicBezTo>
                      <a:pt x="585123" y="400299"/>
                      <a:pt x="608556" y="423608"/>
                      <a:pt x="608556" y="452492"/>
                    </a:cubicBezTo>
                    <a:cubicBezTo>
                      <a:pt x="608556" y="481376"/>
                      <a:pt x="585123" y="504684"/>
                      <a:pt x="556199" y="504684"/>
                    </a:cubicBezTo>
                    <a:lnTo>
                      <a:pt x="415512" y="504684"/>
                    </a:lnTo>
                    <a:cubicBezTo>
                      <a:pt x="395924" y="503405"/>
                      <a:pt x="380912" y="487043"/>
                      <a:pt x="380912" y="467208"/>
                    </a:cubicBezTo>
                    <a:cubicBezTo>
                      <a:pt x="380912" y="446459"/>
                      <a:pt x="397754" y="429640"/>
                      <a:pt x="418441" y="429640"/>
                    </a:cubicBezTo>
                    <a:cubicBezTo>
                      <a:pt x="419173" y="429640"/>
                      <a:pt x="419905" y="429823"/>
                      <a:pt x="420638" y="429915"/>
                    </a:cubicBezTo>
                    <a:cubicBezTo>
                      <a:pt x="419265" y="424522"/>
                      <a:pt x="418441" y="418946"/>
                      <a:pt x="418441" y="413096"/>
                    </a:cubicBezTo>
                    <a:cubicBezTo>
                      <a:pt x="418441" y="375163"/>
                      <a:pt x="449288" y="344359"/>
                      <a:pt x="487366" y="344359"/>
                    </a:cubicBezTo>
                    <a:close/>
                    <a:moveTo>
                      <a:pt x="106454" y="283602"/>
                    </a:moveTo>
                    <a:cubicBezTo>
                      <a:pt x="140138" y="283602"/>
                      <a:pt x="168056" y="307730"/>
                      <a:pt x="174097" y="339534"/>
                    </a:cubicBezTo>
                    <a:cubicBezTo>
                      <a:pt x="174463" y="339534"/>
                      <a:pt x="174921" y="339534"/>
                      <a:pt x="175378" y="339534"/>
                    </a:cubicBezTo>
                    <a:cubicBezTo>
                      <a:pt x="204211" y="339534"/>
                      <a:pt x="227644" y="362840"/>
                      <a:pt x="227644" y="391720"/>
                    </a:cubicBezTo>
                    <a:cubicBezTo>
                      <a:pt x="227644" y="420601"/>
                      <a:pt x="204211" y="443997"/>
                      <a:pt x="175378" y="443997"/>
                    </a:cubicBezTo>
                    <a:lnTo>
                      <a:pt x="34600" y="443997"/>
                    </a:lnTo>
                    <a:cubicBezTo>
                      <a:pt x="15012" y="442626"/>
                      <a:pt x="0" y="426267"/>
                      <a:pt x="0" y="406435"/>
                    </a:cubicBezTo>
                    <a:cubicBezTo>
                      <a:pt x="0" y="385688"/>
                      <a:pt x="16842" y="368963"/>
                      <a:pt x="37529" y="368963"/>
                    </a:cubicBezTo>
                    <a:cubicBezTo>
                      <a:pt x="38261" y="368963"/>
                      <a:pt x="38993" y="369146"/>
                      <a:pt x="39726" y="369146"/>
                    </a:cubicBezTo>
                    <a:cubicBezTo>
                      <a:pt x="38353" y="363754"/>
                      <a:pt x="37529" y="358179"/>
                      <a:pt x="37529" y="352421"/>
                    </a:cubicBezTo>
                    <a:cubicBezTo>
                      <a:pt x="37529" y="314401"/>
                      <a:pt x="68376" y="283602"/>
                      <a:pt x="106454" y="283602"/>
                    </a:cubicBezTo>
                    <a:close/>
                    <a:moveTo>
                      <a:pt x="284846" y="180577"/>
                    </a:moveTo>
                    <a:lnTo>
                      <a:pt x="325391" y="180577"/>
                    </a:lnTo>
                    <a:lnTo>
                      <a:pt x="325391" y="257911"/>
                    </a:lnTo>
                    <a:cubicBezTo>
                      <a:pt x="340858" y="265407"/>
                      <a:pt x="351566" y="281129"/>
                      <a:pt x="351566" y="299503"/>
                    </a:cubicBezTo>
                    <a:cubicBezTo>
                      <a:pt x="351566" y="301514"/>
                      <a:pt x="351292" y="303525"/>
                      <a:pt x="351017" y="305445"/>
                    </a:cubicBezTo>
                    <a:lnTo>
                      <a:pt x="422405" y="352522"/>
                    </a:lnTo>
                    <a:cubicBezTo>
                      <a:pt x="413161" y="362486"/>
                      <a:pt x="406297" y="374552"/>
                      <a:pt x="402362" y="387898"/>
                    </a:cubicBezTo>
                    <a:lnTo>
                      <a:pt x="328686" y="339267"/>
                    </a:lnTo>
                    <a:cubicBezTo>
                      <a:pt x="321730" y="343380"/>
                      <a:pt x="313767" y="345940"/>
                      <a:pt x="305164" y="345940"/>
                    </a:cubicBezTo>
                    <a:cubicBezTo>
                      <a:pt x="292168" y="345940"/>
                      <a:pt x="280453" y="340547"/>
                      <a:pt x="272033" y="331954"/>
                    </a:cubicBezTo>
                    <a:lnTo>
                      <a:pt x="231305" y="345666"/>
                    </a:lnTo>
                    <a:cubicBezTo>
                      <a:pt x="220872" y="333051"/>
                      <a:pt x="206320" y="324093"/>
                      <a:pt x="189754" y="320710"/>
                    </a:cubicBezTo>
                    <a:cubicBezTo>
                      <a:pt x="189296" y="319522"/>
                      <a:pt x="188656" y="318517"/>
                      <a:pt x="188198" y="317420"/>
                    </a:cubicBezTo>
                    <a:lnTo>
                      <a:pt x="259220" y="293561"/>
                    </a:lnTo>
                    <a:cubicBezTo>
                      <a:pt x="261325" y="277747"/>
                      <a:pt x="271118" y="264584"/>
                      <a:pt x="284846" y="257911"/>
                    </a:cubicBezTo>
                    <a:close/>
                    <a:moveTo>
                      <a:pt x="296910" y="0"/>
                    </a:moveTo>
                    <a:cubicBezTo>
                      <a:pt x="330594" y="0"/>
                      <a:pt x="358512" y="24128"/>
                      <a:pt x="364553" y="56024"/>
                    </a:cubicBezTo>
                    <a:cubicBezTo>
                      <a:pt x="364919" y="56024"/>
                      <a:pt x="365377" y="55932"/>
                      <a:pt x="365743" y="55932"/>
                    </a:cubicBezTo>
                    <a:cubicBezTo>
                      <a:pt x="394667" y="55932"/>
                      <a:pt x="418100" y="79329"/>
                      <a:pt x="418100" y="108118"/>
                    </a:cubicBezTo>
                    <a:cubicBezTo>
                      <a:pt x="418100" y="136998"/>
                      <a:pt x="394667" y="160395"/>
                      <a:pt x="365743" y="160395"/>
                    </a:cubicBezTo>
                    <a:lnTo>
                      <a:pt x="225056" y="160395"/>
                    </a:lnTo>
                    <a:cubicBezTo>
                      <a:pt x="205468" y="159115"/>
                      <a:pt x="190456" y="142756"/>
                      <a:pt x="190456" y="122832"/>
                    </a:cubicBezTo>
                    <a:cubicBezTo>
                      <a:pt x="190456" y="102177"/>
                      <a:pt x="207298" y="85361"/>
                      <a:pt x="227985" y="85361"/>
                    </a:cubicBezTo>
                    <a:cubicBezTo>
                      <a:pt x="228717" y="85361"/>
                      <a:pt x="229449" y="85544"/>
                      <a:pt x="230182" y="85544"/>
                    </a:cubicBezTo>
                    <a:cubicBezTo>
                      <a:pt x="228809" y="80152"/>
                      <a:pt x="227985" y="74577"/>
                      <a:pt x="227985" y="68819"/>
                    </a:cubicBezTo>
                    <a:cubicBezTo>
                      <a:pt x="227985" y="30799"/>
                      <a:pt x="258832" y="0"/>
                      <a:pt x="29691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/>
              <p:cNvSpPr/>
              <p:nvPr/>
            </p:nvSpPr>
            <p:spPr>
              <a:xfrm>
                <a:off x="4183415" y="4153457"/>
                <a:ext cx="611754" cy="559220"/>
              </a:xfrm>
              <a:custGeom>
                <a:avLst/>
                <a:gdLst>
                  <a:gd name="connsiteX0" fmla="*/ 304348 w 608697"/>
                  <a:gd name="connsiteY0" fmla="*/ 180877 h 556426"/>
                  <a:gd name="connsiteX1" fmla="*/ 366093 w 608697"/>
                  <a:gd name="connsiteY1" fmla="*/ 242550 h 556426"/>
                  <a:gd name="connsiteX2" fmla="*/ 327540 w 608697"/>
                  <a:gd name="connsiteY2" fmla="*/ 299754 h 556426"/>
                  <a:gd name="connsiteX3" fmla="*/ 327540 w 608697"/>
                  <a:gd name="connsiteY3" fmla="*/ 556426 h 556426"/>
                  <a:gd name="connsiteX4" fmla="*/ 281157 w 608697"/>
                  <a:gd name="connsiteY4" fmla="*/ 556426 h 556426"/>
                  <a:gd name="connsiteX5" fmla="*/ 281157 w 608697"/>
                  <a:gd name="connsiteY5" fmla="*/ 299754 h 556426"/>
                  <a:gd name="connsiteX6" fmla="*/ 242604 w 608697"/>
                  <a:gd name="connsiteY6" fmla="*/ 242550 h 556426"/>
                  <a:gd name="connsiteX7" fmla="*/ 304348 w 608697"/>
                  <a:gd name="connsiteY7" fmla="*/ 180877 h 556426"/>
                  <a:gd name="connsiteX8" fmla="*/ 369923 w 608697"/>
                  <a:gd name="connsiteY8" fmla="*/ 79057 h 556426"/>
                  <a:gd name="connsiteX9" fmla="*/ 393558 w 608697"/>
                  <a:gd name="connsiteY9" fmla="*/ 80137 h 556426"/>
                  <a:gd name="connsiteX10" fmla="*/ 495934 w 608697"/>
                  <a:gd name="connsiteY10" fmla="*/ 240793 h 556426"/>
                  <a:gd name="connsiteX11" fmla="*/ 393558 w 608697"/>
                  <a:gd name="connsiteY11" fmla="*/ 401449 h 556426"/>
                  <a:gd name="connsiteX12" fmla="*/ 380426 w 608697"/>
                  <a:gd name="connsiteY12" fmla="*/ 404428 h 556426"/>
                  <a:gd name="connsiteX13" fmla="*/ 352444 w 608697"/>
                  <a:gd name="connsiteY13" fmla="*/ 386627 h 556426"/>
                  <a:gd name="connsiteX14" fmla="*/ 367293 w 608697"/>
                  <a:gd name="connsiteY14" fmla="*/ 345588 h 556426"/>
                  <a:gd name="connsiteX15" fmla="*/ 434150 w 608697"/>
                  <a:gd name="connsiteY15" fmla="*/ 240793 h 556426"/>
                  <a:gd name="connsiteX16" fmla="*/ 367293 w 608697"/>
                  <a:gd name="connsiteY16" fmla="*/ 135998 h 556426"/>
                  <a:gd name="connsiteX17" fmla="*/ 352444 w 608697"/>
                  <a:gd name="connsiteY17" fmla="*/ 94958 h 556426"/>
                  <a:gd name="connsiteX18" fmla="*/ 369923 w 608697"/>
                  <a:gd name="connsiteY18" fmla="*/ 79057 h 556426"/>
                  <a:gd name="connsiteX19" fmla="*/ 239303 w 608697"/>
                  <a:gd name="connsiteY19" fmla="*/ 78821 h 556426"/>
                  <a:gd name="connsiteX20" fmla="*/ 256752 w 608697"/>
                  <a:gd name="connsiteY20" fmla="*/ 94828 h 556426"/>
                  <a:gd name="connsiteX21" fmla="*/ 241682 w 608697"/>
                  <a:gd name="connsiteY21" fmla="*/ 135799 h 556426"/>
                  <a:gd name="connsiteX22" fmla="*/ 174536 w 608697"/>
                  <a:gd name="connsiteY22" fmla="*/ 240759 h 556426"/>
                  <a:gd name="connsiteX23" fmla="*/ 241682 w 608697"/>
                  <a:gd name="connsiteY23" fmla="*/ 345720 h 556426"/>
                  <a:gd name="connsiteX24" fmla="*/ 256752 w 608697"/>
                  <a:gd name="connsiteY24" fmla="*/ 386765 h 556426"/>
                  <a:gd name="connsiteX25" fmla="*/ 228700 w 608697"/>
                  <a:gd name="connsiteY25" fmla="*/ 404569 h 556426"/>
                  <a:gd name="connsiteX26" fmla="*/ 215644 w 608697"/>
                  <a:gd name="connsiteY26" fmla="*/ 401738 h 556426"/>
                  <a:gd name="connsiteX27" fmla="*/ 112763 w 608697"/>
                  <a:gd name="connsiteY27" fmla="*/ 240759 h 556426"/>
                  <a:gd name="connsiteX28" fmla="*/ 215644 w 608697"/>
                  <a:gd name="connsiteY28" fmla="*/ 79855 h 556426"/>
                  <a:gd name="connsiteX29" fmla="*/ 239303 w 608697"/>
                  <a:gd name="connsiteY29" fmla="*/ 78821 h 556426"/>
                  <a:gd name="connsiteX30" fmla="*/ 433751 w 608697"/>
                  <a:gd name="connsiteY30" fmla="*/ 2149 h 556426"/>
                  <a:gd name="connsiteX31" fmla="*/ 457409 w 608697"/>
                  <a:gd name="connsiteY31" fmla="*/ 3220 h 556426"/>
                  <a:gd name="connsiteX32" fmla="*/ 566548 w 608697"/>
                  <a:gd name="connsiteY32" fmla="*/ 98265 h 556426"/>
                  <a:gd name="connsiteX33" fmla="*/ 608697 w 608697"/>
                  <a:gd name="connsiteY33" fmla="*/ 240757 h 556426"/>
                  <a:gd name="connsiteX34" fmla="*/ 566548 w 608697"/>
                  <a:gd name="connsiteY34" fmla="*/ 383324 h 556426"/>
                  <a:gd name="connsiteX35" fmla="*/ 457409 w 608697"/>
                  <a:gd name="connsiteY35" fmla="*/ 478295 h 556426"/>
                  <a:gd name="connsiteX36" fmla="*/ 444279 w 608697"/>
                  <a:gd name="connsiteY36" fmla="*/ 481274 h 556426"/>
                  <a:gd name="connsiteX37" fmla="*/ 416304 w 608697"/>
                  <a:gd name="connsiteY37" fmla="*/ 463472 h 556426"/>
                  <a:gd name="connsiteX38" fmla="*/ 431150 w 608697"/>
                  <a:gd name="connsiteY38" fmla="*/ 422430 h 556426"/>
                  <a:gd name="connsiteX39" fmla="*/ 546928 w 608697"/>
                  <a:gd name="connsiteY39" fmla="*/ 240757 h 556426"/>
                  <a:gd name="connsiteX40" fmla="*/ 431150 w 608697"/>
                  <a:gd name="connsiteY40" fmla="*/ 59085 h 556426"/>
                  <a:gd name="connsiteX41" fmla="*/ 416304 w 608697"/>
                  <a:gd name="connsiteY41" fmla="*/ 18117 h 556426"/>
                  <a:gd name="connsiteX42" fmla="*/ 433751 w 608697"/>
                  <a:gd name="connsiteY42" fmla="*/ 2149 h 556426"/>
                  <a:gd name="connsiteX43" fmla="*/ 175731 w 608697"/>
                  <a:gd name="connsiteY43" fmla="*/ 1886 h 556426"/>
                  <a:gd name="connsiteX44" fmla="*/ 193175 w 608697"/>
                  <a:gd name="connsiteY44" fmla="*/ 17837 h 556426"/>
                  <a:gd name="connsiteX45" fmla="*/ 178109 w 608697"/>
                  <a:gd name="connsiteY45" fmla="*/ 58883 h 556426"/>
                  <a:gd name="connsiteX46" fmla="*/ 61756 w 608697"/>
                  <a:gd name="connsiteY46" fmla="*/ 240793 h 556426"/>
                  <a:gd name="connsiteX47" fmla="*/ 178109 w 608697"/>
                  <a:gd name="connsiteY47" fmla="*/ 422778 h 556426"/>
                  <a:gd name="connsiteX48" fmla="*/ 193175 w 608697"/>
                  <a:gd name="connsiteY48" fmla="*/ 463749 h 556426"/>
                  <a:gd name="connsiteX49" fmla="*/ 165131 w 608697"/>
                  <a:gd name="connsiteY49" fmla="*/ 481627 h 556426"/>
                  <a:gd name="connsiteX50" fmla="*/ 152079 w 608697"/>
                  <a:gd name="connsiteY50" fmla="*/ 478722 h 556426"/>
                  <a:gd name="connsiteX51" fmla="*/ 42439 w 608697"/>
                  <a:gd name="connsiteY51" fmla="*/ 383744 h 556426"/>
                  <a:gd name="connsiteX52" fmla="*/ 0 w 608697"/>
                  <a:gd name="connsiteY52" fmla="*/ 240793 h 556426"/>
                  <a:gd name="connsiteX53" fmla="*/ 42439 w 608697"/>
                  <a:gd name="connsiteY53" fmla="*/ 97917 h 556426"/>
                  <a:gd name="connsiteX54" fmla="*/ 152079 w 608697"/>
                  <a:gd name="connsiteY54" fmla="*/ 2864 h 556426"/>
                  <a:gd name="connsiteX55" fmla="*/ 175731 w 608697"/>
                  <a:gd name="connsiteY55" fmla="*/ 1886 h 556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608697" h="556426">
                    <a:moveTo>
                      <a:pt x="304348" y="180877"/>
                    </a:moveTo>
                    <a:cubicBezTo>
                      <a:pt x="338502" y="180877"/>
                      <a:pt x="366093" y="208436"/>
                      <a:pt x="366093" y="242550"/>
                    </a:cubicBezTo>
                    <a:cubicBezTo>
                      <a:pt x="366093" y="268470"/>
                      <a:pt x="350135" y="290592"/>
                      <a:pt x="327540" y="299754"/>
                    </a:cubicBezTo>
                    <a:lnTo>
                      <a:pt x="327540" y="556426"/>
                    </a:lnTo>
                    <a:lnTo>
                      <a:pt x="281157" y="556426"/>
                    </a:lnTo>
                    <a:lnTo>
                      <a:pt x="281157" y="299754"/>
                    </a:lnTo>
                    <a:cubicBezTo>
                      <a:pt x="258562" y="290592"/>
                      <a:pt x="242604" y="268470"/>
                      <a:pt x="242604" y="242550"/>
                    </a:cubicBezTo>
                    <a:cubicBezTo>
                      <a:pt x="242604" y="208436"/>
                      <a:pt x="270195" y="180877"/>
                      <a:pt x="304348" y="180877"/>
                    </a:cubicBezTo>
                    <a:close/>
                    <a:moveTo>
                      <a:pt x="369923" y="79057"/>
                    </a:moveTo>
                    <a:cubicBezTo>
                      <a:pt x="377366" y="76376"/>
                      <a:pt x="385835" y="76525"/>
                      <a:pt x="393558" y="80137"/>
                    </a:cubicBezTo>
                    <a:cubicBezTo>
                      <a:pt x="455790" y="109259"/>
                      <a:pt x="495934" y="172344"/>
                      <a:pt x="495934" y="240793"/>
                    </a:cubicBezTo>
                    <a:cubicBezTo>
                      <a:pt x="495934" y="309315"/>
                      <a:pt x="455790" y="372401"/>
                      <a:pt x="393558" y="401449"/>
                    </a:cubicBezTo>
                    <a:cubicBezTo>
                      <a:pt x="389305" y="403460"/>
                      <a:pt x="384828" y="404428"/>
                      <a:pt x="380426" y="404428"/>
                    </a:cubicBezTo>
                    <a:cubicBezTo>
                      <a:pt x="368860" y="404428"/>
                      <a:pt x="357742" y="397799"/>
                      <a:pt x="352444" y="386627"/>
                    </a:cubicBezTo>
                    <a:cubicBezTo>
                      <a:pt x="345206" y="371209"/>
                      <a:pt x="351847" y="352813"/>
                      <a:pt x="367293" y="345588"/>
                    </a:cubicBezTo>
                    <a:cubicBezTo>
                      <a:pt x="407885" y="326595"/>
                      <a:pt x="434150" y="285481"/>
                      <a:pt x="434150" y="240793"/>
                    </a:cubicBezTo>
                    <a:cubicBezTo>
                      <a:pt x="434150" y="196104"/>
                      <a:pt x="407885" y="154990"/>
                      <a:pt x="367293" y="135998"/>
                    </a:cubicBezTo>
                    <a:cubicBezTo>
                      <a:pt x="351847" y="128773"/>
                      <a:pt x="345206" y="110376"/>
                      <a:pt x="352444" y="94958"/>
                    </a:cubicBezTo>
                    <a:cubicBezTo>
                      <a:pt x="356063" y="87250"/>
                      <a:pt x="362480" y="81738"/>
                      <a:pt x="369923" y="79057"/>
                    </a:cubicBezTo>
                    <a:close/>
                    <a:moveTo>
                      <a:pt x="239303" y="78821"/>
                    </a:moveTo>
                    <a:cubicBezTo>
                      <a:pt x="246736" y="81531"/>
                      <a:pt x="253134" y="87081"/>
                      <a:pt x="256752" y="94828"/>
                    </a:cubicBezTo>
                    <a:cubicBezTo>
                      <a:pt x="263914" y="110248"/>
                      <a:pt x="257200" y="128648"/>
                      <a:pt x="241682" y="135799"/>
                    </a:cubicBezTo>
                    <a:cubicBezTo>
                      <a:pt x="200947" y="154720"/>
                      <a:pt x="174536" y="195915"/>
                      <a:pt x="174536" y="240759"/>
                    </a:cubicBezTo>
                    <a:cubicBezTo>
                      <a:pt x="174536" y="285604"/>
                      <a:pt x="200947" y="326873"/>
                      <a:pt x="241682" y="345720"/>
                    </a:cubicBezTo>
                    <a:cubicBezTo>
                      <a:pt x="257200" y="352945"/>
                      <a:pt x="263914" y="371271"/>
                      <a:pt x="256752" y="386765"/>
                    </a:cubicBezTo>
                    <a:cubicBezTo>
                      <a:pt x="251455" y="398014"/>
                      <a:pt x="240339" y="404569"/>
                      <a:pt x="228700" y="404569"/>
                    </a:cubicBezTo>
                    <a:cubicBezTo>
                      <a:pt x="224298" y="404569"/>
                      <a:pt x="219897" y="403675"/>
                      <a:pt x="215644" y="401738"/>
                    </a:cubicBezTo>
                    <a:cubicBezTo>
                      <a:pt x="153125" y="372761"/>
                      <a:pt x="112763" y="309516"/>
                      <a:pt x="112763" y="240759"/>
                    </a:cubicBezTo>
                    <a:cubicBezTo>
                      <a:pt x="112763" y="172002"/>
                      <a:pt x="153125" y="108833"/>
                      <a:pt x="215644" y="79855"/>
                    </a:cubicBezTo>
                    <a:cubicBezTo>
                      <a:pt x="223403" y="76242"/>
                      <a:pt x="231871" y="76112"/>
                      <a:pt x="239303" y="78821"/>
                    </a:cubicBezTo>
                    <a:close/>
                    <a:moveTo>
                      <a:pt x="433751" y="2149"/>
                    </a:moveTo>
                    <a:cubicBezTo>
                      <a:pt x="441183" y="-541"/>
                      <a:pt x="449650" y="-392"/>
                      <a:pt x="457409" y="3220"/>
                    </a:cubicBezTo>
                    <a:cubicBezTo>
                      <a:pt x="501945" y="24076"/>
                      <a:pt x="539692" y="56925"/>
                      <a:pt x="566548" y="98265"/>
                    </a:cubicBezTo>
                    <a:cubicBezTo>
                      <a:pt x="594150" y="140722"/>
                      <a:pt x="608697" y="189958"/>
                      <a:pt x="608697" y="240757"/>
                    </a:cubicBezTo>
                    <a:cubicBezTo>
                      <a:pt x="608697" y="291557"/>
                      <a:pt x="594150" y="340867"/>
                      <a:pt x="566548" y="383324"/>
                    </a:cubicBezTo>
                    <a:cubicBezTo>
                      <a:pt x="539692" y="424590"/>
                      <a:pt x="501945" y="457438"/>
                      <a:pt x="457409" y="478295"/>
                    </a:cubicBezTo>
                    <a:cubicBezTo>
                      <a:pt x="453156" y="480306"/>
                      <a:pt x="448680" y="481274"/>
                      <a:pt x="444279" y="481274"/>
                    </a:cubicBezTo>
                    <a:cubicBezTo>
                      <a:pt x="432642" y="481274"/>
                      <a:pt x="421526" y="474645"/>
                      <a:pt x="416304" y="463472"/>
                    </a:cubicBezTo>
                    <a:cubicBezTo>
                      <a:pt x="409068" y="448053"/>
                      <a:pt x="415707" y="429655"/>
                      <a:pt x="431150" y="422430"/>
                    </a:cubicBezTo>
                    <a:cubicBezTo>
                      <a:pt x="501497" y="389507"/>
                      <a:pt x="546928" y="318223"/>
                      <a:pt x="546928" y="240757"/>
                    </a:cubicBezTo>
                    <a:cubicBezTo>
                      <a:pt x="546928" y="163291"/>
                      <a:pt x="501497" y="92008"/>
                      <a:pt x="431150" y="59085"/>
                    </a:cubicBezTo>
                    <a:cubicBezTo>
                      <a:pt x="415707" y="51860"/>
                      <a:pt x="409068" y="33536"/>
                      <a:pt x="416304" y="18117"/>
                    </a:cubicBezTo>
                    <a:cubicBezTo>
                      <a:pt x="419922" y="10371"/>
                      <a:pt x="426319" y="4840"/>
                      <a:pt x="433751" y="2149"/>
                    </a:cubicBezTo>
                    <a:close/>
                    <a:moveTo>
                      <a:pt x="175731" y="1886"/>
                    </a:moveTo>
                    <a:cubicBezTo>
                      <a:pt x="183162" y="4596"/>
                      <a:pt x="189558" y="10127"/>
                      <a:pt x="193175" y="17837"/>
                    </a:cubicBezTo>
                    <a:cubicBezTo>
                      <a:pt x="200335" y="33332"/>
                      <a:pt x="193622" y="51657"/>
                      <a:pt x="178109" y="58883"/>
                    </a:cubicBezTo>
                    <a:cubicBezTo>
                      <a:pt x="107477" y="91659"/>
                      <a:pt x="61756" y="163097"/>
                      <a:pt x="61756" y="240793"/>
                    </a:cubicBezTo>
                    <a:cubicBezTo>
                      <a:pt x="61756" y="318563"/>
                      <a:pt x="107477" y="390001"/>
                      <a:pt x="178109" y="422778"/>
                    </a:cubicBezTo>
                    <a:cubicBezTo>
                      <a:pt x="193622" y="429929"/>
                      <a:pt x="200335" y="448329"/>
                      <a:pt x="193175" y="463749"/>
                    </a:cubicBezTo>
                    <a:cubicBezTo>
                      <a:pt x="187879" y="474997"/>
                      <a:pt x="176766" y="481627"/>
                      <a:pt x="165131" y="481627"/>
                    </a:cubicBezTo>
                    <a:cubicBezTo>
                      <a:pt x="160730" y="481627"/>
                      <a:pt x="156330" y="480659"/>
                      <a:pt x="152079" y="478722"/>
                    </a:cubicBezTo>
                    <a:cubicBezTo>
                      <a:pt x="107328" y="457938"/>
                      <a:pt x="69364" y="425087"/>
                      <a:pt x="42439" y="383744"/>
                    </a:cubicBezTo>
                    <a:cubicBezTo>
                      <a:pt x="14693" y="341209"/>
                      <a:pt x="0" y="291746"/>
                      <a:pt x="0" y="240793"/>
                    </a:cubicBezTo>
                    <a:cubicBezTo>
                      <a:pt x="0" y="189840"/>
                      <a:pt x="14693" y="140452"/>
                      <a:pt x="42439" y="97917"/>
                    </a:cubicBezTo>
                    <a:cubicBezTo>
                      <a:pt x="69364" y="56499"/>
                      <a:pt x="107328" y="23648"/>
                      <a:pt x="152079" y="2864"/>
                    </a:cubicBezTo>
                    <a:cubicBezTo>
                      <a:pt x="159835" y="-711"/>
                      <a:pt x="168301" y="-823"/>
                      <a:pt x="175731" y="1886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/>
              <p:cNvSpPr/>
              <p:nvPr/>
            </p:nvSpPr>
            <p:spPr>
              <a:xfrm>
                <a:off x="6749401" y="4354519"/>
                <a:ext cx="687776" cy="639512"/>
              </a:xfrm>
              <a:custGeom>
                <a:avLst/>
                <a:gdLst>
                  <a:gd name="T0" fmla="*/ 3685 w 4081"/>
                  <a:gd name="T1" fmla="*/ 0 h 3800"/>
                  <a:gd name="T2" fmla="*/ 396 w 4081"/>
                  <a:gd name="T3" fmla="*/ 0 h 3800"/>
                  <a:gd name="T4" fmla="*/ 0 w 4081"/>
                  <a:gd name="T5" fmla="*/ 396 h 3800"/>
                  <a:gd name="T6" fmla="*/ 0 w 4081"/>
                  <a:gd name="T7" fmla="*/ 2659 h 3800"/>
                  <a:gd name="T8" fmla="*/ 396 w 4081"/>
                  <a:gd name="T9" fmla="*/ 3055 h 3800"/>
                  <a:gd name="T10" fmla="*/ 1510 w 4081"/>
                  <a:gd name="T11" fmla="*/ 3055 h 3800"/>
                  <a:gd name="T12" fmla="*/ 1115 w 4081"/>
                  <a:gd name="T13" fmla="*/ 3671 h 3800"/>
                  <a:gd name="T14" fmla="*/ 1071 w 4081"/>
                  <a:gd name="T15" fmla="*/ 3745 h 3800"/>
                  <a:gd name="T16" fmla="*/ 1137 w 4081"/>
                  <a:gd name="T17" fmla="*/ 3800 h 3800"/>
                  <a:gd name="T18" fmla="*/ 2944 w 4081"/>
                  <a:gd name="T19" fmla="*/ 3800 h 3800"/>
                  <a:gd name="T20" fmla="*/ 3010 w 4081"/>
                  <a:gd name="T21" fmla="*/ 3745 h 3800"/>
                  <a:gd name="T22" fmla="*/ 2966 w 4081"/>
                  <a:gd name="T23" fmla="*/ 3671 h 3800"/>
                  <a:gd name="T24" fmla="*/ 2571 w 4081"/>
                  <a:gd name="T25" fmla="*/ 3055 h 3800"/>
                  <a:gd name="T26" fmla="*/ 3685 w 4081"/>
                  <a:gd name="T27" fmla="*/ 3055 h 3800"/>
                  <a:gd name="T28" fmla="*/ 4081 w 4081"/>
                  <a:gd name="T29" fmla="*/ 2659 h 3800"/>
                  <a:gd name="T30" fmla="*/ 4081 w 4081"/>
                  <a:gd name="T31" fmla="*/ 396 h 3800"/>
                  <a:gd name="T32" fmla="*/ 3685 w 4081"/>
                  <a:gd name="T33" fmla="*/ 0 h 3800"/>
                  <a:gd name="T34" fmla="*/ 2040 w 4081"/>
                  <a:gd name="T35" fmla="*/ 2764 h 3800"/>
                  <a:gd name="T36" fmla="*/ 1922 w 4081"/>
                  <a:gd name="T37" fmla="*/ 2646 h 3800"/>
                  <a:gd name="T38" fmla="*/ 2040 w 4081"/>
                  <a:gd name="T39" fmla="*/ 2528 h 3800"/>
                  <a:gd name="T40" fmla="*/ 2159 w 4081"/>
                  <a:gd name="T41" fmla="*/ 2646 h 3800"/>
                  <a:gd name="T42" fmla="*/ 2040 w 4081"/>
                  <a:gd name="T43" fmla="*/ 2764 h 3800"/>
                  <a:gd name="T44" fmla="*/ 3814 w 4081"/>
                  <a:gd name="T45" fmla="*/ 2315 h 3800"/>
                  <a:gd name="T46" fmla="*/ 267 w 4081"/>
                  <a:gd name="T47" fmla="*/ 2315 h 3800"/>
                  <a:gd name="T48" fmla="*/ 267 w 4081"/>
                  <a:gd name="T49" fmla="*/ 396 h 3800"/>
                  <a:gd name="T50" fmla="*/ 396 w 4081"/>
                  <a:gd name="T51" fmla="*/ 267 h 3800"/>
                  <a:gd name="T52" fmla="*/ 3685 w 4081"/>
                  <a:gd name="T53" fmla="*/ 267 h 3800"/>
                  <a:gd name="T54" fmla="*/ 3814 w 4081"/>
                  <a:gd name="T55" fmla="*/ 396 h 3800"/>
                  <a:gd name="T56" fmla="*/ 3814 w 4081"/>
                  <a:gd name="T57" fmla="*/ 2315 h 3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81" h="3800">
                    <a:moveTo>
                      <a:pt x="3685" y="0"/>
                    </a:moveTo>
                    <a:lnTo>
                      <a:pt x="396" y="0"/>
                    </a:lnTo>
                    <a:cubicBezTo>
                      <a:pt x="178" y="0"/>
                      <a:pt x="0" y="178"/>
                      <a:pt x="0" y="396"/>
                    </a:cubicBezTo>
                    <a:lnTo>
                      <a:pt x="0" y="2659"/>
                    </a:lnTo>
                    <a:cubicBezTo>
                      <a:pt x="0" y="2878"/>
                      <a:pt x="178" y="3055"/>
                      <a:pt x="396" y="3055"/>
                    </a:cubicBezTo>
                    <a:lnTo>
                      <a:pt x="1510" y="3055"/>
                    </a:lnTo>
                    <a:cubicBezTo>
                      <a:pt x="1511" y="3233"/>
                      <a:pt x="1463" y="3553"/>
                      <a:pt x="1115" y="3671"/>
                    </a:cubicBezTo>
                    <a:cubicBezTo>
                      <a:pt x="1084" y="3681"/>
                      <a:pt x="1066" y="3712"/>
                      <a:pt x="1071" y="3745"/>
                    </a:cubicBezTo>
                    <a:cubicBezTo>
                      <a:pt x="1076" y="3777"/>
                      <a:pt x="1104" y="3800"/>
                      <a:pt x="1137" y="3800"/>
                    </a:cubicBezTo>
                    <a:lnTo>
                      <a:pt x="2944" y="3800"/>
                    </a:lnTo>
                    <a:cubicBezTo>
                      <a:pt x="2977" y="3800"/>
                      <a:pt x="3005" y="3777"/>
                      <a:pt x="3010" y="3745"/>
                    </a:cubicBezTo>
                    <a:cubicBezTo>
                      <a:pt x="3015" y="3712"/>
                      <a:pt x="2997" y="3681"/>
                      <a:pt x="2966" y="3671"/>
                    </a:cubicBezTo>
                    <a:cubicBezTo>
                      <a:pt x="2618" y="3553"/>
                      <a:pt x="2570" y="3233"/>
                      <a:pt x="2571" y="3055"/>
                    </a:cubicBezTo>
                    <a:lnTo>
                      <a:pt x="3685" y="3055"/>
                    </a:lnTo>
                    <a:cubicBezTo>
                      <a:pt x="3903" y="3055"/>
                      <a:pt x="4081" y="2878"/>
                      <a:pt x="4081" y="2659"/>
                    </a:cubicBezTo>
                    <a:lnTo>
                      <a:pt x="4081" y="396"/>
                    </a:lnTo>
                    <a:cubicBezTo>
                      <a:pt x="4081" y="178"/>
                      <a:pt x="3903" y="0"/>
                      <a:pt x="3685" y="0"/>
                    </a:cubicBezTo>
                    <a:close/>
                    <a:moveTo>
                      <a:pt x="2040" y="2764"/>
                    </a:moveTo>
                    <a:cubicBezTo>
                      <a:pt x="1975" y="2764"/>
                      <a:pt x="1922" y="2711"/>
                      <a:pt x="1922" y="2646"/>
                    </a:cubicBezTo>
                    <a:cubicBezTo>
                      <a:pt x="1922" y="2581"/>
                      <a:pt x="1975" y="2528"/>
                      <a:pt x="2040" y="2528"/>
                    </a:cubicBezTo>
                    <a:cubicBezTo>
                      <a:pt x="2106" y="2528"/>
                      <a:pt x="2159" y="2581"/>
                      <a:pt x="2159" y="2646"/>
                    </a:cubicBezTo>
                    <a:cubicBezTo>
                      <a:pt x="2159" y="2711"/>
                      <a:pt x="2106" y="2764"/>
                      <a:pt x="2040" y="2764"/>
                    </a:cubicBezTo>
                    <a:close/>
                    <a:moveTo>
                      <a:pt x="3814" y="2315"/>
                    </a:moveTo>
                    <a:lnTo>
                      <a:pt x="267" y="2315"/>
                    </a:lnTo>
                    <a:lnTo>
                      <a:pt x="267" y="396"/>
                    </a:lnTo>
                    <a:cubicBezTo>
                      <a:pt x="267" y="325"/>
                      <a:pt x="325" y="267"/>
                      <a:pt x="396" y="267"/>
                    </a:cubicBezTo>
                    <a:lnTo>
                      <a:pt x="3685" y="267"/>
                    </a:lnTo>
                    <a:cubicBezTo>
                      <a:pt x="3756" y="267"/>
                      <a:pt x="3814" y="325"/>
                      <a:pt x="3814" y="396"/>
                    </a:cubicBezTo>
                    <a:lnTo>
                      <a:pt x="3814" y="2315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1663200" y="1606639"/>
              <a:ext cx="1768290" cy="1106279"/>
              <a:chOff x="933941" y="4305631"/>
              <a:chExt cx="1768290" cy="1106279"/>
            </a:xfrm>
          </p:grpSpPr>
          <p:sp>
            <p:nvSpPr>
              <p:cNvPr id="17" name="矩形 16"/>
              <p:cNvSpPr/>
              <p:nvPr/>
            </p:nvSpPr>
            <p:spPr bwMode="auto">
              <a:xfrm>
                <a:off x="933941" y="4715927"/>
                <a:ext cx="1768290" cy="6959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18" name="文本框 17"/>
              <p:cNvSpPr txBox="1"/>
              <p:nvPr/>
            </p:nvSpPr>
            <p:spPr bwMode="auto">
              <a:xfrm>
                <a:off x="933941" y="4305631"/>
                <a:ext cx="1768290" cy="4102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defTabSz="1219200">
                  <a:spcBef>
                    <a:spcPct val="0"/>
                  </a:spcBef>
                  <a:defRPr/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背景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1566431" y="3879928"/>
              <a:ext cx="1768290" cy="1106279"/>
              <a:chOff x="933941" y="4305631"/>
              <a:chExt cx="1768290" cy="1106279"/>
            </a:xfrm>
          </p:grpSpPr>
          <p:sp>
            <p:nvSpPr>
              <p:cNvPr id="15" name="矩形 14"/>
              <p:cNvSpPr/>
              <p:nvPr/>
            </p:nvSpPr>
            <p:spPr bwMode="auto">
              <a:xfrm>
                <a:off x="933941" y="4715927"/>
                <a:ext cx="1768290" cy="6959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16" name="文本框 15"/>
              <p:cNvSpPr txBox="1"/>
              <p:nvPr/>
            </p:nvSpPr>
            <p:spPr bwMode="auto">
              <a:xfrm>
                <a:off x="933941" y="4305631"/>
                <a:ext cx="1768290" cy="4102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defTabSz="1219200">
                  <a:spcBef>
                    <a:spcPct val="0"/>
                  </a:spcBef>
                  <a:defRPr/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背景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8216802" y="1714936"/>
              <a:ext cx="1768290" cy="1106279"/>
              <a:chOff x="933941" y="4305631"/>
              <a:chExt cx="1768290" cy="1106279"/>
            </a:xfrm>
          </p:grpSpPr>
          <p:sp>
            <p:nvSpPr>
              <p:cNvPr id="13" name="矩形 12"/>
              <p:cNvSpPr/>
              <p:nvPr/>
            </p:nvSpPr>
            <p:spPr bwMode="auto">
              <a:xfrm>
                <a:off x="933941" y="4715927"/>
                <a:ext cx="1768290" cy="6959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14" name="文本框 13"/>
              <p:cNvSpPr txBox="1"/>
              <p:nvPr/>
            </p:nvSpPr>
            <p:spPr bwMode="auto">
              <a:xfrm>
                <a:off x="933941" y="4305631"/>
                <a:ext cx="1768290" cy="4102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1219200">
                  <a:spcBef>
                    <a:spcPct val="0"/>
                  </a:spcBef>
                  <a:defRPr/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背景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8844580" y="4121136"/>
              <a:ext cx="1768290" cy="1106279"/>
              <a:chOff x="933941" y="4305631"/>
              <a:chExt cx="1768290" cy="1106279"/>
            </a:xfrm>
          </p:grpSpPr>
          <p:sp>
            <p:nvSpPr>
              <p:cNvPr id="11" name="矩形 10"/>
              <p:cNvSpPr/>
              <p:nvPr/>
            </p:nvSpPr>
            <p:spPr bwMode="auto">
              <a:xfrm>
                <a:off x="933941" y="4715927"/>
                <a:ext cx="1768290" cy="6959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12" name="文本框 11"/>
              <p:cNvSpPr txBox="1"/>
              <p:nvPr/>
            </p:nvSpPr>
            <p:spPr bwMode="auto">
              <a:xfrm>
                <a:off x="933941" y="4305631"/>
                <a:ext cx="1768290" cy="4102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1219200">
                  <a:spcBef>
                    <a:spcPct val="0"/>
                  </a:spcBef>
                  <a:defRPr/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背景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dk1">
                    <a:lumMod val="10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研究意义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938935" y="0"/>
            <a:ext cx="10301430" cy="6134101"/>
            <a:chOff x="938935" y="0"/>
            <a:chExt cx="10301430" cy="6134101"/>
          </a:xfrm>
        </p:grpSpPr>
        <p:grpSp>
          <p:nvGrpSpPr>
            <p:cNvPr id="6" name="组合 5"/>
            <p:cNvGrpSpPr/>
            <p:nvPr/>
          </p:nvGrpSpPr>
          <p:grpSpPr>
            <a:xfrm>
              <a:off x="4728696" y="0"/>
              <a:ext cx="2721908" cy="6134101"/>
              <a:chOff x="4728696" y="0"/>
              <a:chExt cx="2721908" cy="6134101"/>
            </a:xfrm>
          </p:grpSpPr>
          <p:cxnSp>
            <p:nvCxnSpPr>
              <p:cNvPr id="43" name="直接连接符 42"/>
              <p:cNvCxnSpPr/>
              <p:nvPr/>
            </p:nvCxnSpPr>
            <p:spPr>
              <a:xfrm>
                <a:off x="4728696" y="0"/>
                <a:ext cx="0" cy="4775200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/>
              <p:nvPr/>
            </p:nvCxnSpPr>
            <p:spPr>
              <a:xfrm>
                <a:off x="7450604" y="0"/>
                <a:ext cx="0" cy="4775200"/>
              </a:xfrm>
              <a:prstGeom prst="line">
                <a:avLst/>
              </a:prstGeom>
              <a:ln w="28575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弧形 44"/>
              <p:cNvSpPr/>
              <p:nvPr/>
            </p:nvSpPr>
            <p:spPr>
              <a:xfrm>
                <a:off x="4728701" y="3412203"/>
                <a:ext cx="2721898" cy="2721898"/>
              </a:xfrm>
              <a:prstGeom prst="arc">
                <a:avLst>
                  <a:gd name="adj1" fmla="val 21594248"/>
                  <a:gd name="adj2" fmla="val 10799999"/>
                </a:avLst>
              </a:prstGeom>
              <a:ln w="28575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938935" y="1265861"/>
              <a:ext cx="4014931" cy="1112947"/>
              <a:chOff x="934428" y="1265861"/>
              <a:chExt cx="4014931" cy="1112947"/>
            </a:xfrm>
          </p:grpSpPr>
          <p:sp>
            <p:nvSpPr>
              <p:cNvPr id="39" name="椭圆 38"/>
              <p:cNvSpPr/>
              <p:nvPr/>
            </p:nvSpPr>
            <p:spPr>
              <a:xfrm flipH="1">
                <a:off x="4508033" y="1601671"/>
                <a:ext cx="441326" cy="441326"/>
              </a:xfrm>
              <a:prstGeom prst="ellipse">
                <a:avLst/>
              </a:prstGeom>
              <a:solidFill>
                <a:schemeClr val="accent1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lnSpcReduction="10000"/>
              </a:bodyPr>
              <a:lstStyle/>
              <a:p>
                <a:pPr algn="ctr" defTabSz="914400"/>
                <a:r>
                  <a:rPr lang="en-US" altLang="zh-CN" sz="16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1</a:t>
                </a:r>
                <a:endParaRPr lang="zh-CN" altLang="en-US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40" name="组合 39"/>
              <p:cNvGrpSpPr/>
              <p:nvPr/>
            </p:nvGrpSpPr>
            <p:grpSpPr>
              <a:xfrm>
                <a:off x="934428" y="1265861"/>
                <a:ext cx="3436815" cy="1112947"/>
                <a:chOff x="1529244" y="2375297"/>
                <a:chExt cx="2254898" cy="1112947"/>
              </a:xfrm>
            </p:grpSpPr>
            <p:sp>
              <p:nvSpPr>
                <p:cNvPr id="41" name="矩形 40"/>
                <p:cNvSpPr/>
                <p:nvPr/>
              </p:nvSpPr>
              <p:spPr bwMode="auto">
                <a:xfrm>
                  <a:off x="1529244" y="2782606"/>
                  <a:ext cx="2254897" cy="705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algn="r"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 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文本框 41"/>
                <p:cNvSpPr txBox="1"/>
                <p:nvPr/>
              </p:nvSpPr>
              <p:spPr bwMode="auto">
                <a:xfrm>
                  <a:off x="1529244" y="2375297"/>
                  <a:ext cx="2254898" cy="40730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en-US" altLang="zh-CN" sz="14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cs typeface="+mn-ea"/>
                      <a:sym typeface="+mn-lt"/>
                    </a:rPr>
                    <a:t>意义</a:t>
                  </a:r>
                  <a:endParaRPr lang="en-US" altLang="zh-CN" sz="1400" b="1" dirty="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938935" y="2832662"/>
              <a:ext cx="4014931" cy="1112947"/>
              <a:chOff x="934428" y="1265861"/>
              <a:chExt cx="4014931" cy="1112947"/>
            </a:xfrm>
          </p:grpSpPr>
          <p:sp>
            <p:nvSpPr>
              <p:cNvPr id="35" name="椭圆 34"/>
              <p:cNvSpPr/>
              <p:nvPr/>
            </p:nvSpPr>
            <p:spPr>
              <a:xfrm flipH="1">
                <a:off x="4508033" y="1601671"/>
                <a:ext cx="441326" cy="441326"/>
              </a:xfrm>
              <a:prstGeom prst="ellipse">
                <a:avLst/>
              </a:prstGeom>
              <a:solidFill>
                <a:schemeClr val="accent1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lnSpcReduction="10000"/>
              </a:bodyPr>
              <a:lstStyle/>
              <a:p>
                <a:pPr algn="ctr" defTabSz="914400"/>
                <a:r>
                  <a:rPr lang="en-US" altLang="zh-CN" sz="16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2</a:t>
                </a:r>
                <a:endParaRPr lang="zh-CN" altLang="en-US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36" name="组合 35"/>
              <p:cNvGrpSpPr/>
              <p:nvPr/>
            </p:nvGrpSpPr>
            <p:grpSpPr>
              <a:xfrm>
                <a:off x="934428" y="1265861"/>
                <a:ext cx="3436815" cy="1112947"/>
                <a:chOff x="1529244" y="2375297"/>
                <a:chExt cx="2254898" cy="1112947"/>
              </a:xfrm>
            </p:grpSpPr>
            <p:sp>
              <p:nvSpPr>
                <p:cNvPr id="37" name="矩形 36"/>
                <p:cNvSpPr/>
                <p:nvPr/>
              </p:nvSpPr>
              <p:spPr bwMode="auto">
                <a:xfrm>
                  <a:off x="1529244" y="2782606"/>
                  <a:ext cx="2254897" cy="705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algn="r"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 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8" name="文本框 37"/>
                <p:cNvSpPr txBox="1"/>
                <p:nvPr/>
              </p:nvSpPr>
              <p:spPr bwMode="auto">
                <a:xfrm>
                  <a:off x="1529244" y="2375297"/>
                  <a:ext cx="2254898" cy="40730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en-US" altLang="zh-CN" sz="14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cs typeface="+mn-ea"/>
                      <a:sym typeface="+mn-lt"/>
                    </a:rPr>
                    <a:t>意义</a:t>
                  </a:r>
                  <a:endParaRPr lang="en-US" altLang="zh-CN" sz="1400" b="1" dirty="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/>
            <p:cNvGrpSpPr/>
            <p:nvPr/>
          </p:nvGrpSpPr>
          <p:grpSpPr>
            <a:xfrm>
              <a:off x="938935" y="4399464"/>
              <a:ext cx="4014931" cy="1112947"/>
              <a:chOff x="934428" y="1265861"/>
              <a:chExt cx="4014931" cy="1112947"/>
            </a:xfrm>
          </p:grpSpPr>
          <p:sp>
            <p:nvSpPr>
              <p:cNvPr id="31" name="椭圆 30"/>
              <p:cNvSpPr/>
              <p:nvPr/>
            </p:nvSpPr>
            <p:spPr>
              <a:xfrm flipH="1">
                <a:off x="4508033" y="1601671"/>
                <a:ext cx="441326" cy="441326"/>
              </a:xfrm>
              <a:prstGeom prst="ellipse">
                <a:avLst/>
              </a:prstGeom>
              <a:solidFill>
                <a:schemeClr val="accent1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lnSpcReduction="10000"/>
              </a:bodyPr>
              <a:lstStyle/>
              <a:p>
                <a:pPr algn="ctr" defTabSz="914400"/>
                <a:r>
                  <a:rPr lang="en-US" altLang="zh-CN" sz="16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3</a:t>
                </a:r>
                <a:endParaRPr lang="zh-CN" altLang="en-US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32" name="组合 31"/>
              <p:cNvGrpSpPr/>
              <p:nvPr/>
            </p:nvGrpSpPr>
            <p:grpSpPr>
              <a:xfrm>
                <a:off x="934428" y="1265861"/>
                <a:ext cx="3436815" cy="1112947"/>
                <a:chOff x="1529244" y="2375297"/>
                <a:chExt cx="2254898" cy="1112947"/>
              </a:xfrm>
            </p:grpSpPr>
            <p:sp>
              <p:nvSpPr>
                <p:cNvPr id="33" name="矩形 32"/>
                <p:cNvSpPr/>
                <p:nvPr/>
              </p:nvSpPr>
              <p:spPr bwMode="auto">
                <a:xfrm>
                  <a:off x="1529244" y="2782606"/>
                  <a:ext cx="2254897" cy="705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algn="r"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 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文本框 33"/>
                <p:cNvSpPr txBox="1"/>
                <p:nvPr/>
              </p:nvSpPr>
              <p:spPr bwMode="auto">
                <a:xfrm>
                  <a:off x="1529244" y="2375297"/>
                  <a:ext cx="2254898" cy="40730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en-US" altLang="zh-CN" sz="14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cs typeface="+mn-ea"/>
                      <a:sym typeface="+mn-lt"/>
                    </a:rPr>
                    <a:t>意义</a:t>
                  </a:r>
                  <a:endParaRPr lang="en-US" altLang="zh-CN" sz="1400" b="1" dirty="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0" name="组合 9"/>
            <p:cNvGrpSpPr/>
            <p:nvPr/>
          </p:nvGrpSpPr>
          <p:grpSpPr>
            <a:xfrm>
              <a:off x="7225434" y="1265861"/>
              <a:ext cx="4014931" cy="1112947"/>
              <a:chOff x="5981212" y="1661514"/>
              <a:chExt cx="4014931" cy="1112947"/>
            </a:xfrm>
          </p:grpSpPr>
          <p:sp>
            <p:nvSpPr>
              <p:cNvPr id="27" name="椭圆 26"/>
              <p:cNvSpPr/>
              <p:nvPr/>
            </p:nvSpPr>
            <p:spPr>
              <a:xfrm flipH="1">
                <a:off x="5981212" y="1997324"/>
                <a:ext cx="441326" cy="441326"/>
              </a:xfrm>
              <a:prstGeom prst="ellipse">
                <a:avLst/>
              </a:prstGeom>
              <a:solidFill>
                <a:schemeClr val="accent2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lnSpcReduction="10000"/>
              </a:bodyPr>
              <a:lstStyle/>
              <a:p>
                <a:pPr algn="ctr" defTabSz="914400"/>
                <a:r>
                  <a:rPr lang="en-US" altLang="zh-CN" sz="16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1</a:t>
                </a:r>
                <a:endParaRPr lang="zh-CN" altLang="en-US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8" name="组合 27"/>
              <p:cNvGrpSpPr/>
              <p:nvPr/>
            </p:nvGrpSpPr>
            <p:grpSpPr>
              <a:xfrm>
                <a:off x="6559328" y="1661514"/>
                <a:ext cx="3436815" cy="1112947"/>
                <a:chOff x="1529244" y="2375297"/>
                <a:chExt cx="2254898" cy="1112947"/>
              </a:xfrm>
            </p:grpSpPr>
            <p:sp>
              <p:nvSpPr>
                <p:cNvPr id="29" name="矩形 28"/>
                <p:cNvSpPr/>
                <p:nvPr/>
              </p:nvSpPr>
              <p:spPr bwMode="auto">
                <a:xfrm>
                  <a:off x="1529244" y="2782606"/>
                  <a:ext cx="2254897" cy="705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 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文本框 29"/>
                <p:cNvSpPr txBox="1"/>
                <p:nvPr/>
              </p:nvSpPr>
              <p:spPr bwMode="auto">
                <a:xfrm>
                  <a:off x="1529244" y="2375297"/>
                  <a:ext cx="2254898" cy="40730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4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cs typeface="+mn-ea"/>
                      <a:sym typeface="+mn-lt"/>
                    </a:rPr>
                    <a:t>意义</a:t>
                  </a:r>
                  <a:endParaRPr lang="en-US" altLang="zh-CN" sz="1400" b="1" dirty="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/>
            <p:cNvGrpSpPr/>
            <p:nvPr/>
          </p:nvGrpSpPr>
          <p:grpSpPr>
            <a:xfrm>
              <a:off x="7225434" y="2832662"/>
              <a:ext cx="4014931" cy="1112947"/>
              <a:chOff x="5981212" y="3228315"/>
              <a:chExt cx="4014931" cy="1112947"/>
            </a:xfrm>
          </p:grpSpPr>
          <p:sp>
            <p:nvSpPr>
              <p:cNvPr id="23" name="椭圆 22"/>
              <p:cNvSpPr/>
              <p:nvPr/>
            </p:nvSpPr>
            <p:spPr>
              <a:xfrm flipH="1">
                <a:off x="5981212" y="3564125"/>
                <a:ext cx="441326" cy="441326"/>
              </a:xfrm>
              <a:prstGeom prst="ellipse">
                <a:avLst/>
              </a:prstGeom>
              <a:solidFill>
                <a:schemeClr val="accent2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lnSpcReduction="10000"/>
              </a:bodyPr>
              <a:lstStyle/>
              <a:p>
                <a:pPr algn="ctr" defTabSz="914400"/>
                <a:r>
                  <a:rPr lang="en-US" altLang="zh-CN" sz="16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2</a:t>
                </a:r>
                <a:endParaRPr lang="zh-CN" altLang="en-US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4" name="组合 23"/>
              <p:cNvGrpSpPr/>
              <p:nvPr/>
            </p:nvGrpSpPr>
            <p:grpSpPr>
              <a:xfrm>
                <a:off x="6559328" y="3228315"/>
                <a:ext cx="3436815" cy="1112947"/>
                <a:chOff x="1529244" y="2375297"/>
                <a:chExt cx="2254898" cy="1112947"/>
              </a:xfrm>
            </p:grpSpPr>
            <p:sp>
              <p:nvSpPr>
                <p:cNvPr id="25" name="矩形 24"/>
                <p:cNvSpPr/>
                <p:nvPr/>
              </p:nvSpPr>
              <p:spPr bwMode="auto">
                <a:xfrm>
                  <a:off x="1529244" y="2782606"/>
                  <a:ext cx="2254897" cy="705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 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文本框 25"/>
                <p:cNvSpPr txBox="1"/>
                <p:nvPr/>
              </p:nvSpPr>
              <p:spPr bwMode="auto">
                <a:xfrm>
                  <a:off x="1529244" y="2375297"/>
                  <a:ext cx="2254898" cy="40730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4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cs typeface="+mn-ea"/>
                      <a:sym typeface="+mn-lt"/>
                    </a:rPr>
                    <a:t>意义</a:t>
                  </a:r>
                  <a:endParaRPr lang="en-US" altLang="zh-CN" sz="1400" b="1" dirty="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/>
            <p:cNvGrpSpPr/>
            <p:nvPr/>
          </p:nvGrpSpPr>
          <p:grpSpPr>
            <a:xfrm>
              <a:off x="7225434" y="4399464"/>
              <a:ext cx="4014931" cy="1112947"/>
              <a:chOff x="5981212" y="4795117"/>
              <a:chExt cx="4014931" cy="1112947"/>
            </a:xfrm>
          </p:grpSpPr>
          <p:sp>
            <p:nvSpPr>
              <p:cNvPr id="19" name="椭圆 18"/>
              <p:cNvSpPr/>
              <p:nvPr/>
            </p:nvSpPr>
            <p:spPr>
              <a:xfrm flipH="1">
                <a:off x="5981212" y="5130927"/>
                <a:ext cx="441326" cy="441326"/>
              </a:xfrm>
              <a:prstGeom prst="ellipse">
                <a:avLst/>
              </a:prstGeom>
              <a:solidFill>
                <a:schemeClr val="accent2"/>
              </a:solidFill>
              <a:ln w="1905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lnSpcReduction="10000"/>
              </a:bodyPr>
              <a:lstStyle/>
              <a:p>
                <a:pPr algn="ctr" defTabSz="914400"/>
                <a:r>
                  <a:rPr lang="en-US" altLang="zh-CN" sz="16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3</a:t>
                </a:r>
                <a:endParaRPr lang="zh-CN" altLang="en-US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0" name="组合 19"/>
              <p:cNvGrpSpPr/>
              <p:nvPr/>
            </p:nvGrpSpPr>
            <p:grpSpPr>
              <a:xfrm>
                <a:off x="6559328" y="4795117"/>
                <a:ext cx="3436815" cy="1112947"/>
                <a:chOff x="1529244" y="2375297"/>
                <a:chExt cx="2254898" cy="1112947"/>
              </a:xfrm>
            </p:grpSpPr>
            <p:sp>
              <p:nvSpPr>
                <p:cNvPr id="21" name="矩形 20"/>
                <p:cNvSpPr/>
                <p:nvPr/>
              </p:nvSpPr>
              <p:spPr bwMode="auto">
                <a:xfrm>
                  <a:off x="1529244" y="2782606"/>
                  <a:ext cx="2254897" cy="705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defTabSz="914400"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 …</a:t>
                  </a:r>
                  <a:endParaRPr lang="en-US" altLang="zh-CN" sz="11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文本框 21"/>
                <p:cNvSpPr txBox="1"/>
                <p:nvPr/>
              </p:nvSpPr>
              <p:spPr bwMode="auto">
                <a:xfrm>
                  <a:off x="1529244" y="2375297"/>
                  <a:ext cx="2254898" cy="407308"/>
                </a:xfrm>
                <a:prstGeom prst="rect">
                  <a:avLst/>
                </a:prstGeom>
                <a:noFill/>
                <a:ln w="9525">
                  <a:noFill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4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400" b="1" dirty="0">
                      <a:cs typeface="+mn-ea"/>
                      <a:sym typeface="+mn-lt"/>
                    </a:rPr>
                    <a:t>意义</a:t>
                  </a:r>
                  <a:endParaRPr lang="en-US" altLang="zh-CN" sz="1400" b="1" dirty="0">
                    <a:cs typeface="+mn-ea"/>
                    <a:sym typeface="+mn-lt"/>
                  </a:endParaRPr>
                </a:p>
              </p:txBody>
            </p:sp>
          </p:grpSp>
        </p:grpSp>
        <p:cxnSp>
          <p:nvCxnSpPr>
            <p:cNvPr id="13" name="直接连接符 12"/>
            <p:cNvCxnSpPr>
              <a:stCxn id="39" idx="2"/>
              <a:endCxn id="27" idx="6"/>
            </p:cNvCxnSpPr>
            <p:nvPr/>
          </p:nvCxnSpPr>
          <p:spPr>
            <a:xfrm>
              <a:off x="4953866" y="1822334"/>
              <a:ext cx="2271568" cy="0"/>
            </a:xfrm>
            <a:prstGeom prst="line">
              <a:avLst/>
            </a:prstGeom>
            <a:ln w="3175" cap="rnd">
              <a:solidFill>
                <a:schemeClr val="tx1">
                  <a:lumMod val="50000"/>
                  <a:lumOff val="50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>
              <a:stCxn id="35" idx="2"/>
              <a:endCxn id="23" idx="6"/>
            </p:cNvCxnSpPr>
            <p:nvPr/>
          </p:nvCxnSpPr>
          <p:spPr>
            <a:xfrm>
              <a:off x="4953866" y="3389135"/>
              <a:ext cx="2271568" cy="0"/>
            </a:xfrm>
            <a:prstGeom prst="line">
              <a:avLst/>
            </a:prstGeom>
            <a:ln w="3175" cap="rnd">
              <a:solidFill>
                <a:schemeClr val="tx1">
                  <a:lumMod val="50000"/>
                  <a:lumOff val="50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>
              <a:stCxn id="31" idx="2"/>
              <a:endCxn id="19" idx="6"/>
            </p:cNvCxnSpPr>
            <p:nvPr/>
          </p:nvCxnSpPr>
          <p:spPr>
            <a:xfrm>
              <a:off x="4953866" y="4955937"/>
              <a:ext cx="2271568" cy="0"/>
            </a:xfrm>
            <a:prstGeom prst="line">
              <a:avLst/>
            </a:prstGeom>
            <a:ln w="3175" cap="rnd">
              <a:solidFill>
                <a:schemeClr val="tx1">
                  <a:lumMod val="50000"/>
                  <a:lumOff val="50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椭圆 15"/>
            <p:cNvSpPr/>
            <p:nvPr/>
          </p:nvSpPr>
          <p:spPr>
            <a:xfrm>
              <a:off x="5497146" y="1229830"/>
              <a:ext cx="1185008" cy="1185008"/>
            </a:xfrm>
            <a:prstGeom prst="ellipse">
              <a:avLst/>
            </a:prstGeom>
            <a:blipFill>
              <a:blip r:embed="rId1"/>
              <a:stretch>
                <a:fillRect l="-25268" r="-24732"/>
              </a:stretch>
            </a:blipFill>
            <a:ln w="190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椭圆 16"/>
            <p:cNvSpPr/>
            <p:nvPr/>
          </p:nvSpPr>
          <p:spPr>
            <a:xfrm>
              <a:off x="5497146" y="2796631"/>
              <a:ext cx="1185008" cy="1185008"/>
            </a:xfrm>
            <a:prstGeom prst="ellipse">
              <a:avLst/>
            </a:prstGeom>
            <a:blipFill>
              <a:blip r:embed="rId2"/>
              <a:stretch>
                <a:fillRect l="-22363" r="-21889"/>
              </a:stretch>
            </a:blipFill>
            <a:ln w="190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椭圆 17"/>
            <p:cNvSpPr/>
            <p:nvPr/>
          </p:nvSpPr>
          <p:spPr>
            <a:xfrm>
              <a:off x="5497146" y="4363432"/>
              <a:ext cx="1185008" cy="1185008"/>
            </a:xfrm>
            <a:prstGeom prst="ellipse">
              <a:avLst/>
            </a:prstGeom>
            <a:blipFill>
              <a:blip r:embed="rId3"/>
              <a:stretch>
                <a:fillRect l="-25268" r="-24732"/>
              </a:stretch>
            </a:blipFill>
            <a:ln w="190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综述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1130300"/>
            <a:ext cx="12192000" cy="5003800"/>
            <a:chOff x="0" y="1130300"/>
            <a:chExt cx="12192000" cy="5003800"/>
          </a:xfrm>
        </p:grpSpPr>
        <p:sp>
          <p:nvSpPr>
            <p:cNvPr id="6" name="矩形 5"/>
            <p:cNvSpPr/>
            <p:nvPr/>
          </p:nvSpPr>
          <p:spPr>
            <a:xfrm>
              <a:off x="0" y="3281262"/>
              <a:ext cx="12192000" cy="12057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4462448" y="2056311"/>
              <a:ext cx="3254404" cy="3655634"/>
              <a:chOff x="4188982" y="1497202"/>
              <a:chExt cx="3801336" cy="4269996"/>
            </a:xfrm>
          </p:grpSpPr>
          <p:sp>
            <p:nvSpPr>
              <p:cNvPr id="17" name="任意多边形: 形状 16"/>
              <p:cNvSpPr/>
              <p:nvPr/>
            </p:nvSpPr>
            <p:spPr bwMode="auto">
              <a:xfrm>
                <a:off x="4188982" y="1497202"/>
                <a:ext cx="3801336" cy="4269996"/>
              </a:xfrm>
              <a:custGeom>
                <a:avLst/>
                <a:gdLst>
                  <a:gd name="T0" fmla="*/ 1488 w 1488"/>
                  <a:gd name="T1" fmla="*/ 498 h 1680"/>
                  <a:gd name="T2" fmla="*/ 1413 w 1488"/>
                  <a:gd name="T3" fmla="*/ 366 h 1680"/>
                  <a:gd name="T4" fmla="*/ 820 w 1488"/>
                  <a:gd name="T5" fmla="*/ 24 h 1680"/>
                  <a:gd name="T6" fmla="*/ 669 w 1488"/>
                  <a:gd name="T7" fmla="*/ 24 h 1680"/>
                  <a:gd name="T8" fmla="*/ 76 w 1488"/>
                  <a:gd name="T9" fmla="*/ 366 h 1680"/>
                  <a:gd name="T10" fmla="*/ 0 w 1488"/>
                  <a:gd name="T11" fmla="*/ 498 h 1680"/>
                  <a:gd name="T12" fmla="*/ 0 w 1488"/>
                  <a:gd name="T13" fmla="*/ 1182 h 1680"/>
                  <a:gd name="T14" fmla="*/ 76 w 1488"/>
                  <a:gd name="T15" fmla="*/ 1314 h 1680"/>
                  <a:gd name="T16" fmla="*/ 669 w 1488"/>
                  <a:gd name="T17" fmla="*/ 1656 h 1680"/>
                  <a:gd name="T18" fmla="*/ 820 w 1488"/>
                  <a:gd name="T19" fmla="*/ 1656 h 1680"/>
                  <a:gd name="T20" fmla="*/ 1413 w 1488"/>
                  <a:gd name="T21" fmla="*/ 1314 h 1680"/>
                  <a:gd name="T22" fmla="*/ 1488 w 1488"/>
                  <a:gd name="T23" fmla="*/ 1182 h 1680"/>
                  <a:gd name="T24" fmla="*/ 1488 w 1488"/>
                  <a:gd name="T25" fmla="*/ 498 h 1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8" h="1680">
                    <a:moveTo>
                      <a:pt x="1488" y="498"/>
                    </a:moveTo>
                    <a:cubicBezTo>
                      <a:pt x="1488" y="450"/>
                      <a:pt x="1454" y="390"/>
                      <a:pt x="1413" y="366"/>
                    </a:cubicBezTo>
                    <a:cubicBezTo>
                      <a:pt x="820" y="24"/>
                      <a:pt x="820" y="24"/>
                      <a:pt x="820" y="24"/>
                    </a:cubicBezTo>
                    <a:cubicBezTo>
                      <a:pt x="779" y="0"/>
                      <a:pt x="710" y="0"/>
                      <a:pt x="669" y="24"/>
                    </a:cubicBezTo>
                    <a:cubicBezTo>
                      <a:pt x="76" y="366"/>
                      <a:pt x="76" y="366"/>
                      <a:pt x="76" y="366"/>
                    </a:cubicBezTo>
                    <a:cubicBezTo>
                      <a:pt x="35" y="390"/>
                      <a:pt x="0" y="450"/>
                      <a:pt x="0" y="498"/>
                    </a:cubicBezTo>
                    <a:cubicBezTo>
                      <a:pt x="0" y="1182"/>
                      <a:pt x="0" y="1182"/>
                      <a:pt x="0" y="1182"/>
                    </a:cubicBezTo>
                    <a:cubicBezTo>
                      <a:pt x="0" y="1231"/>
                      <a:pt x="35" y="1289"/>
                      <a:pt x="76" y="1314"/>
                    </a:cubicBezTo>
                    <a:cubicBezTo>
                      <a:pt x="669" y="1656"/>
                      <a:pt x="669" y="1656"/>
                      <a:pt x="669" y="1656"/>
                    </a:cubicBezTo>
                    <a:cubicBezTo>
                      <a:pt x="710" y="1680"/>
                      <a:pt x="779" y="1680"/>
                      <a:pt x="820" y="1656"/>
                    </a:cubicBezTo>
                    <a:cubicBezTo>
                      <a:pt x="1413" y="1314"/>
                      <a:pt x="1413" y="1314"/>
                      <a:pt x="1413" y="1314"/>
                    </a:cubicBezTo>
                    <a:cubicBezTo>
                      <a:pt x="1454" y="1289"/>
                      <a:pt x="1488" y="1231"/>
                      <a:pt x="1488" y="1182"/>
                    </a:cubicBezTo>
                    <a:lnTo>
                      <a:pt x="1488" y="498"/>
                    </a:lnTo>
                    <a:close/>
                  </a:path>
                </a:pathLst>
              </a:custGeom>
              <a:blipFill>
                <a:blip r:embed="rId1"/>
                <a:stretch>
                  <a:fillRect l="-28940" t="-360" r="-28716" b="-360"/>
                </a:stretch>
              </a:blipFill>
              <a:ln w="38100">
                <a:solidFill>
                  <a:schemeClr val="bg1"/>
                </a:solidFill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任意多边形: 形状 17"/>
              <p:cNvSpPr/>
              <p:nvPr/>
            </p:nvSpPr>
            <p:spPr bwMode="auto">
              <a:xfrm>
                <a:off x="5154657" y="2581934"/>
                <a:ext cx="1869986" cy="2100532"/>
              </a:xfrm>
              <a:custGeom>
                <a:avLst/>
                <a:gdLst>
                  <a:gd name="T0" fmla="*/ 1488 w 1488"/>
                  <a:gd name="T1" fmla="*/ 498 h 1680"/>
                  <a:gd name="T2" fmla="*/ 1413 w 1488"/>
                  <a:gd name="T3" fmla="*/ 366 h 1680"/>
                  <a:gd name="T4" fmla="*/ 820 w 1488"/>
                  <a:gd name="T5" fmla="*/ 24 h 1680"/>
                  <a:gd name="T6" fmla="*/ 669 w 1488"/>
                  <a:gd name="T7" fmla="*/ 24 h 1680"/>
                  <a:gd name="T8" fmla="*/ 76 w 1488"/>
                  <a:gd name="T9" fmla="*/ 366 h 1680"/>
                  <a:gd name="T10" fmla="*/ 0 w 1488"/>
                  <a:gd name="T11" fmla="*/ 498 h 1680"/>
                  <a:gd name="T12" fmla="*/ 0 w 1488"/>
                  <a:gd name="T13" fmla="*/ 1182 h 1680"/>
                  <a:gd name="T14" fmla="*/ 76 w 1488"/>
                  <a:gd name="T15" fmla="*/ 1314 h 1680"/>
                  <a:gd name="T16" fmla="*/ 669 w 1488"/>
                  <a:gd name="T17" fmla="*/ 1656 h 1680"/>
                  <a:gd name="T18" fmla="*/ 820 w 1488"/>
                  <a:gd name="T19" fmla="*/ 1656 h 1680"/>
                  <a:gd name="T20" fmla="*/ 1413 w 1488"/>
                  <a:gd name="T21" fmla="*/ 1314 h 1680"/>
                  <a:gd name="T22" fmla="*/ 1488 w 1488"/>
                  <a:gd name="T23" fmla="*/ 1182 h 1680"/>
                  <a:gd name="T24" fmla="*/ 1488 w 1488"/>
                  <a:gd name="T25" fmla="*/ 498 h 1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8" h="1680">
                    <a:moveTo>
                      <a:pt x="1488" y="498"/>
                    </a:moveTo>
                    <a:cubicBezTo>
                      <a:pt x="1488" y="450"/>
                      <a:pt x="1454" y="390"/>
                      <a:pt x="1413" y="366"/>
                    </a:cubicBezTo>
                    <a:cubicBezTo>
                      <a:pt x="820" y="24"/>
                      <a:pt x="820" y="24"/>
                      <a:pt x="820" y="24"/>
                    </a:cubicBezTo>
                    <a:cubicBezTo>
                      <a:pt x="779" y="0"/>
                      <a:pt x="710" y="0"/>
                      <a:pt x="669" y="24"/>
                    </a:cubicBezTo>
                    <a:cubicBezTo>
                      <a:pt x="76" y="366"/>
                      <a:pt x="76" y="366"/>
                      <a:pt x="76" y="366"/>
                    </a:cubicBezTo>
                    <a:cubicBezTo>
                      <a:pt x="35" y="390"/>
                      <a:pt x="0" y="450"/>
                      <a:pt x="0" y="498"/>
                    </a:cubicBezTo>
                    <a:cubicBezTo>
                      <a:pt x="0" y="1182"/>
                      <a:pt x="0" y="1182"/>
                      <a:pt x="0" y="1182"/>
                    </a:cubicBezTo>
                    <a:cubicBezTo>
                      <a:pt x="0" y="1231"/>
                      <a:pt x="35" y="1289"/>
                      <a:pt x="76" y="1314"/>
                    </a:cubicBezTo>
                    <a:cubicBezTo>
                      <a:pt x="669" y="1656"/>
                      <a:pt x="669" y="1656"/>
                      <a:pt x="669" y="1656"/>
                    </a:cubicBezTo>
                    <a:cubicBezTo>
                      <a:pt x="710" y="1680"/>
                      <a:pt x="779" y="1680"/>
                      <a:pt x="820" y="1656"/>
                    </a:cubicBezTo>
                    <a:cubicBezTo>
                      <a:pt x="1413" y="1314"/>
                      <a:pt x="1413" y="1314"/>
                      <a:pt x="1413" y="1314"/>
                    </a:cubicBezTo>
                    <a:cubicBezTo>
                      <a:pt x="1454" y="1289"/>
                      <a:pt x="1488" y="1231"/>
                      <a:pt x="1488" y="1182"/>
                    </a:cubicBezTo>
                    <a:lnTo>
                      <a:pt x="1488" y="498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9" name="任意多边形: 形状 18"/>
              <p:cNvSpPr/>
              <p:nvPr/>
            </p:nvSpPr>
            <p:spPr bwMode="auto">
              <a:xfrm>
                <a:off x="5617704" y="3205148"/>
                <a:ext cx="943892" cy="854104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  <a:gd name="connsiteX59" fmla="*/ 373273 h 605239"/>
                  <a:gd name="connsiteY59" fmla="*/ 373273 h 605239"/>
                  <a:gd name="connsiteX60" fmla="*/ 373273 h 605239"/>
                  <a:gd name="connsiteY60" fmla="*/ 373273 h 605239"/>
                  <a:gd name="connsiteX61" fmla="*/ 373273 h 605239"/>
                  <a:gd name="connsiteY61" fmla="*/ 373273 h 605239"/>
                  <a:gd name="connsiteX62" fmla="*/ 373273 h 605239"/>
                  <a:gd name="connsiteY62" fmla="*/ 373273 h 605239"/>
                  <a:gd name="connsiteX63" fmla="*/ 373273 h 605239"/>
                  <a:gd name="connsiteY63" fmla="*/ 373273 h 605239"/>
                  <a:gd name="connsiteX64" fmla="*/ 373273 h 605239"/>
                  <a:gd name="connsiteY64" fmla="*/ 373273 h 605239"/>
                  <a:gd name="connsiteX65" fmla="*/ 373273 h 605239"/>
                  <a:gd name="connsiteY65" fmla="*/ 373273 h 605239"/>
                  <a:gd name="connsiteX66" fmla="*/ 373273 h 605239"/>
                  <a:gd name="connsiteY66" fmla="*/ 373273 h 605239"/>
                  <a:gd name="connsiteX67" fmla="*/ 373273 h 605239"/>
                  <a:gd name="connsiteY67" fmla="*/ 373273 h 605239"/>
                  <a:gd name="connsiteX68" fmla="*/ 373273 h 605239"/>
                  <a:gd name="connsiteY68" fmla="*/ 373273 h 605239"/>
                  <a:gd name="connsiteX69" fmla="*/ 373273 h 605239"/>
                  <a:gd name="connsiteY69" fmla="*/ 373273 h 605239"/>
                  <a:gd name="connsiteX70" fmla="*/ 373273 h 605239"/>
                  <a:gd name="connsiteY70" fmla="*/ 373273 h 605239"/>
                  <a:gd name="connsiteX71" fmla="*/ 373273 h 605239"/>
                  <a:gd name="connsiteY71" fmla="*/ 373273 h 605239"/>
                  <a:gd name="connsiteX72" fmla="*/ 373273 h 605239"/>
                  <a:gd name="connsiteY72" fmla="*/ 373273 h 605239"/>
                  <a:gd name="connsiteX73" fmla="*/ 373273 h 605239"/>
                  <a:gd name="connsiteY73" fmla="*/ 373273 h 605239"/>
                  <a:gd name="connsiteX74" fmla="*/ 373273 h 605239"/>
                  <a:gd name="connsiteY74" fmla="*/ 373273 h 605239"/>
                  <a:gd name="connsiteX75" fmla="*/ 373273 h 605239"/>
                  <a:gd name="connsiteY75" fmla="*/ 373273 h 605239"/>
                  <a:gd name="connsiteX76" fmla="*/ 373273 h 605239"/>
                  <a:gd name="connsiteY76" fmla="*/ 373273 h 605239"/>
                  <a:gd name="connsiteX77" fmla="*/ 373273 h 605239"/>
                  <a:gd name="connsiteY77" fmla="*/ 373273 h 605239"/>
                  <a:gd name="connsiteX78" fmla="*/ 373273 h 605239"/>
                  <a:gd name="connsiteY78" fmla="*/ 373273 h 605239"/>
                  <a:gd name="connsiteX79" fmla="*/ 373273 h 605239"/>
                  <a:gd name="connsiteY79" fmla="*/ 373273 h 605239"/>
                  <a:gd name="connsiteX80" fmla="*/ 373273 h 605239"/>
                  <a:gd name="connsiteY80" fmla="*/ 373273 h 605239"/>
                  <a:gd name="connsiteX81" fmla="*/ 373273 h 605239"/>
                  <a:gd name="connsiteY81" fmla="*/ 373273 h 605239"/>
                  <a:gd name="connsiteX82" fmla="*/ 373273 h 605239"/>
                  <a:gd name="connsiteY82" fmla="*/ 373273 h 605239"/>
                  <a:gd name="connsiteX83" fmla="*/ 373273 h 605239"/>
                  <a:gd name="connsiteY83" fmla="*/ 373273 h 605239"/>
                  <a:gd name="connsiteX84" fmla="*/ 373273 h 605239"/>
                  <a:gd name="connsiteY84" fmla="*/ 373273 h 605239"/>
                  <a:gd name="connsiteX85" fmla="*/ 373273 h 605239"/>
                  <a:gd name="connsiteY85" fmla="*/ 373273 h 605239"/>
                  <a:gd name="connsiteX86" fmla="*/ 373273 h 605239"/>
                  <a:gd name="connsiteY86" fmla="*/ 373273 h 605239"/>
                  <a:gd name="connsiteX87" fmla="*/ 373273 h 605239"/>
                  <a:gd name="connsiteY87" fmla="*/ 373273 h 605239"/>
                  <a:gd name="connsiteX88" fmla="*/ 373273 h 605239"/>
                  <a:gd name="connsiteY88" fmla="*/ 373273 h 605239"/>
                  <a:gd name="connsiteX89" fmla="*/ 373273 h 605239"/>
                  <a:gd name="connsiteY89" fmla="*/ 373273 h 605239"/>
                  <a:gd name="connsiteX90" fmla="*/ 373273 h 605239"/>
                  <a:gd name="connsiteY90" fmla="*/ 373273 h 605239"/>
                  <a:gd name="connsiteX91" fmla="*/ 373273 h 605239"/>
                  <a:gd name="connsiteY91" fmla="*/ 373273 h 605239"/>
                  <a:gd name="connsiteX92" fmla="*/ 373273 h 605239"/>
                  <a:gd name="connsiteY92" fmla="*/ 373273 h 605239"/>
                  <a:gd name="connsiteX93" fmla="*/ 373273 h 605239"/>
                  <a:gd name="connsiteY93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608039" h="550199">
                    <a:moveTo>
                      <a:pt x="461128" y="431155"/>
                    </a:moveTo>
                    <a:lnTo>
                      <a:pt x="501529" y="431155"/>
                    </a:lnTo>
                    <a:lnTo>
                      <a:pt x="534583" y="431155"/>
                    </a:lnTo>
                    <a:lnTo>
                      <a:pt x="574984" y="431155"/>
                    </a:lnTo>
                    <a:cubicBezTo>
                      <a:pt x="593159" y="431155"/>
                      <a:pt x="608133" y="446024"/>
                      <a:pt x="608039" y="464280"/>
                    </a:cubicBezTo>
                    <a:lnTo>
                      <a:pt x="608039" y="517074"/>
                    </a:lnTo>
                    <a:cubicBezTo>
                      <a:pt x="608039" y="535236"/>
                      <a:pt x="593065" y="550199"/>
                      <a:pt x="574890" y="550199"/>
                    </a:cubicBezTo>
                    <a:lnTo>
                      <a:pt x="461128" y="550199"/>
                    </a:lnTo>
                    <a:cubicBezTo>
                      <a:pt x="442858" y="550199"/>
                      <a:pt x="427979" y="535236"/>
                      <a:pt x="427979" y="517074"/>
                    </a:cubicBezTo>
                    <a:lnTo>
                      <a:pt x="427979" y="464280"/>
                    </a:lnTo>
                    <a:cubicBezTo>
                      <a:pt x="427979" y="446024"/>
                      <a:pt x="442858" y="431155"/>
                      <a:pt x="461128" y="431155"/>
                    </a:cubicBezTo>
                    <a:close/>
                    <a:moveTo>
                      <a:pt x="247103" y="431155"/>
                    </a:moveTo>
                    <a:lnTo>
                      <a:pt x="287504" y="431155"/>
                    </a:lnTo>
                    <a:lnTo>
                      <a:pt x="320558" y="431155"/>
                    </a:lnTo>
                    <a:lnTo>
                      <a:pt x="360959" y="431155"/>
                    </a:lnTo>
                    <a:cubicBezTo>
                      <a:pt x="379134" y="431155"/>
                      <a:pt x="394108" y="446024"/>
                      <a:pt x="394014" y="464280"/>
                    </a:cubicBezTo>
                    <a:lnTo>
                      <a:pt x="394014" y="517074"/>
                    </a:lnTo>
                    <a:cubicBezTo>
                      <a:pt x="394014" y="535236"/>
                      <a:pt x="379040" y="550199"/>
                      <a:pt x="360865" y="550199"/>
                    </a:cubicBezTo>
                    <a:lnTo>
                      <a:pt x="247103" y="550199"/>
                    </a:lnTo>
                    <a:cubicBezTo>
                      <a:pt x="228833" y="550199"/>
                      <a:pt x="213954" y="535236"/>
                      <a:pt x="213954" y="517074"/>
                    </a:cubicBezTo>
                    <a:lnTo>
                      <a:pt x="213954" y="464280"/>
                    </a:lnTo>
                    <a:cubicBezTo>
                      <a:pt x="213954" y="446024"/>
                      <a:pt x="228833" y="431155"/>
                      <a:pt x="247103" y="431155"/>
                    </a:cubicBezTo>
                    <a:close/>
                    <a:moveTo>
                      <a:pt x="33162" y="431155"/>
                    </a:moveTo>
                    <a:lnTo>
                      <a:pt x="73578" y="431155"/>
                    </a:lnTo>
                    <a:lnTo>
                      <a:pt x="106646" y="431155"/>
                    </a:lnTo>
                    <a:lnTo>
                      <a:pt x="146968" y="431155"/>
                    </a:lnTo>
                    <a:cubicBezTo>
                      <a:pt x="165339" y="431155"/>
                      <a:pt x="180224" y="446024"/>
                      <a:pt x="180130" y="464280"/>
                    </a:cubicBezTo>
                    <a:lnTo>
                      <a:pt x="180130" y="517074"/>
                    </a:lnTo>
                    <a:cubicBezTo>
                      <a:pt x="180130" y="535236"/>
                      <a:pt x="165150" y="550199"/>
                      <a:pt x="146968" y="550199"/>
                    </a:cubicBezTo>
                    <a:lnTo>
                      <a:pt x="33162" y="550199"/>
                    </a:lnTo>
                    <a:cubicBezTo>
                      <a:pt x="14979" y="550199"/>
                      <a:pt x="0" y="535236"/>
                      <a:pt x="0" y="517074"/>
                    </a:cubicBezTo>
                    <a:lnTo>
                      <a:pt x="0" y="464280"/>
                    </a:lnTo>
                    <a:cubicBezTo>
                      <a:pt x="0" y="446024"/>
                      <a:pt x="14979" y="431155"/>
                      <a:pt x="33162" y="431155"/>
                    </a:cubicBezTo>
                    <a:close/>
                    <a:moveTo>
                      <a:pt x="163140" y="99327"/>
                    </a:moveTo>
                    <a:cubicBezTo>
                      <a:pt x="163046" y="101208"/>
                      <a:pt x="162857" y="102713"/>
                      <a:pt x="162857" y="104218"/>
                    </a:cubicBezTo>
                    <a:lnTo>
                      <a:pt x="162857" y="157362"/>
                    </a:lnTo>
                    <a:lnTo>
                      <a:pt x="162857" y="217184"/>
                    </a:lnTo>
                    <a:cubicBezTo>
                      <a:pt x="162857" y="234021"/>
                      <a:pt x="173220" y="244273"/>
                      <a:pt x="190176" y="244273"/>
                    </a:cubicBezTo>
                    <a:lnTo>
                      <a:pt x="249053" y="244273"/>
                    </a:lnTo>
                    <a:cubicBezTo>
                      <a:pt x="305480" y="244273"/>
                      <a:pt x="361813" y="244273"/>
                      <a:pt x="418146" y="244367"/>
                    </a:cubicBezTo>
                    <a:cubicBezTo>
                      <a:pt x="434443" y="244367"/>
                      <a:pt x="444994" y="233833"/>
                      <a:pt x="444994" y="217466"/>
                    </a:cubicBezTo>
                    <a:lnTo>
                      <a:pt x="444994" y="140525"/>
                    </a:lnTo>
                    <a:lnTo>
                      <a:pt x="444994" y="104971"/>
                    </a:lnTo>
                    <a:lnTo>
                      <a:pt x="444994" y="99327"/>
                    </a:lnTo>
                    <a:lnTo>
                      <a:pt x="248958" y="99327"/>
                    </a:lnTo>
                    <a:close/>
                    <a:moveTo>
                      <a:pt x="415226" y="33955"/>
                    </a:moveTo>
                    <a:cubicBezTo>
                      <a:pt x="406465" y="33955"/>
                      <a:pt x="399306" y="41104"/>
                      <a:pt x="399306" y="49852"/>
                    </a:cubicBezTo>
                    <a:cubicBezTo>
                      <a:pt x="399306" y="58693"/>
                      <a:pt x="406465" y="65842"/>
                      <a:pt x="415226" y="65842"/>
                    </a:cubicBezTo>
                    <a:cubicBezTo>
                      <a:pt x="423987" y="65842"/>
                      <a:pt x="431146" y="58693"/>
                      <a:pt x="431146" y="49852"/>
                    </a:cubicBezTo>
                    <a:cubicBezTo>
                      <a:pt x="431146" y="41104"/>
                      <a:pt x="423987" y="33955"/>
                      <a:pt x="415226" y="33955"/>
                    </a:cubicBezTo>
                    <a:close/>
                    <a:moveTo>
                      <a:pt x="360306" y="33955"/>
                    </a:moveTo>
                    <a:cubicBezTo>
                      <a:pt x="351545" y="33955"/>
                      <a:pt x="344386" y="41104"/>
                      <a:pt x="344386" y="49852"/>
                    </a:cubicBezTo>
                    <a:cubicBezTo>
                      <a:pt x="344386" y="58693"/>
                      <a:pt x="351545" y="65842"/>
                      <a:pt x="360306" y="65842"/>
                    </a:cubicBezTo>
                    <a:cubicBezTo>
                      <a:pt x="369161" y="65842"/>
                      <a:pt x="376320" y="58693"/>
                      <a:pt x="376320" y="49852"/>
                    </a:cubicBezTo>
                    <a:cubicBezTo>
                      <a:pt x="376320" y="41104"/>
                      <a:pt x="369161" y="33955"/>
                      <a:pt x="360306" y="33955"/>
                    </a:cubicBezTo>
                    <a:close/>
                    <a:moveTo>
                      <a:pt x="305480" y="33955"/>
                    </a:moveTo>
                    <a:cubicBezTo>
                      <a:pt x="296625" y="33955"/>
                      <a:pt x="289466" y="41104"/>
                      <a:pt x="289466" y="49852"/>
                    </a:cubicBezTo>
                    <a:cubicBezTo>
                      <a:pt x="289466" y="58693"/>
                      <a:pt x="296625" y="65842"/>
                      <a:pt x="305480" y="65842"/>
                    </a:cubicBezTo>
                    <a:cubicBezTo>
                      <a:pt x="314241" y="65842"/>
                      <a:pt x="321400" y="58693"/>
                      <a:pt x="321400" y="49852"/>
                    </a:cubicBezTo>
                    <a:cubicBezTo>
                      <a:pt x="321400" y="41104"/>
                      <a:pt x="314241" y="33955"/>
                      <a:pt x="305480" y="33955"/>
                    </a:cubicBezTo>
                    <a:close/>
                    <a:moveTo>
                      <a:pt x="189611" y="0"/>
                    </a:moveTo>
                    <a:lnTo>
                      <a:pt x="248958" y="0"/>
                    </a:lnTo>
                    <a:lnTo>
                      <a:pt x="417770" y="0"/>
                    </a:lnTo>
                    <a:cubicBezTo>
                      <a:pt x="452813" y="0"/>
                      <a:pt x="477871" y="25396"/>
                      <a:pt x="477871" y="60386"/>
                    </a:cubicBezTo>
                    <a:lnTo>
                      <a:pt x="477871" y="157456"/>
                    </a:lnTo>
                    <a:lnTo>
                      <a:pt x="477871" y="217560"/>
                    </a:lnTo>
                    <a:cubicBezTo>
                      <a:pt x="477871" y="242016"/>
                      <a:pt x="466755" y="260169"/>
                      <a:pt x="444712" y="271457"/>
                    </a:cubicBezTo>
                    <a:cubicBezTo>
                      <a:pt x="436045" y="275877"/>
                      <a:pt x="426625" y="277288"/>
                      <a:pt x="417016" y="277288"/>
                    </a:cubicBezTo>
                    <a:lnTo>
                      <a:pt x="320552" y="277288"/>
                    </a:lnTo>
                    <a:lnTo>
                      <a:pt x="320552" y="340685"/>
                    </a:lnTo>
                    <a:lnTo>
                      <a:pt x="518095" y="340685"/>
                    </a:lnTo>
                    <a:cubicBezTo>
                      <a:pt x="527233" y="340685"/>
                      <a:pt x="534675" y="348021"/>
                      <a:pt x="534675" y="357145"/>
                    </a:cubicBezTo>
                    <a:lnTo>
                      <a:pt x="534675" y="402294"/>
                    </a:lnTo>
                    <a:lnTo>
                      <a:pt x="501610" y="402294"/>
                    </a:lnTo>
                    <a:lnTo>
                      <a:pt x="501610" y="373606"/>
                    </a:lnTo>
                    <a:lnTo>
                      <a:pt x="320647" y="373606"/>
                    </a:lnTo>
                    <a:lnTo>
                      <a:pt x="320647" y="402294"/>
                    </a:lnTo>
                    <a:lnTo>
                      <a:pt x="287582" y="402294"/>
                    </a:lnTo>
                    <a:lnTo>
                      <a:pt x="287582" y="373606"/>
                    </a:lnTo>
                    <a:lnTo>
                      <a:pt x="106618" y="373606"/>
                    </a:lnTo>
                    <a:lnTo>
                      <a:pt x="106524" y="373606"/>
                    </a:lnTo>
                    <a:lnTo>
                      <a:pt x="106524" y="402294"/>
                    </a:lnTo>
                    <a:lnTo>
                      <a:pt x="73459" y="402294"/>
                    </a:lnTo>
                    <a:lnTo>
                      <a:pt x="73459" y="357145"/>
                    </a:lnTo>
                    <a:cubicBezTo>
                      <a:pt x="73459" y="348115"/>
                      <a:pt x="80901" y="340685"/>
                      <a:pt x="90039" y="340685"/>
                    </a:cubicBezTo>
                    <a:lnTo>
                      <a:pt x="287393" y="340685"/>
                    </a:lnTo>
                    <a:lnTo>
                      <a:pt x="287393" y="277288"/>
                    </a:lnTo>
                    <a:lnTo>
                      <a:pt x="248770" y="277288"/>
                    </a:lnTo>
                    <a:cubicBezTo>
                      <a:pt x="228328" y="277382"/>
                      <a:pt x="207980" y="277382"/>
                      <a:pt x="187633" y="277288"/>
                    </a:cubicBezTo>
                    <a:cubicBezTo>
                      <a:pt x="161727" y="277100"/>
                      <a:pt x="139778" y="260734"/>
                      <a:pt x="132524" y="236090"/>
                    </a:cubicBezTo>
                    <a:cubicBezTo>
                      <a:pt x="130828" y="230352"/>
                      <a:pt x="129981" y="224239"/>
                      <a:pt x="129981" y="218219"/>
                    </a:cubicBezTo>
                    <a:lnTo>
                      <a:pt x="129981" y="157456"/>
                    </a:lnTo>
                    <a:lnTo>
                      <a:pt x="129981" y="58881"/>
                    </a:lnTo>
                    <a:cubicBezTo>
                      <a:pt x="130075" y="25208"/>
                      <a:pt x="155698" y="0"/>
                      <a:pt x="1896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>
                <a:noFill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8" name="文本框 7"/>
            <p:cNvSpPr txBox="1"/>
            <p:nvPr/>
          </p:nvSpPr>
          <p:spPr>
            <a:xfrm>
              <a:off x="660400" y="1130300"/>
              <a:ext cx="10858500" cy="81973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sz="2000" b="1" dirty="0">
                  <a:cs typeface="+mn-ea"/>
                  <a:sym typeface="+mn-lt"/>
                </a:rPr>
                <a:t>Unified Fonts Make Reading More Fluent.</a:t>
              </a:r>
              <a:endParaRPr lang="en-US" sz="2000" b="1" dirty="0">
                <a:cs typeface="+mn-ea"/>
                <a:sym typeface="+mn-lt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3204672" y="3388659"/>
              <a:ext cx="623844" cy="50385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n-US" altLang="zh-CN" sz="2400" dirty="0">
                  <a:solidFill>
                    <a:schemeClr val="accent1"/>
                  </a:solidFill>
                  <a:cs typeface="+mn-ea"/>
                  <a:sym typeface="+mn-lt"/>
                </a:rPr>
                <a:t>01</a:t>
              </a:r>
              <a:endParaRPr lang="id-ID" sz="24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8350784" y="3388659"/>
              <a:ext cx="623844" cy="50385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2400" dirty="0">
                  <a:solidFill>
                    <a:schemeClr val="accent1"/>
                  </a:solidFill>
                  <a:cs typeface="+mn-ea"/>
                  <a:sym typeface="+mn-lt"/>
                </a:rPr>
                <a:t>02</a:t>
              </a:r>
              <a:endParaRPr lang="id-ID" sz="24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grpSp>
          <p:nvGrpSpPr>
            <p:cNvPr id="11" name="组合 10"/>
            <p:cNvGrpSpPr/>
            <p:nvPr/>
          </p:nvGrpSpPr>
          <p:grpSpPr>
            <a:xfrm>
              <a:off x="660400" y="3892517"/>
              <a:ext cx="3168116" cy="2241583"/>
              <a:chOff x="660400" y="3892517"/>
              <a:chExt cx="3168116" cy="2241583"/>
            </a:xfrm>
          </p:grpSpPr>
          <p:sp>
            <p:nvSpPr>
              <p:cNvPr id="15" name="文本框 14"/>
              <p:cNvSpPr txBox="1"/>
              <p:nvPr/>
            </p:nvSpPr>
            <p:spPr>
              <a:xfrm>
                <a:off x="660400" y="3892517"/>
                <a:ext cx="3168116" cy="57749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/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相关综述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16" name="矩形 15"/>
              <p:cNvSpPr/>
              <p:nvPr/>
            </p:nvSpPr>
            <p:spPr bwMode="auto">
              <a:xfrm>
                <a:off x="660400" y="4470010"/>
                <a:ext cx="3168116" cy="16640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r">
                  <a:lnSpc>
                    <a:spcPct val="13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r">
                  <a:lnSpc>
                    <a:spcPct val="13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algn="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8350784" y="3892517"/>
              <a:ext cx="3168116" cy="2241583"/>
              <a:chOff x="8350784" y="3892517"/>
              <a:chExt cx="3168116" cy="2241583"/>
            </a:xfrm>
          </p:grpSpPr>
          <p:sp>
            <p:nvSpPr>
              <p:cNvPr id="13" name="文本框 12"/>
              <p:cNvSpPr txBox="1"/>
              <p:nvPr/>
            </p:nvSpPr>
            <p:spPr>
              <a:xfrm>
                <a:off x="8350784" y="3892517"/>
                <a:ext cx="3168116" cy="57749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相关综述</a:t>
                </a:r>
                <a:endParaRPr lang="zh-CN" altLang="en-US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14" name="矩形 13"/>
              <p:cNvSpPr/>
              <p:nvPr/>
            </p:nvSpPr>
            <p:spPr bwMode="auto">
              <a:xfrm>
                <a:off x="8350784" y="4470010"/>
                <a:ext cx="3168116" cy="16640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>
                  <a:lnSpc>
                    <a:spcPct val="13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>
                  <a:lnSpc>
                    <a:spcPct val="130000"/>
                  </a:lnSpc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贡献创新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399" y="1130300"/>
            <a:ext cx="10858501" cy="5003800"/>
            <a:chOff x="660399" y="1130300"/>
            <a:chExt cx="10858501" cy="5003800"/>
          </a:xfrm>
        </p:grpSpPr>
        <p:cxnSp>
          <p:nvCxnSpPr>
            <p:cNvPr id="6" name="直接连接符 5"/>
            <p:cNvCxnSpPr/>
            <p:nvPr/>
          </p:nvCxnSpPr>
          <p:spPr>
            <a:xfrm>
              <a:off x="660399" y="3632200"/>
              <a:ext cx="108585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/>
            <p:cNvGrpSpPr/>
            <p:nvPr/>
          </p:nvGrpSpPr>
          <p:grpSpPr>
            <a:xfrm>
              <a:off x="660400" y="1130300"/>
              <a:ext cx="5051577" cy="5003800"/>
              <a:chOff x="660400" y="1130300"/>
              <a:chExt cx="5051577" cy="5003800"/>
            </a:xfrm>
          </p:grpSpPr>
          <p:cxnSp>
            <p:nvCxnSpPr>
              <p:cNvPr id="25" name="直接连接符 24"/>
              <p:cNvCxnSpPr/>
              <p:nvPr/>
            </p:nvCxnSpPr>
            <p:spPr>
              <a:xfrm flipH="1" flipV="1">
                <a:off x="4709205" y="1130300"/>
                <a:ext cx="1002772" cy="250190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/>
              <p:nvPr/>
            </p:nvCxnSpPr>
            <p:spPr>
              <a:xfrm flipH="1">
                <a:off x="4709205" y="3632200"/>
                <a:ext cx="1002772" cy="250190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/>
              <p:nvPr/>
            </p:nvCxnSpPr>
            <p:spPr>
              <a:xfrm flipH="1">
                <a:off x="660400" y="1130300"/>
                <a:ext cx="4048806" cy="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/>
              <p:nvPr/>
            </p:nvCxnSpPr>
            <p:spPr>
              <a:xfrm flipH="1">
                <a:off x="660400" y="6134100"/>
                <a:ext cx="4048806" cy="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组合 7"/>
            <p:cNvGrpSpPr/>
            <p:nvPr/>
          </p:nvGrpSpPr>
          <p:grpSpPr>
            <a:xfrm>
              <a:off x="1441078" y="2495589"/>
              <a:ext cx="3295396" cy="2851072"/>
              <a:chOff x="2779776" y="4128198"/>
              <a:chExt cx="3072384" cy="2851072"/>
            </a:xfrm>
          </p:grpSpPr>
          <p:sp>
            <p:nvSpPr>
              <p:cNvPr id="23" name="矩形 22"/>
              <p:cNvSpPr/>
              <p:nvPr/>
            </p:nvSpPr>
            <p:spPr bwMode="auto">
              <a:xfrm>
                <a:off x="2779776" y="4570003"/>
                <a:ext cx="3072384" cy="24092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Theme color makes PPT more convenient to chang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Adjust the spacing to adapt to Chinese typesetting, use the reference line in PPT.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 bwMode="auto">
              <a:xfrm>
                <a:off x="2779776" y="4128198"/>
                <a:ext cx="307238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/>
                <a:r>
                  <a:rPr lang="en-US" altLang="zh-CN" sz="1400" b="1" dirty="0">
                    <a:cs typeface="+mn-ea"/>
                    <a:sym typeface="+mn-lt"/>
                  </a:rPr>
                  <a:t>…</a:t>
                </a:r>
                <a:r>
                  <a:rPr lang="zh-CN" altLang="en-US" sz="1400" b="1" dirty="0">
                    <a:cs typeface="+mn-ea"/>
                    <a:sym typeface="+mn-lt"/>
                  </a:rPr>
                  <a:t>贡献</a:t>
                </a:r>
                <a:endParaRPr lang="zh-CN" altLang="en-US" sz="14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660400" y="3343275"/>
              <a:ext cx="577851" cy="577851"/>
              <a:chOff x="800716" y="1726731"/>
              <a:chExt cx="577851" cy="577851"/>
            </a:xfrm>
          </p:grpSpPr>
          <p:sp>
            <p:nvSpPr>
              <p:cNvPr id="21" name="椭圆 20"/>
              <p:cNvSpPr/>
              <p:nvPr/>
            </p:nvSpPr>
            <p:spPr>
              <a:xfrm>
                <a:off x="800716" y="1726731"/>
                <a:ext cx="577851" cy="577851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none" lIns="0" tIns="0" rIns="0" bIns="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3200"/>
                </a:pPr>
                <a:endParaRPr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/>
              <p:cNvSpPr/>
              <p:nvPr/>
            </p:nvSpPr>
            <p:spPr>
              <a:xfrm>
                <a:off x="944844" y="1884632"/>
                <a:ext cx="289596" cy="262048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  <a:gd name="connsiteX59" fmla="*/ 373273 h 605239"/>
                  <a:gd name="connsiteY59" fmla="*/ 373273 h 605239"/>
                  <a:gd name="connsiteX60" fmla="*/ 373273 h 605239"/>
                  <a:gd name="connsiteY60" fmla="*/ 373273 h 605239"/>
                  <a:gd name="connsiteX61" fmla="*/ 373273 h 605239"/>
                  <a:gd name="connsiteY61" fmla="*/ 373273 h 605239"/>
                  <a:gd name="connsiteX62" fmla="*/ 373273 h 605239"/>
                  <a:gd name="connsiteY62" fmla="*/ 373273 h 605239"/>
                  <a:gd name="connsiteX63" fmla="*/ 373273 h 605239"/>
                  <a:gd name="connsiteY63" fmla="*/ 373273 h 605239"/>
                  <a:gd name="connsiteX64" fmla="*/ 373273 h 605239"/>
                  <a:gd name="connsiteY64" fmla="*/ 373273 h 605239"/>
                  <a:gd name="connsiteX65" fmla="*/ 373273 h 605239"/>
                  <a:gd name="connsiteY65" fmla="*/ 373273 h 605239"/>
                  <a:gd name="connsiteX66" fmla="*/ 373273 h 605239"/>
                  <a:gd name="connsiteY66" fmla="*/ 373273 h 605239"/>
                  <a:gd name="connsiteX67" fmla="*/ 373273 h 605239"/>
                  <a:gd name="connsiteY67" fmla="*/ 373273 h 605239"/>
                  <a:gd name="connsiteX68" fmla="*/ 373273 h 605239"/>
                  <a:gd name="connsiteY68" fmla="*/ 373273 h 605239"/>
                  <a:gd name="connsiteX69" fmla="*/ 373273 h 605239"/>
                  <a:gd name="connsiteY69" fmla="*/ 373273 h 605239"/>
                  <a:gd name="connsiteX70" fmla="*/ 373273 h 605239"/>
                  <a:gd name="connsiteY70" fmla="*/ 373273 h 605239"/>
                  <a:gd name="connsiteX71" fmla="*/ 373273 h 605239"/>
                  <a:gd name="connsiteY71" fmla="*/ 373273 h 605239"/>
                  <a:gd name="connsiteX72" fmla="*/ 373273 h 605239"/>
                  <a:gd name="connsiteY72" fmla="*/ 373273 h 605239"/>
                  <a:gd name="connsiteX73" fmla="*/ 373273 h 605239"/>
                  <a:gd name="connsiteY73" fmla="*/ 373273 h 605239"/>
                  <a:gd name="connsiteX74" fmla="*/ 373273 h 605239"/>
                  <a:gd name="connsiteY74" fmla="*/ 373273 h 605239"/>
                  <a:gd name="connsiteX75" fmla="*/ 373273 h 605239"/>
                  <a:gd name="connsiteY75" fmla="*/ 373273 h 605239"/>
                  <a:gd name="connsiteX76" fmla="*/ 373273 h 605239"/>
                  <a:gd name="connsiteY76" fmla="*/ 373273 h 605239"/>
                  <a:gd name="connsiteX77" fmla="*/ 373273 h 605239"/>
                  <a:gd name="connsiteY77" fmla="*/ 373273 h 605239"/>
                  <a:gd name="connsiteX78" fmla="*/ 373273 h 605239"/>
                  <a:gd name="connsiteY78" fmla="*/ 373273 h 605239"/>
                  <a:gd name="connsiteX79" fmla="*/ 373273 h 605239"/>
                  <a:gd name="connsiteY79" fmla="*/ 373273 h 605239"/>
                  <a:gd name="connsiteX80" fmla="*/ 373273 h 605239"/>
                  <a:gd name="connsiteY80" fmla="*/ 373273 h 605239"/>
                  <a:gd name="connsiteX81" fmla="*/ 373273 h 605239"/>
                  <a:gd name="connsiteY81" fmla="*/ 373273 h 605239"/>
                  <a:gd name="connsiteX82" fmla="*/ 373273 h 605239"/>
                  <a:gd name="connsiteY82" fmla="*/ 373273 h 605239"/>
                  <a:gd name="connsiteX83" fmla="*/ 373273 h 605239"/>
                  <a:gd name="connsiteY83" fmla="*/ 373273 h 605239"/>
                  <a:gd name="connsiteX84" fmla="*/ 373273 h 605239"/>
                  <a:gd name="connsiteY84" fmla="*/ 373273 h 605239"/>
                  <a:gd name="connsiteX85" fmla="*/ 373273 h 605239"/>
                  <a:gd name="connsiteY85" fmla="*/ 373273 h 605239"/>
                  <a:gd name="connsiteX86" fmla="*/ 373273 h 605239"/>
                  <a:gd name="connsiteY86" fmla="*/ 373273 h 605239"/>
                  <a:gd name="connsiteX87" fmla="*/ 373273 h 605239"/>
                  <a:gd name="connsiteY87" fmla="*/ 373273 h 605239"/>
                  <a:gd name="connsiteX88" fmla="*/ 373273 h 605239"/>
                  <a:gd name="connsiteY88" fmla="*/ 373273 h 605239"/>
                  <a:gd name="connsiteX89" fmla="*/ 373273 h 605239"/>
                  <a:gd name="connsiteY89" fmla="*/ 373273 h 605239"/>
                  <a:gd name="connsiteX90" fmla="*/ 373273 h 605239"/>
                  <a:gd name="connsiteY90" fmla="*/ 373273 h 605239"/>
                  <a:gd name="connsiteX91" fmla="*/ 373273 h 605239"/>
                  <a:gd name="connsiteY91" fmla="*/ 373273 h 605239"/>
                  <a:gd name="connsiteX92" fmla="*/ 373273 h 605239"/>
                  <a:gd name="connsiteY92" fmla="*/ 373273 h 605239"/>
                  <a:gd name="connsiteX93" fmla="*/ 373273 h 605239"/>
                  <a:gd name="connsiteY93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608039" h="550199">
                    <a:moveTo>
                      <a:pt x="461128" y="431155"/>
                    </a:moveTo>
                    <a:lnTo>
                      <a:pt x="501529" y="431155"/>
                    </a:lnTo>
                    <a:lnTo>
                      <a:pt x="534583" y="431155"/>
                    </a:lnTo>
                    <a:lnTo>
                      <a:pt x="574984" y="431155"/>
                    </a:lnTo>
                    <a:cubicBezTo>
                      <a:pt x="593159" y="431155"/>
                      <a:pt x="608133" y="446024"/>
                      <a:pt x="608039" y="464280"/>
                    </a:cubicBezTo>
                    <a:lnTo>
                      <a:pt x="608039" y="517074"/>
                    </a:lnTo>
                    <a:cubicBezTo>
                      <a:pt x="608039" y="535236"/>
                      <a:pt x="593065" y="550199"/>
                      <a:pt x="574890" y="550199"/>
                    </a:cubicBezTo>
                    <a:lnTo>
                      <a:pt x="461128" y="550199"/>
                    </a:lnTo>
                    <a:cubicBezTo>
                      <a:pt x="442858" y="550199"/>
                      <a:pt x="427979" y="535236"/>
                      <a:pt x="427979" y="517074"/>
                    </a:cubicBezTo>
                    <a:lnTo>
                      <a:pt x="427979" y="464280"/>
                    </a:lnTo>
                    <a:cubicBezTo>
                      <a:pt x="427979" y="446024"/>
                      <a:pt x="442858" y="431155"/>
                      <a:pt x="461128" y="431155"/>
                    </a:cubicBezTo>
                    <a:close/>
                    <a:moveTo>
                      <a:pt x="247103" y="431155"/>
                    </a:moveTo>
                    <a:lnTo>
                      <a:pt x="287504" y="431155"/>
                    </a:lnTo>
                    <a:lnTo>
                      <a:pt x="320558" y="431155"/>
                    </a:lnTo>
                    <a:lnTo>
                      <a:pt x="360959" y="431155"/>
                    </a:lnTo>
                    <a:cubicBezTo>
                      <a:pt x="379134" y="431155"/>
                      <a:pt x="394108" y="446024"/>
                      <a:pt x="394014" y="464280"/>
                    </a:cubicBezTo>
                    <a:lnTo>
                      <a:pt x="394014" y="517074"/>
                    </a:lnTo>
                    <a:cubicBezTo>
                      <a:pt x="394014" y="535236"/>
                      <a:pt x="379040" y="550199"/>
                      <a:pt x="360865" y="550199"/>
                    </a:cubicBezTo>
                    <a:lnTo>
                      <a:pt x="247103" y="550199"/>
                    </a:lnTo>
                    <a:cubicBezTo>
                      <a:pt x="228833" y="550199"/>
                      <a:pt x="213954" y="535236"/>
                      <a:pt x="213954" y="517074"/>
                    </a:cubicBezTo>
                    <a:lnTo>
                      <a:pt x="213954" y="464280"/>
                    </a:lnTo>
                    <a:cubicBezTo>
                      <a:pt x="213954" y="446024"/>
                      <a:pt x="228833" y="431155"/>
                      <a:pt x="247103" y="431155"/>
                    </a:cubicBezTo>
                    <a:close/>
                    <a:moveTo>
                      <a:pt x="33162" y="431155"/>
                    </a:moveTo>
                    <a:lnTo>
                      <a:pt x="73578" y="431155"/>
                    </a:lnTo>
                    <a:lnTo>
                      <a:pt x="106646" y="431155"/>
                    </a:lnTo>
                    <a:lnTo>
                      <a:pt x="146968" y="431155"/>
                    </a:lnTo>
                    <a:cubicBezTo>
                      <a:pt x="165339" y="431155"/>
                      <a:pt x="180224" y="446024"/>
                      <a:pt x="180130" y="464280"/>
                    </a:cubicBezTo>
                    <a:lnTo>
                      <a:pt x="180130" y="517074"/>
                    </a:lnTo>
                    <a:cubicBezTo>
                      <a:pt x="180130" y="535236"/>
                      <a:pt x="165150" y="550199"/>
                      <a:pt x="146968" y="550199"/>
                    </a:cubicBezTo>
                    <a:lnTo>
                      <a:pt x="33162" y="550199"/>
                    </a:lnTo>
                    <a:cubicBezTo>
                      <a:pt x="14979" y="550199"/>
                      <a:pt x="0" y="535236"/>
                      <a:pt x="0" y="517074"/>
                    </a:cubicBezTo>
                    <a:lnTo>
                      <a:pt x="0" y="464280"/>
                    </a:lnTo>
                    <a:cubicBezTo>
                      <a:pt x="0" y="446024"/>
                      <a:pt x="14979" y="431155"/>
                      <a:pt x="33162" y="431155"/>
                    </a:cubicBezTo>
                    <a:close/>
                    <a:moveTo>
                      <a:pt x="163140" y="99327"/>
                    </a:moveTo>
                    <a:cubicBezTo>
                      <a:pt x="163046" y="101208"/>
                      <a:pt x="162857" y="102713"/>
                      <a:pt x="162857" y="104218"/>
                    </a:cubicBezTo>
                    <a:lnTo>
                      <a:pt x="162857" y="157362"/>
                    </a:lnTo>
                    <a:lnTo>
                      <a:pt x="162857" y="217184"/>
                    </a:lnTo>
                    <a:cubicBezTo>
                      <a:pt x="162857" y="234021"/>
                      <a:pt x="173220" y="244273"/>
                      <a:pt x="190176" y="244273"/>
                    </a:cubicBezTo>
                    <a:lnTo>
                      <a:pt x="249053" y="244273"/>
                    </a:lnTo>
                    <a:cubicBezTo>
                      <a:pt x="305480" y="244273"/>
                      <a:pt x="361813" y="244273"/>
                      <a:pt x="418146" y="244367"/>
                    </a:cubicBezTo>
                    <a:cubicBezTo>
                      <a:pt x="434443" y="244367"/>
                      <a:pt x="444994" y="233833"/>
                      <a:pt x="444994" y="217466"/>
                    </a:cubicBezTo>
                    <a:lnTo>
                      <a:pt x="444994" y="140525"/>
                    </a:lnTo>
                    <a:lnTo>
                      <a:pt x="444994" y="104971"/>
                    </a:lnTo>
                    <a:lnTo>
                      <a:pt x="444994" y="99327"/>
                    </a:lnTo>
                    <a:lnTo>
                      <a:pt x="248958" y="99327"/>
                    </a:lnTo>
                    <a:close/>
                    <a:moveTo>
                      <a:pt x="415226" y="33955"/>
                    </a:moveTo>
                    <a:cubicBezTo>
                      <a:pt x="406465" y="33955"/>
                      <a:pt x="399306" y="41104"/>
                      <a:pt x="399306" y="49852"/>
                    </a:cubicBezTo>
                    <a:cubicBezTo>
                      <a:pt x="399306" y="58693"/>
                      <a:pt x="406465" y="65842"/>
                      <a:pt x="415226" y="65842"/>
                    </a:cubicBezTo>
                    <a:cubicBezTo>
                      <a:pt x="423987" y="65842"/>
                      <a:pt x="431146" y="58693"/>
                      <a:pt x="431146" y="49852"/>
                    </a:cubicBezTo>
                    <a:cubicBezTo>
                      <a:pt x="431146" y="41104"/>
                      <a:pt x="423987" y="33955"/>
                      <a:pt x="415226" y="33955"/>
                    </a:cubicBezTo>
                    <a:close/>
                    <a:moveTo>
                      <a:pt x="360306" y="33955"/>
                    </a:moveTo>
                    <a:cubicBezTo>
                      <a:pt x="351545" y="33955"/>
                      <a:pt x="344386" y="41104"/>
                      <a:pt x="344386" y="49852"/>
                    </a:cubicBezTo>
                    <a:cubicBezTo>
                      <a:pt x="344386" y="58693"/>
                      <a:pt x="351545" y="65842"/>
                      <a:pt x="360306" y="65842"/>
                    </a:cubicBezTo>
                    <a:cubicBezTo>
                      <a:pt x="369161" y="65842"/>
                      <a:pt x="376320" y="58693"/>
                      <a:pt x="376320" y="49852"/>
                    </a:cubicBezTo>
                    <a:cubicBezTo>
                      <a:pt x="376320" y="41104"/>
                      <a:pt x="369161" y="33955"/>
                      <a:pt x="360306" y="33955"/>
                    </a:cubicBezTo>
                    <a:close/>
                    <a:moveTo>
                      <a:pt x="305480" y="33955"/>
                    </a:moveTo>
                    <a:cubicBezTo>
                      <a:pt x="296625" y="33955"/>
                      <a:pt x="289466" y="41104"/>
                      <a:pt x="289466" y="49852"/>
                    </a:cubicBezTo>
                    <a:cubicBezTo>
                      <a:pt x="289466" y="58693"/>
                      <a:pt x="296625" y="65842"/>
                      <a:pt x="305480" y="65842"/>
                    </a:cubicBezTo>
                    <a:cubicBezTo>
                      <a:pt x="314241" y="65842"/>
                      <a:pt x="321400" y="58693"/>
                      <a:pt x="321400" y="49852"/>
                    </a:cubicBezTo>
                    <a:cubicBezTo>
                      <a:pt x="321400" y="41104"/>
                      <a:pt x="314241" y="33955"/>
                      <a:pt x="305480" y="33955"/>
                    </a:cubicBezTo>
                    <a:close/>
                    <a:moveTo>
                      <a:pt x="189611" y="0"/>
                    </a:moveTo>
                    <a:lnTo>
                      <a:pt x="248958" y="0"/>
                    </a:lnTo>
                    <a:lnTo>
                      <a:pt x="417770" y="0"/>
                    </a:lnTo>
                    <a:cubicBezTo>
                      <a:pt x="452813" y="0"/>
                      <a:pt x="477871" y="25396"/>
                      <a:pt x="477871" y="60386"/>
                    </a:cubicBezTo>
                    <a:lnTo>
                      <a:pt x="477871" y="157456"/>
                    </a:lnTo>
                    <a:lnTo>
                      <a:pt x="477871" y="217560"/>
                    </a:lnTo>
                    <a:cubicBezTo>
                      <a:pt x="477871" y="242016"/>
                      <a:pt x="466755" y="260169"/>
                      <a:pt x="444712" y="271457"/>
                    </a:cubicBezTo>
                    <a:cubicBezTo>
                      <a:pt x="436045" y="275877"/>
                      <a:pt x="426625" y="277288"/>
                      <a:pt x="417016" y="277288"/>
                    </a:cubicBezTo>
                    <a:lnTo>
                      <a:pt x="320552" y="277288"/>
                    </a:lnTo>
                    <a:lnTo>
                      <a:pt x="320552" y="340685"/>
                    </a:lnTo>
                    <a:lnTo>
                      <a:pt x="518095" y="340685"/>
                    </a:lnTo>
                    <a:cubicBezTo>
                      <a:pt x="527233" y="340685"/>
                      <a:pt x="534675" y="348021"/>
                      <a:pt x="534675" y="357145"/>
                    </a:cubicBezTo>
                    <a:lnTo>
                      <a:pt x="534675" y="402294"/>
                    </a:lnTo>
                    <a:lnTo>
                      <a:pt x="501610" y="402294"/>
                    </a:lnTo>
                    <a:lnTo>
                      <a:pt x="501610" y="373606"/>
                    </a:lnTo>
                    <a:lnTo>
                      <a:pt x="320647" y="373606"/>
                    </a:lnTo>
                    <a:lnTo>
                      <a:pt x="320647" y="402294"/>
                    </a:lnTo>
                    <a:lnTo>
                      <a:pt x="287582" y="402294"/>
                    </a:lnTo>
                    <a:lnTo>
                      <a:pt x="287582" y="373606"/>
                    </a:lnTo>
                    <a:lnTo>
                      <a:pt x="106618" y="373606"/>
                    </a:lnTo>
                    <a:lnTo>
                      <a:pt x="106524" y="373606"/>
                    </a:lnTo>
                    <a:lnTo>
                      <a:pt x="106524" y="402294"/>
                    </a:lnTo>
                    <a:lnTo>
                      <a:pt x="73459" y="402294"/>
                    </a:lnTo>
                    <a:lnTo>
                      <a:pt x="73459" y="357145"/>
                    </a:lnTo>
                    <a:cubicBezTo>
                      <a:pt x="73459" y="348115"/>
                      <a:pt x="80901" y="340685"/>
                      <a:pt x="90039" y="340685"/>
                    </a:cubicBezTo>
                    <a:lnTo>
                      <a:pt x="287393" y="340685"/>
                    </a:lnTo>
                    <a:lnTo>
                      <a:pt x="287393" y="277288"/>
                    </a:lnTo>
                    <a:lnTo>
                      <a:pt x="248770" y="277288"/>
                    </a:lnTo>
                    <a:cubicBezTo>
                      <a:pt x="228328" y="277382"/>
                      <a:pt x="207980" y="277382"/>
                      <a:pt x="187633" y="277288"/>
                    </a:cubicBezTo>
                    <a:cubicBezTo>
                      <a:pt x="161727" y="277100"/>
                      <a:pt x="139778" y="260734"/>
                      <a:pt x="132524" y="236090"/>
                    </a:cubicBezTo>
                    <a:cubicBezTo>
                      <a:pt x="130828" y="230352"/>
                      <a:pt x="129981" y="224239"/>
                      <a:pt x="129981" y="218219"/>
                    </a:cubicBezTo>
                    <a:lnTo>
                      <a:pt x="129981" y="157456"/>
                    </a:lnTo>
                    <a:lnTo>
                      <a:pt x="129981" y="58881"/>
                    </a:lnTo>
                    <a:cubicBezTo>
                      <a:pt x="130075" y="25208"/>
                      <a:pt x="155698" y="0"/>
                      <a:pt x="1896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none" lIns="0" tIns="0" rIns="0" bIns="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3200"/>
                </a:pPr>
                <a:endParaRPr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248001" y="2495589"/>
              <a:ext cx="3295396" cy="2851072"/>
              <a:chOff x="2779776" y="4128198"/>
              <a:chExt cx="3072384" cy="2851072"/>
            </a:xfrm>
          </p:grpSpPr>
          <p:sp>
            <p:nvSpPr>
              <p:cNvPr id="19" name="矩形 18"/>
              <p:cNvSpPr/>
              <p:nvPr/>
            </p:nvSpPr>
            <p:spPr bwMode="auto">
              <a:xfrm>
                <a:off x="2779776" y="4570003"/>
                <a:ext cx="3072384" cy="24092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Theme color makes PPT more convenient to change. 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  <a:endParaRPr lang="en-US" altLang="zh-CN" sz="1100" dirty="0">
                  <a:cs typeface="+mn-ea"/>
                  <a:sym typeface="+mn-lt"/>
                </a:endParaRP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Adjust the spacing to adapt to Chinese typesetting, use the reference line in PPT.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20" name="文本框 19"/>
              <p:cNvSpPr txBox="1"/>
              <p:nvPr/>
            </p:nvSpPr>
            <p:spPr bwMode="auto">
              <a:xfrm>
                <a:off x="2779776" y="4128198"/>
                <a:ext cx="3072384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/>
                <a:r>
                  <a:rPr lang="en-US" altLang="zh-CN" sz="1400" b="1" dirty="0">
                    <a:cs typeface="+mn-ea"/>
                    <a:sym typeface="+mn-lt"/>
                  </a:rPr>
                  <a:t>…</a:t>
                </a:r>
                <a:r>
                  <a:rPr lang="zh-CN" altLang="en-US" sz="1400" b="1" dirty="0">
                    <a:cs typeface="+mn-ea"/>
                    <a:sym typeface="+mn-lt"/>
                  </a:rPr>
                  <a:t>贡献</a:t>
                </a:r>
                <a:endParaRPr lang="zh-CN" altLang="en-US" sz="14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6467323" y="1130300"/>
              <a:ext cx="5051577" cy="5003800"/>
              <a:chOff x="660400" y="1130300"/>
              <a:chExt cx="5051577" cy="5003800"/>
            </a:xfrm>
          </p:grpSpPr>
          <p:cxnSp>
            <p:nvCxnSpPr>
              <p:cNvPr id="15" name="直接连接符 14"/>
              <p:cNvCxnSpPr/>
              <p:nvPr/>
            </p:nvCxnSpPr>
            <p:spPr>
              <a:xfrm flipH="1" flipV="1">
                <a:off x="4709205" y="1130300"/>
                <a:ext cx="1002772" cy="2501900"/>
              </a:xfrm>
              <a:prstGeom prst="line">
                <a:avLst/>
              </a:prstGeom>
              <a:ln w="19050" cap="rnd">
                <a:solidFill>
                  <a:schemeClr val="accent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/>
              <p:nvPr/>
            </p:nvCxnSpPr>
            <p:spPr>
              <a:xfrm flipH="1">
                <a:off x="4709205" y="3632200"/>
                <a:ext cx="1002772" cy="2501900"/>
              </a:xfrm>
              <a:prstGeom prst="line">
                <a:avLst/>
              </a:prstGeom>
              <a:ln w="19050" cap="rnd">
                <a:solidFill>
                  <a:schemeClr val="accent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/>
              <p:nvPr/>
            </p:nvCxnSpPr>
            <p:spPr>
              <a:xfrm flipH="1">
                <a:off x="660400" y="1130300"/>
                <a:ext cx="4048806" cy="0"/>
              </a:xfrm>
              <a:prstGeom prst="line">
                <a:avLst/>
              </a:prstGeom>
              <a:ln w="19050" cap="rnd">
                <a:solidFill>
                  <a:schemeClr val="accent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/>
              <p:nvPr/>
            </p:nvCxnSpPr>
            <p:spPr>
              <a:xfrm flipH="1">
                <a:off x="660400" y="6134100"/>
                <a:ext cx="4048806" cy="0"/>
              </a:xfrm>
              <a:prstGeom prst="line">
                <a:avLst/>
              </a:prstGeom>
              <a:ln w="19050" cap="rnd">
                <a:solidFill>
                  <a:schemeClr val="accent2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组合 11"/>
            <p:cNvGrpSpPr/>
            <p:nvPr/>
          </p:nvGrpSpPr>
          <p:grpSpPr>
            <a:xfrm>
              <a:off x="6467323" y="3343275"/>
              <a:ext cx="577851" cy="577851"/>
              <a:chOff x="800716" y="1726731"/>
              <a:chExt cx="577851" cy="577851"/>
            </a:xfrm>
          </p:grpSpPr>
          <p:sp>
            <p:nvSpPr>
              <p:cNvPr id="13" name="椭圆 12"/>
              <p:cNvSpPr/>
              <p:nvPr/>
            </p:nvSpPr>
            <p:spPr>
              <a:xfrm>
                <a:off x="800716" y="1726731"/>
                <a:ext cx="577851" cy="577851"/>
              </a:xfrm>
              <a:prstGeom prst="ellipse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none" lIns="0" tIns="0" rIns="0" bIns="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3200"/>
                </a:pPr>
                <a:endParaRPr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4" name="任意多边形: 形状 13"/>
              <p:cNvSpPr/>
              <p:nvPr/>
            </p:nvSpPr>
            <p:spPr>
              <a:xfrm>
                <a:off x="944844" y="1884632"/>
                <a:ext cx="289596" cy="262048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  <a:gd name="connsiteX59" fmla="*/ 373273 h 605239"/>
                  <a:gd name="connsiteY59" fmla="*/ 373273 h 605239"/>
                  <a:gd name="connsiteX60" fmla="*/ 373273 h 605239"/>
                  <a:gd name="connsiteY60" fmla="*/ 373273 h 605239"/>
                  <a:gd name="connsiteX61" fmla="*/ 373273 h 605239"/>
                  <a:gd name="connsiteY61" fmla="*/ 373273 h 605239"/>
                  <a:gd name="connsiteX62" fmla="*/ 373273 h 605239"/>
                  <a:gd name="connsiteY62" fmla="*/ 373273 h 605239"/>
                  <a:gd name="connsiteX63" fmla="*/ 373273 h 605239"/>
                  <a:gd name="connsiteY63" fmla="*/ 373273 h 605239"/>
                  <a:gd name="connsiteX64" fmla="*/ 373273 h 605239"/>
                  <a:gd name="connsiteY64" fmla="*/ 373273 h 605239"/>
                  <a:gd name="connsiteX65" fmla="*/ 373273 h 605239"/>
                  <a:gd name="connsiteY65" fmla="*/ 373273 h 605239"/>
                  <a:gd name="connsiteX66" fmla="*/ 373273 h 605239"/>
                  <a:gd name="connsiteY66" fmla="*/ 373273 h 605239"/>
                  <a:gd name="connsiteX67" fmla="*/ 373273 h 605239"/>
                  <a:gd name="connsiteY67" fmla="*/ 373273 h 605239"/>
                  <a:gd name="connsiteX68" fmla="*/ 373273 h 605239"/>
                  <a:gd name="connsiteY68" fmla="*/ 373273 h 605239"/>
                  <a:gd name="connsiteX69" fmla="*/ 373273 h 605239"/>
                  <a:gd name="connsiteY69" fmla="*/ 373273 h 605239"/>
                  <a:gd name="connsiteX70" fmla="*/ 373273 h 605239"/>
                  <a:gd name="connsiteY70" fmla="*/ 373273 h 605239"/>
                  <a:gd name="connsiteX71" fmla="*/ 373273 h 605239"/>
                  <a:gd name="connsiteY71" fmla="*/ 373273 h 605239"/>
                  <a:gd name="connsiteX72" fmla="*/ 373273 h 605239"/>
                  <a:gd name="connsiteY72" fmla="*/ 373273 h 605239"/>
                  <a:gd name="connsiteX73" fmla="*/ 373273 h 605239"/>
                  <a:gd name="connsiteY73" fmla="*/ 373273 h 605239"/>
                  <a:gd name="connsiteX74" fmla="*/ 373273 h 605239"/>
                  <a:gd name="connsiteY74" fmla="*/ 373273 h 605239"/>
                  <a:gd name="connsiteX75" fmla="*/ 373273 h 605239"/>
                  <a:gd name="connsiteY75" fmla="*/ 373273 h 605239"/>
                  <a:gd name="connsiteX76" fmla="*/ 373273 h 605239"/>
                  <a:gd name="connsiteY76" fmla="*/ 373273 h 605239"/>
                  <a:gd name="connsiteX77" fmla="*/ 373273 h 605239"/>
                  <a:gd name="connsiteY77" fmla="*/ 373273 h 605239"/>
                  <a:gd name="connsiteX78" fmla="*/ 373273 h 605239"/>
                  <a:gd name="connsiteY78" fmla="*/ 373273 h 605239"/>
                  <a:gd name="connsiteX79" fmla="*/ 373273 h 605239"/>
                  <a:gd name="connsiteY79" fmla="*/ 373273 h 605239"/>
                  <a:gd name="connsiteX80" fmla="*/ 373273 h 605239"/>
                  <a:gd name="connsiteY80" fmla="*/ 373273 h 605239"/>
                  <a:gd name="connsiteX81" fmla="*/ 373273 h 605239"/>
                  <a:gd name="connsiteY81" fmla="*/ 373273 h 605239"/>
                  <a:gd name="connsiteX82" fmla="*/ 373273 h 605239"/>
                  <a:gd name="connsiteY82" fmla="*/ 373273 h 605239"/>
                  <a:gd name="connsiteX83" fmla="*/ 373273 h 605239"/>
                  <a:gd name="connsiteY83" fmla="*/ 373273 h 605239"/>
                  <a:gd name="connsiteX84" fmla="*/ 373273 h 605239"/>
                  <a:gd name="connsiteY84" fmla="*/ 373273 h 605239"/>
                  <a:gd name="connsiteX85" fmla="*/ 373273 h 605239"/>
                  <a:gd name="connsiteY85" fmla="*/ 373273 h 605239"/>
                  <a:gd name="connsiteX86" fmla="*/ 373273 h 605239"/>
                  <a:gd name="connsiteY86" fmla="*/ 373273 h 605239"/>
                  <a:gd name="connsiteX87" fmla="*/ 373273 h 605239"/>
                  <a:gd name="connsiteY87" fmla="*/ 373273 h 605239"/>
                  <a:gd name="connsiteX88" fmla="*/ 373273 h 605239"/>
                  <a:gd name="connsiteY88" fmla="*/ 373273 h 605239"/>
                  <a:gd name="connsiteX89" fmla="*/ 373273 h 605239"/>
                  <a:gd name="connsiteY89" fmla="*/ 373273 h 605239"/>
                  <a:gd name="connsiteX90" fmla="*/ 373273 h 605239"/>
                  <a:gd name="connsiteY90" fmla="*/ 373273 h 605239"/>
                  <a:gd name="connsiteX91" fmla="*/ 373273 h 605239"/>
                  <a:gd name="connsiteY91" fmla="*/ 373273 h 605239"/>
                  <a:gd name="connsiteX92" fmla="*/ 373273 h 605239"/>
                  <a:gd name="connsiteY92" fmla="*/ 373273 h 605239"/>
                  <a:gd name="connsiteX93" fmla="*/ 373273 h 605239"/>
                  <a:gd name="connsiteY93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608039" h="550199">
                    <a:moveTo>
                      <a:pt x="461128" y="431155"/>
                    </a:moveTo>
                    <a:lnTo>
                      <a:pt x="501529" y="431155"/>
                    </a:lnTo>
                    <a:lnTo>
                      <a:pt x="534583" y="431155"/>
                    </a:lnTo>
                    <a:lnTo>
                      <a:pt x="574984" y="431155"/>
                    </a:lnTo>
                    <a:cubicBezTo>
                      <a:pt x="593159" y="431155"/>
                      <a:pt x="608133" y="446024"/>
                      <a:pt x="608039" y="464280"/>
                    </a:cubicBezTo>
                    <a:lnTo>
                      <a:pt x="608039" y="517074"/>
                    </a:lnTo>
                    <a:cubicBezTo>
                      <a:pt x="608039" y="535236"/>
                      <a:pt x="593065" y="550199"/>
                      <a:pt x="574890" y="550199"/>
                    </a:cubicBezTo>
                    <a:lnTo>
                      <a:pt x="461128" y="550199"/>
                    </a:lnTo>
                    <a:cubicBezTo>
                      <a:pt x="442858" y="550199"/>
                      <a:pt x="427979" y="535236"/>
                      <a:pt x="427979" y="517074"/>
                    </a:cubicBezTo>
                    <a:lnTo>
                      <a:pt x="427979" y="464280"/>
                    </a:lnTo>
                    <a:cubicBezTo>
                      <a:pt x="427979" y="446024"/>
                      <a:pt x="442858" y="431155"/>
                      <a:pt x="461128" y="431155"/>
                    </a:cubicBezTo>
                    <a:close/>
                    <a:moveTo>
                      <a:pt x="247103" y="431155"/>
                    </a:moveTo>
                    <a:lnTo>
                      <a:pt x="287504" y="431155"/>
                    </a:lnTo>
                    <a:lnTo>
                      <a:pt x="320558" y="431155"/>
                    </a:lnTo>
                    <a:lnTo>
                      <a:pt x="360959" y="431155"/>
                    </a:lnTo>
                    <a:cubicBezTo>
                      <a:pt x="379134" y="431155"/>
                      <a:pt x="394108" y="446024"/>
                      <a:pt x="394014" y="464280"/>
                    </a:cubicBezTo>
                    <a:lnTo>
                      <a:pt x="394014" y="517074"/>
                    </a:lnTo>
                    <a:cubicBezTo>
                      <a:pt x="394014" y="535236"/>
                      <a:pt x="379040" y="550199"/>
                      <a:pt x="360865" y="550199"/>
                    </a:cubicBezTo>
                    <a:lnTo>
                      <a:pt x="247103" y="550199"/>
                    </a:lnTo>
                    <a:cubicBezTo>
                      <a:pt x="228833" y="550199"/>
                      <a:pt x="213954" y="535236"/>
                      <a:pt x="213954" y="517074"/>
                    </a:cubicBezTo>
                    <a:lnTo>
                      <a:pt x="213954" y="464280"/>
                    </a:lnTo>
                    <a:cubicBezTo>
                      <a:pt x="213954" y="446024"/>
                      <a:pt x="228833" y="431155"/>
                      <a:pt x="247103" y="431155"/>
                    </a:cubicBezTo>
                    <a:close/>
                    <a:moveTo>
                      <a:pt x="33162" y="431155"/>
                    </a:moveTo>
                    <a:lnTo>
                      <a:pt x="73578" y="431155"/>
                    </a:lnTo>
                    <a:lnTo>
                      <a:pt x="106646" y="431155"/>
                    </a:lnTo>
                    <a:lnTo>
                      <a:pt x="146968" y="431155"/>
                    </a:lnTo>
                    <a:cubicBezTo>
                      <a:pt x="165339" y="431155"/>
                      <a:pt x="180224" y="446024"/>
                      <a:pt x="180130" y="464280"/>
                    </a:cubicBezTo>
                    <a:lnTo>
                      <a:pt x="180130" y="517074"/>
                    </a:lnTo>
                    <a:cubicBezTo>
                      <a:pt x="180130" y="535236"/>
                      <a:pt x="165150" y="550199"/>
                      <a:pt x="146968" y="550199"/>
                    </a:cubicBezTo>
                    <a:lnTo>
                      <a:pt x="33162" y="550199"/>
                    </a:lnTo>
                    <a:cubicBezTo>
                      <a:pt x="14979" y="550199"/>
                      <a:pt x="0" y="535236"/>
                      <a:pt x="0" y="517074"/>
                    </a:cubicBezTo>
                    <a:lnTo>
                      <a:pt x="0" y="464280"/>
                    </a:lnTo>
                    <a:cubicBezTo>
                      <a:pt x="0" y="446024"/>
                      <a:pt x="14979" y="431155"/>
                      <a:pt x="33162" y="431155"/>
                    </a:cubicBezTo>
                    <a:close/>
                    <a:moveTo>
                      <a:pt x="163140" y="99327"/>
                    </a:moveTo>
                    <a:cubicBezTo>
                      <a:pt x="163046" y="101208"/>
                      <a:pt x="162857" y="102713"/>
                      <a:pt x="162857" y="104218"/>
                    </a:cubicBezTo>
                    <a:lnTo>
                      <a:pt x="162857" y="157362"/>
                    </a:lnTo>
                    <a:lnTo>
                      <a:pt x="162857" y="217184"/>
                    </a:lnTo>
                    <a:cubicBezTo>
                      <a:pt x="162857" y="234021"/>
                      <a:pt x="173220" y="244273"/>
                      <a:pt x="190176" y="244273"/>
                    </a:cubicBezTo>
                    <a:lnTo>
                      <a:pt x="249053" y="244273"/>
                    </a:lnTo>
                    <a:cubicBezTo>
                      <a:pt x="305480" y="244273"/>
                      <a:pt x="361813" y="244273"/>
                      <a:pt x="418146" y="244367"/>
                    </a:cubicBezTo>
                    <a:cubicBezTo>
                      <a:pt x="434443" y="244367"/>
                      <a:pt x="444994" y="233833"/>
                      <a:pt x="444994" y="217466"/>
                    </a:cubicBezTo>
                    <a:lnTo>
                      <a:pt x="444994" y="140525"/>
                    </a:lnTo>
                    <a:lnTo>
                      <a:pt x="444994" y="104971"/>
                    </a:lnTo>
                    <a:lnTo>
                      <a:pt x="444994" y="99327"/>
                    </a:lnTo>
                    <a:lnTo>
                      <a:pt x="248958" y="99327"/>
                    </a:lnTo>
                    <a:close/>
                    <a:moveTo>
                      <a:pt x="415226" y="33955"/>
                    </a:moveTo>
                    <a:cubicBezTo>
                      <a:pt x="406465" y="33955"/>
                      <a:pt x="399306" y="41104"/>
                      <a:pt x="399306" y="49852"/>
                    </a:cubicBezTo>
                    <a:cubicBezTo>
                      <a:pt x="399306" y="58693"/>
                      <a:pt x="406465" y="65842"/>
                      <a:pt x="415226" y="65842"/>
                    </a:cubicBezTo>
                    <a:cubicBezTo>
                      <a:pt x="423987" y="65842"/>
                      <a:pt x="431146" y="58693"/>
                      <a:pt x="431146" y="49852"/>
                    </a:cubicBezTo>
                    <a:cubicBezTo>
                      <a:pt x="431146" y="41104"/>
                      <a:pt x="423987" y="33955"/>
                      <a:pt x="415226" y="33955"/>
                    </a:cubicBezTo>
                    <a:close/>
                    <a:moveTo>
                      <a:pt x="360306" y="33955"/>
                    </a:moveTo>
                    <a:cubicBezTo>
                      <a:pt x="351545" y="33955"/>
                      <a:pt x="344386" y="41104"/>
                      <a:pt x="344386" y="49852"/>
                    </a:cubicBezTo>
                    <a:cubicBezTo>
                      <a:pt x="344386" y="58693"/>
                      <a:pt x="351545" y="65842"/>
                      <a:pt x="360306" y="65842"/>
                    </a:cubicBezTo>
                    <a:cubicBezTo>
                      <a:pt x="369161" y="65842"/>
                      <a:pt x="376320" y="58693"/>
                      <a:pt x="376320" y="49852"/>
                    </a:cubicBezTo>
                    <a:cubicBezTo>
                      <a:pt x="376320" y="41104"/>
                      <a:pt x="369161" y="33955"/>
                      <a:pt x="360306" y="33955"/>
                    </a:cubicBezTo>
                    <a:close/>
                    <a:moveTo>
                      <a:pt x="305480" y="33955"/>
                    </a:moveTo>
                    <a:cubicBezTo>
                      <a:pt x="296625" y="33955"/>
                      <a:pt x="289466" y="41104"/>
                      <a:pt x="289466" y="49852"/>
                    </a:cubicBezTo>
                    <a:cubicBezTo>
                      <a:pt x="289466" y="58693"/>
                      <a:pt x="296625" y="65842"/>
                      <a:pt x="305480" y="65842"/>
                    </a:cubicBezTo>
                    <a:cubicBezTo>
                      <a:pt x="314241" y="65842"/>
                      <a:pt x="321400" y="58693"/>
                      <a:pt x="321400" y="49852"/>
                    </a:cubicBezTo>
                    <a:cubicBezTo>
                      <a:pt x="321400" y="41104"/>
                      <a:pt x="314241" y="33955"/>
                      <a:pt x="305480" y="33955"/>
                    </a:cubicBezTo>
                    <a:close/>
                    <a:moveTo>
                      <a:pt x="189611" y="0"/>
                    </a:moveTo>
                    <a:lnTo>
                      <a:pt x="248958" y="0"/>
                    </a:lnTo>
                    <a:lnTo>
                      <a:pt x="417770" y="0"/>
                    </a:lnTo>
                    <a:cubicBezTo>
                      <a:pt x="452813" y="0"/>
                      <a:pt x="477871" y="25396"/>
                      <a:pt x="477871" y="60386"/>
                    </a:cubicBezTo>
                    <a:lnTo>
                      <a:pt x="477871" y="157456"/>
                    </a:lnTo>
                    <a:lnTo>
                      <a:pt x="477871" y="217560"/>
                    </a:lnTo>
                    <a:cubicBezTo>
                      <a:pt x="477871" y="242016"/>
                      <a:pt x="466755" y="260169"/>
                      <a:pt x="444712" y="271457"/>
                    </a:cubicBezTo>
                    <a:cubicBezTo>
                      <a:pt x="436045" y="275877"/>
                      <a:pt x="426625" y="277288"/>
                      <a:pt x="417016" y="277288"/>
                    </a:cubicBezTo>
                    <a:lnTo>
                      <a:pt x="320552" y="277288"/>
                    </a:lnTo>
                    <a:lnTo>
                      <a:pt x="320552" y="340685"/>
                    </a:lnTo>
                    <a:lnTo>
                      <a:pt x="518095" y="340685"/>
                    </a:lnTo>
                    <a:cubicBezTo>
                      <a:pt x="527233" y="340685"/>
                      <a:pt x="534675" y="348021"/>
                      <a:pt x="534675" y="357145"/>
                    </a:cubicBezTo>
                    <a:lnTo>
                      <a:pt x="534675" y="402294"/>
                    </a:lnTo>
                    <a:lnTo>
                      <a:pt x="501610" y="402294"/>
                    </a:lnTo>
                    <a:lnTo>
                      <a:pt x="501610" y="373606"/>
                    </a:lnTo>
                    <a:lnTo>
                      <a:pt x="320647" y="373606"/>
                    </a:lnTo>
                    <a:lnTo>
                      <a:pt x="320647" y="402294"/>
                    </a:lnTo>
                    <a:lnTo>
                      <a:pt x="287582" y="402294"/>
                    </a:lnTo>
                    <a:lnTo>
                      <a:pt x="287582" y="373606"/>
                    </a:lnTo>
                    <a:lnTo>
                      <a:pt x="106618" y="373606"/>
                    </a:lnTo>
                    <a:lnTo>
                      <a:pt x="106524" y="373606"/>
                    </a:lnTo>
                    <a:lnTo>
                      <a:pt x="106524" y="402294"/>
                    </a:lnTo>
                    <a:lnTo>
                      <a:pt x="73459" y="402294"/>
                    </a:lnTo>
                    <a:lnTo>
                      <a:pt x="73459" y="357145"/>
                    </a:lnTo>
                    <a:cubicBezTo>
                      <a:pt x="73459" y="348115"/>
                      <a:pt x="80901" y="340685"/>
                      <a:pt x="90039" y="340685"/>
                    </a:cubicBezTo>
                    <a:lnTo>
                      <a:pt x="287393" y="340685"/>
                    </a:lnTo>
                    <a:lnTo>
                      <a:pt x="287393" y="277288"/>
                    </a:lnTo>
                    <a:lnTo>
                      <a:pt x="248770" y="277288"/>
                    </a:lnTo>
                    <a:cubicBezTo>
                      <a:pt x="228328" y="277382"/>
                      <a:pt x="207980" y="277382"/>
                      <a:pt x="187633" y="277288"/>
                    </a:cubicBezTo>
                    <a:cubicBezTo>
                      <a:pt x="161727" y="277100"/>
                      <a:pt x="139778" y="260734"/>
                      <a:pt x="132524" y="236090"/>
                    </a:cubicBezTo>
                    <a:cubicBezTo>
                      <a:pt x="130828" y="230352"/>
                      <a:pt x="129981" y="224239"/>
                      <a:pt x="129981" y="218219"/>
                    </a:cubicBezTo>
                    <a:lnTo>
                      <a:pt x="129981" y="157456"/>
                    </a:lnTo>
                    <a:lnTo>
                      <a:pt x="129981" y="58881"/>
                    </a:lnTo>
                    <a:cubicBezTo>
                      <a:pt x="130075" y="25208"/>
                      <a:pt x="155698" y="0"/>
                      <a:pt x="1896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none" lIns="0" tIns="0" rIns="0" bIns="0" numCol="1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3200"/>
                </a:pPr>
                <a:endParaRPr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思路及方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>
                <a:cs typeface="+mn-ea"/>
                <a:sym typeface="+mn-lt"/>
              </a:rPr>
              <a:t>研究思路   研究基础   研究方法</a:t>
            </a:r>
            <a:endParaRPr lang="en-US" altLang="zh-CN" dirty="0">
              <a:cs typeface="+mn-ea"/>
              <a:sym typeface="+mn-lt"/>
            </a:endParaRPr>
          </a:p>
          <a:p>
            <a:pPr lvl="0"/>
            <a:r>
              <a:rPr lang="zh-CN" altLang="en-US" dirty="0">
                <a:cs typeface="+mn-ea"/>
                <a:sym typeface="+mn-lt"/>
              </a:rPr>
              <a:t>研究方法可行性</a:t>
            </a:r>
            <a:r>
              <a:rPr lang="en-US" altLang="zh-CN" dirty="0">
                <a:cs typeface="+mn-ea"/>
                <a:sym typeface="+mn-lt"/>
              </a:rPr>
              <a:t>   </a:t>
            </a:r>
            <a:r>
              <a:rPr lang="zh-CN" altLang="en-US" dirty="0">
                <a:cs typeface="+mn-ea"/>
                <a:sym typeface="+mn-lt"/>
              </a:rPr>
              <a:t>研究过程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91703" y="3374184"/>
            <a:ext cx="1773697" cy="190590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思路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grpSp>
          <p:nvGrpSpPr>
            <p:cNvPr id="6" name="组合 5"/>
            <p:cNvGrpSpPr/>
            <p:nvPr/>
          </p:nvGrpSpPr>
          <p:grpSpPr>
            <a:xfrm>
              <a:off x="9111998" y="4316240"/>
              <a:ext cx="2406902" cy="1817860"/>
              <a:chOff x="9111998" y="4417840"/>
              <a:chExt cx="2406902" cy="1817860"/>
            </a:xfrm>
          </p:grpSpPr>
          <p:sp>
            <p:nvSpPr>
              <p:cNvPr id="22" name="任意多边形: 形状 21"/>
              <p:cNvSpPr/>
              <p:nvPr/>
            </p:nvSpPr>
            <p:spPr bwMode="auto">
              <a:xfrm>
                <a:off x="10017404" y="5519125"/>
                <a:ext cx="668662" cy="608067"/>
              </a:xfrm>
              <a:custGeom>
                <a:avLst/>
                <a:gdLst>
                  <a:gd name="T0" fmla="*/ 305 w 371"/>
                  <a:gd name="T1" fmla="*/ 8 h 338"/>
                  <a:gd name="T2" fmla="*/ 253 w 371"/>
                  <a:gd name="T3" fmla="*/ 99 h 338"/>
                  <a:gd name="T4" fmla="*/ 220 w 371"/>
                  <a:gd name="T5" fmla="*/ 218 h 338"/>
                  <a:gd name="T6" fmla="*/ 14 w 371"/>
                  <a:gd name="T7" fmla="*/ 244 h 338"/>
                  <a:gd name="T8" fmla="*/ 5 w 371"/>
                  <a:gd name="T9" fmla="*/ 324 h 338"/>
                  <a:gd name="T10" fmla="*/ 32 w 371"/>
                  <a:gd name="T11" fmla="*/ 335 h 338"/>
                  <a:gd name="T12" fmla="*/ 315 w 371"/>
                  <a:gd name="T13" fmla="*/ 298 h 338"/>
                  <a:gd name="T14" fmla="*/ 355 w 371"/>
                  <a:gd name="T15" fmla="*/ 209 h 338"/>
                  <a:gd name="T16" fmla="*/ 360 w 371"/>
                  <a:gd name="T17" fmla="*/ 36 h 338"/>
                  <a:gd name="T18" fmla="*/ 305 w 371"/>
                  <a:gd name="T19" fmla="*/ 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338">
                    <a:moveTo>
                      <a:pt x="305" y="8"/>
                    </a:moveTo>
                    <a:cubicBezTo>
                      <a:pt x="290" y="15"/>
                      <a:pt x="263" y="28"/>
                      <a:pt x="253" y="99"/>
                    </a:cubicBezTo>
                    <a:cubicBezTo>
                      <a:pt x="244" y="171"/>
                      <a:pt x="249" y="216"/>
                      <a:pt x="220" y="218"/>
                    </a:cubicBezTo>
                    <a:cubicBezTo>
                      <a:pt x="191" y="220"/>
                      <a:pt x="20" y="230"/>
                      <a:pt x="14" y="244"/>
                    </a:cubicBezTo>
                    <a:cubicBezTo>
                      <a:pt x="7" y="259"/>
                      <a:pt x="5" y="324"/>
                      <a:pt x="5" y="324"/>
                    </a:cubicBezTo>
                    <a:cubicBezTo>
                      <a:pt x="5" y="324"/>
                      <a:pt x="0" y="338"/>
                      <a:pt x="32" y="335"/>
                    </a:cubicBezTo>
                    <a:cubicBezTo>
                      <a:pt x="64" y="333"/>
                      <a:pt x="286" y="324"/>
                      <a:pt x="315" y="298"/>
                    </a:cubicBezTo>
                    <a:cubicBezTo>
                      <a:pt x="345" y="272"/>
                      <a:pt x="349" y="250"/>
                      <a:pt x="355" y="209"/>
                    </a:cubicBezTo>
                    <a:cubicBezTo>
                      <a:pt x="361" y="169"/>
                      <a:pt x="371" y="71"/>
                      <a:pt x="360" y="36"/>
                    </a:cubicBezTo>
                    <a:cubicBezTo>
                      <a:pt x="349" y="1"/>
                      <a:pt x="319" y="0"/>
                      <a:pt x="305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/>
              <p:cNvSpPr/>
              <p:nvPr/>
            </p:nvSpPr>
            <p:spPr bwMode="auto">
              <a:xfrm>
                <a:off x="9841960" y="5953156"/>
                <a:ext cx="322705" cy="176149"/>
              </a:xfrm>
              <a:custGeom>
                <a:avLst/>
                <a:gdLst>
                  <a:gd name="T0" fmla="*/ 132 w 179"/>
                  <a:gd name="T1" fmla="*/ 3 h 98"/>
                  <a:gd name="T2" fmla="*/ 12 w 179"/>
                  <a:gd name="T3" fmla="*/ 47 h 98"/>
                  <a:gd name="T4" fmla="*/ 71 w 179"/>
                  <a:gd name="T5" fmla="*/ 92 h 98"/>
                  <a:gd name="T6" fmla="*/ 175 w 179"/>
                  <a:gd name="T7" fmla="*/ 81 h 98"/>
                  <a:gd name="T8" fmla="*/ 132 w 179"/>
                  <a:gd name="T9" fmla="*/ 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98">
                    <a:moveTo>
                      <a:pt x="132" y="3"/>
                    </a:moveTo>
                    <a:cubicBezTo>
                      <a:pt x="132" y="3"/>
                      <a:pt x="24" y="0"/>
                      <a:pt x="12" y="47"/>
                    </a:cubicBezTo>
                    <a:cubicBezTo>
                      <a:pt x="0" y="95"/>
                      <a:pt x="10" y="89"/>
                      <a:pt x="71" y="92"/>
                    </a:cubicBezTo>
                    <a:cubicBezTo>
                      <a:pt x="132" y="95"/>
                      <a:pt x="171" y="98"/>
                      <a:pt x="175" y="81"/>
                    </a:cubicBezTo>
                    <a:cubicBezTo>
                      <a:pt x="179" y="65"/>
                      <a:pt x="172" y="13"/>
                      <a:pt x="132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/>
              <p:cNvSpPr/>
              <p:nvPr/>
            </p:nvSpPr>
            <p:spPr bwMode="auto">
              <a:xfrm>
                <a:off x="10480325" y="5419777"/>
                <a:ext cx="928658" cy="655275"/>
              </a:xfrm>
              <a:custGeom>
                <a:avLst/>
                <a:gdLst>
                  <a:gd name="T0" fmla="*/ 467 w 515"/>
                  <a:gd name="T1" fmla="*/ 59 h 364"/>
                  <a:gd name="T2" fmla="*/ 301 w 515"/>
                  <a:gd name="T3" fmla="*/ 0 h 364"/>
                  <a:gd name="T4" fmla="*/ 214 w 515"/>
                  <a:gd name="T5" fmla="*/ 0 h 364"/>
                  <a:gd name="T6" fmla="*/ 48 w 515"/>
                  <a:gd name="T7" fmla="*/ 59 h 364"/>
                  <a:gd name="T8" fmla="*/ 0 w 515"/>
                  <a:gd name="T9" fmla="*/ 364 h 364"/>
                  <a:gd name="T10" fmla="*/ 515 w 515"/>
                  <a:gd name="T11" fmla="*/ 364 h 364"/>
                  <a:gd name="T12" fmla="*/ 467 w 515"/>
                  <a:gd name="T13" fmla="*/ 59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5" h="364">
                    <a:moveTo>
                      <a:pt x="467" y="59"/>
                    </a:moveTo>
                    <a:cubicBezTo>
                      <a:pt x="443" y="28"/>
                      <a:pt x="301" y="0"/>
                      <a:pt x="301" y="0"/>
                    </a:cubicBezTo>
                    <a:cubicBezTo>
                      <a:pt x="214" y="0"/>
                      <a:pt x="214" y="0"/>
                      <a:pt x="214" y="0"/>
                    </a:cubicBezTo>
                    <a:cubicBezTo>
                      <a:pt x="214" y="0"/>
                      <a:pt x="72" y="28"/>
                      <a:pt x="48" y="59"/>
                    </a:cubicBezTo>
                    <a:cubicBezTo>
                      <a:pt x="24" y="89"/>
                      <a:pt x="0" y="364"/>
                      <a:pt x="0" y="364"/>
                    </a:cubicBezTo>
                    <a:cubicBezTo>
                      <a:pt x="515" y="364"/>
                      <a:pt x="515" y="364"/>
                      <a:pt x="515" y="364"/>
                    </a:cubicBezTo>
                    <a:cubicBezTo>
                      <a:pt x="515" y="364"/>
                      <a:pt x="491" y="89"/>
                      <a:pt x="467" y="59"/>
                    </a:cubicBezTo>
                    <a:close/>
                  </a:path>
                </a:pathLst>
              </a:custGeom>
              <a:solidFill>
                <a:srgbClr val="C0E8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/>
              <p:cNvSpPr/>
              <p:nvPr/>
            </p:nvSpPr>
            <p:spPr bwMode="auto">
              <a:xfrm>
                <a:off x="10781187" y="5247150"/>
                <a:ext cx="328342" cy="349480"/>
              </a:xfrm>
              <a:custGeom>
                <a:avLst/>
                <a:gdLst>
                  <a:gd name="T0" fmla="*/ 129 w 182"/>
                  <a:gd name="T1" fmla="*/ 95 h 194"/>
                  <a:gd name="T2" fmla="*/ 129 w 182"/>
                  <a:gd name="T3" fmla="*/ 38 h 194"/>
                  <a:gd name="T4" fmla="*/ 91 w 182"/>
                  <a:gd name="T5" fmla="*/ 0 h 194"/>
                  <a:gd name="T6" fmla="*/ 53 w 182"/>
                  <a:gd name="T7" fmla="*/ 38 h 194"/>
                  <a:gd name="T8" fmla="*/ 53 w 182"/>
                  <a:gd name="T9" fmla="*/ 95 h 194"/>
                  <a:gd name="T10" fmla="*/ 9 w 182"/>
                  <a:gd name="T11" fmla="*/ 129 h 194"/>
                  <a:gd name="T12" fmla="*/ 91 w 182"/>
                  <a:gd name="T13" fmla="*/ 194 h 194"/>
                  <a:gd name="T14" fmla="*/ 173 w 182"/>
                  <a:gd name="T15" fmla="*/ 129 h 194"/>
                  <a:gd name="T16" fmla="*/ 129 w 182"/>
                  <a:gd name="T17" fmla="*/ 95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" h="194">
                    <a:moveTo>
                      <a:pt x="129" y="95"/>
                    </a:moveTo>
                    <a:cubicBezTo>
                      <a:pt x="129" y="38"/>
                      <a:pt x="129" y="38"/>
                      <a:pt x="129" y="38"/>
                    </a:cubicBezTo>
                    <a:cubicBezTo>
                      <a:pt x="129" y="17"/>
                      <a:pt x="112" y="0"/>
                      <a:pt x="91" y="0"/>
                    </a:cubicBezTo>
                    <a:cubicBezTo>
                      <a:pt x="70" y="0"/>
                      <a:pt x="53" y="17"/>
                      <a:pt x="53" y="38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34" y="101"/>
                      <a:pt x="9" y="113"/>
                      <a:pt x="9" y="129"/>
                    </a:cubicBezTo>
                    <a:cubicBezTo>
                      <a:pt x="9" y="154"/>
                      <a:pt x="0" y="194"/>
                      <a:pt x="91" y="194"/>
                    </a:cubicBezTo>
                    <a:cubicBezTo>
                      <a:pt x="182" y="194"/>
                      <a:pt x="173" y="154"/>
                      <a:pt x="173" y="129"/>
                    </a:cubicBezTo>
                    <a:cubicBezTo>
                      <a:pt x="173" y="113"/>
                      <a:pt x="147" y="101"/>
                      <a:pt x="129" y="95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/>
              <p:cNvSpPr/>
              <p:nvPr/>
            </p:nvSpPr>
            <p:spPr bwMode="auto">
              <a:xfrm>
                <a:off x="10613493" y="4640493"/>
                <a:ext cx="663730" cy="732781"/>
              </a:xfrm>
              <a:custGeom>
                <a:avLst/>
                <a:gdLst>
                  <a:gd name="T0" fmla="*/ 368 w 368"/>
                  <a:gd name="T1" fmla="*/ 219 h 407"/>
                  <a:gd name="T2" fmla="*/ 184 w 368"/>
                  <a:gd name="T3" fmla="*/ 407 h 407"/>
                  <a:gd name="T4" fmla="*/ 0 w 368"/>
                  <a:gd name="T5" fmla="*/ 219 h 407"/>
                  <a:gd name="T6" fmla="*/ 184 w 368"/>
                  <a:gd name="T7" fmla="*/ 0 h 407"/>
                  <a:gd name="T8" fmla="*/ 368 w 368"/>
                  <a:gd name="T9" fmla="*/ 219 h 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8" h="407">
                    <a:moveTo>
                      <a:pt x="368" y="219"/>
                    </a:moveTo>
                    <a:cubicBezTo>
                      <a:pt x="368" y="348"/>
                      <a:pt x="300" y="407"/>
                      <a:pt x="184" y="407"/>
                    </a:cubicBezTo>
                    <a:cubicBezTo>
                      <a:pt x="67" y="407"/>
                      <a:pt x="0" y="348"/>
                      <a:pt x="0" y="219"/>
                    </a:cubicBezTo>
                    <a:cubicBezTo>
                      <a:pt x="0" y="90"/>
                      <a:pt x="42" y="0"/>
                      <a:pt x="184" y="0"/>
                    </a:cubicBezTo>
                    <a:cubicBezTo>
                      <a:pt x="326" y="0"/>
                      <a:pt x="368" y="90"/>
                      <a:pt x="368" y="219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/>
              <p:cNvSpPr/>
              <p:nvPr/>
            </p:nvSpPr>
            <p:spPr bwMode="auto">
              <a:xfrm>
                <a:off x="10554307" y="4417840"/>
                <a:ext cx="780693" cy="634842"/>
              </a:xfrm>
              <a:custGeom>
                <a:avLst/>
                <a:gdLst>
                  <a:gd name="T0" fmla="*/ 370 w 433"/>
                  <a:gd name="T1" fmla="*/ 154 h 353"/>
                  <a:gd name="T2" fmla="*/ 299 w 433"/>
                  <a:gd name="T3" fmla="*/ 119 h 353"/>
                  <a:gd name="T4" fmla="*/ 305 w 433"/>
                  <a:gd name="T5" fmla="*/ 88 h 353"/>
                  <a:gd name="T6" fmla="*/ 217 w 433"/>
                  <a:gd name="T7" fmla="*/ 0 h 353"/>
                  <a:gd name="T8" fmla="*/ 129 w 433"/>
                  <a:gd name="T9" fmla="*/ 88 h 353"/>
                  <a:gd name="T10" fmla="*/ 135 w 433"/>
                  <a:gd name="T11" fmla="*/ 119 h 353"/>
                  <a:gd name="T12" fmla="*/ 63 w 433"/>
                  <a:gd name="T13" fmla="*/ 154 h 353"/>
                  <a:gd name="T14" fmla="*/ 36 w 433"/>
                  <a:gd name="T15" fmla="*/ 353 h 353"/>
                  <a:gd name="T16" fmla="*/ 52 w 433"/>
                  <a:gd name="T17" fmla="*/ 312 h 353"/>
                  <a:gd name="T18" fmla="*/ 115 w 433"/>
                  <a:gd name="T19" fmla="*/ 281 h 353"/>
                  <a:gd name="T20" fmla="*/ 126 w 433"/>
                  <a:gd name="T21" fmla="*/ 254 h 353"/>
                  <a:gd name="T22" fmla="*/ 143 w 433"/>
                  <a:gd name="T23" fmla="*/ 280 h 353"/>
                  <a:gd name="T24" fmla="*/ 217 w 433"/>
                  <a:gd name="T25" fmla="*/ 282 h 353"/>
                  <a:gd name="T26" fmla="*/ 291 w 433"/>
                  <a:gd name="T27" fmla="*/ 280 h 353"/>
                  <a:gd name="T28" fmla="*/ 307 w 433"/>
                  <a:gd name="T29" fmla="*/ 254 h 353"/>
                  <a:gd name="T30" fmla="*/ 318 w 433"/>
                  <a:gd name="T31" fmla="*/ 281 h 353"/>
                  <a:gd name="T32" fmla="*/ 381 w 433"/>
                  <a:gd name="T33" fmla="*/ 312 h 353"/>
                  <a:gd name="T34" fmla="*/ 397 w 433"/>
                  <a:gd name="T35" fmla="*/ 353 h 353"/>
                  <a:gd name="T36" fmla="*/ 370 w 433"/>
                  <a:gd name="T37" fmla="*/ 154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3" h="353">
                    <a:moveTo>
                      <a:pt x="370" y="154"/>
                    </a:moveTo>
                    <a:cubicBezTo>
                      <a:pt x="348" y="137"/>
                      <a:pt x="325" y="126"/>
                      <a:pt x="299" y="119"/>
                    </a:cubicBezTo>
                    <a:cubicBezTo>
                      <a:pt x="303" y="110"/>
                      <a:pt x="305" y="99"/>
                      <a:pt x="305" y="88"/>
                    </a:cubicBezTo>
                    <a:cubicBezTo>
                      <a:pt x="305" y="39"/>
                      <a:pt x="265" y="0"/>
                      <a:pt x="217" y="0"/>
                    </a:cubicBezTo>
                    <a:cubicBezTo>
                      <a:pt x="168" y="0"/>
                      <a:pt x="129" y="39"/>
                      <a:pt x="129" y="88"/>
                    </a:cubicBezTo>
                    <a:cubicBezTo>
                      <a:pt x="129" y="99"/>
                      <a:pt x="131" y="110"/>
                      <a:pt x="135" y="119"/>
                    </a:cubicBezTo>
                    <a:cubicBezTo>
                      <a:pt x="109" y="126"/>
                      <a:pt x="85" y="137"/>
                      <a:pt x="63" y="154"/>
                    </a:cubicBezTo>
                    <a:cubicBezTo>
                      <a:pt x="0" y="202"/>
                      <a:pt x="23" y="352"/>
                      <a:pt x="36" y="353"/>
                    </a:cubicBezTo>
                    <a:cubicBezTo>
                      <a:pt x="49" y="353"/>
                      <a:pt x="40" y="334"/>
                      <a:pt x="52" y="312"/>
                    </a:cubicBezTo>
                    <a:cubicBezTo>
                      <a:pt x="64" y="290"/>
                      <a:pt x="107" y="282"/>
                      <a:pt x="115" y="281"/>
                    </a:cubicBezTo>
                    <a:cubicBezTo>
                      <a:pt x="123" y="280"/>
                      <a:pt x="120" y="254"/>
                      <a:pt x="126" y="254"/>
                    </a:cubicBezTo>
                    <a:cubicBezTo>
                      <a:pt x="133" y="254"/>
                      <a:pt x="130" y="278"/>
                      <a:pt x="143" y="280"/>
                    </a:cubicBezTo>
                    <a:cubicBezTo>
                      <a:pt x="154" y="282"/>
                      <a:pt x="190" y="282"/>
                      <a:pt x="217" y="282"/>
                    </a:cubicBezTo>
                    <a:cubicBezTo>
                      <a:pt x="244" y="282"/>
                      <a:pt x="280" y="282"/>
                      <a:pt x="291" y="280"/>
                    </a:cubicBezTo>
                    <a:cubicBezTo>
                      <a:pt x="303" y="278"/>
                      <a:pt x="301" y="254"/>
                      <a:pt x="307" y="254"/>
                    </a:cubicBezTo>
                    <a:cubicBezTo>
                      <a:pt x="314" y="254"/>
                      <a:pt x="310" y="280"/>
                      <a:pt x="318" y="281"/>
                    </a:cubicBezTo>
                    <a:cubicBezTo>
                      <a:pt x="326" y="282"/>
                      <a:pt x="369" y="290"/>
                      <a:pt x="381" y="312"/>
                    </a:cubicBezTo>
                    <a:cubicBezTo>
                      <a:pt x="393" y="334"/>
                      <a:pt x="384" y="353"/>
                      <a:pt x="397" y="353"/>
                    </a:cubicBezTo>
                    <a:cubicBezTo>
                      <a:pt x="410" y="352"/>
                      <a:pt x="433" y="202"/>
                      <a:pt x="370" y="154"/>
                    </a:cubicBezTo>
                    <a:close/>
                  </a:path>
                </a:pathLst>
              </a:custGeom>
              <a:solidFill>
                <a:srgbClr val="C0E8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" name="椭圆 27"/>
              <p:cNvSpPr/>
              <p:nvPr/>
            </p:nvSpPr>
            <p:spPr bwMode="auto">
              <a:xfrm>
                <a:off x="10842487" y="5211216"/>
                <a:ext cx="117668" cy="119077"/>
              </a:xfrm>
              <a:prstGeom prst="ellipse">
                <a:avLst/>
              </a:prstGeom>
              <a:solidFill>
                <a:srgbClr val="1D26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/>
              <p:cNvSpPr/>
              <p:nvPr/>
            </p:nvSpPr>
            <p:spPr bwMode="auto">
              <a:xfrm>
                <a:off x="10599401" y="4678541"/>
                <a:ext cx="690505" cy="289590"/>
              </a:xfrm>
              <a:custGeom>
                <a:avLst/>
                <a:gdLst>
                  <a:gd name="T0" fmla="*/ 383 w 383"/>
                  <a:gd name="T1" fmla="*/ 161 h 161"/>
                  <a:gd name="T2" fmla="*/ 383 w 383"/>
                  <a:gd name="T3" fmla="*/ 142 h 161"/>
                  <a:gd name="T4" fmla="*/ 241 w 383"/>
                  <a:gd name="T5" fmla="*/ 0 h 161"/>
                  <a:gd name="T6" fmla="*/ 142 w 383"/>
                  <a:gd name="T7" fmla="*/ 0 h 161"/>
                  <a:gd name="T8" fmla="*/ 0 w 383"/>
                  <a:gd name="T9" fmla="*/ 142 h 161"/>
                  <a:gd name="T10" fmla="*/ 0 w 383"/>
                  <a:gd name="T11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3" h="161">
                    <a:moveTo>
                      <a:pt x="383" y="161"/>
                    </a:moveTo>
                    <a:cubicBezTo>
                      <a:pt x="383" y="142"/>
                      <a:pt x="383" y="142"/>
                      <a:pt x="383" y="142"/>
                    </a:cubicBezTo>
                    <a:cubicBezTo>
                      <a:pt x="383" y="64"/>
                      <a:pt x="320" y="0"/>
                      <a:pt x="241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63" y="0"/>
                      <a:pt x="0" y="64"/>
                      <a:pt x="0" y="142"/>
                    </a:cubicBezTo>
                    <a:cubicBezTo>
                      <a:pt x="0" y="161"/>
                      <a:pt x="0" y="161"/>
                      <a:pt x="0" y="161"/>
                    </a:cubicBezTo>
                  </a:path>
                </a:pathLst>
              </a:custGeom>
              <a:noFill/>
              <a:ln w="73025" cap="rnd">
                <a:solidFill>
                  <a:srgbClr val="1D2678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/>
              <p:cNvSpPr/>
              <p:nvPr/>
            </p:nvSpPr>
            <p:spPr bwMode="auto">
              <a:xfrm>
                <a:off x="10489484" y="4951924"/>
                <a:ext cx="100758" cy="250132"/>
              </a:xfrm>
              <a:custGeom>
                <a:avLst/>
                <a:gdLst>
                  <a:gd name="T0" fmla="*/ 0 w 56"/>
                  <a:gd name="T1" fmla="*/ 69 h 139"/>
                  <a:gd name="T2" fmla="*/ 56 w 56"/>
                  <a:gd name="T3" fmla="*/ 139 h 139"/>
                  <a:gd name="T4" fmla="*/ 56 w 56"/>
                  <a:gd name="T5" fmla="*/ 0 h 139"/>
                  <a:gd name="T6" fmla="*/ 0 w 56"/>
                  <a:gd name="T7" fmla="*/ 6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6" h="139">
                    <a:moveTo>
                      <a:pt x="0" y="69"/>
                    </a:moveTo>
                    <a:cubicBezTo>
                      <a:pt x="0" y="106"/>
                      <a:pt x="24" y="136"/>
                      <a:pt x="56" y="139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24" y="3"/>
                      <a:pt x="0" y="33"/>
                      <a:pt x="0" y="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/>
              <p:cNvSpPr/>
              <p:nvPr/>
            </p:nvSpPr>
            <p:spPr bwMode="auto">
              <a:xfrm>
                <a:off x="10584605" y="4942764"/>
                <a:ext cx="69050" cy="268452"/>
              </a:xfrm>
              <a:custGeom>
                <a:avLst/>
                <a:gdLst>
                  <a:gd name="T0" fmla="*/ 38 w 38"/>
                  <a:gd name="T1" fmla="*/ 140 h 149"/>
                  <a:gd name="T2" fmla="*/ 28 w 38"/>
                  <a:gd name="T3" fmla="*/ 149 h 149"/>
                  <a:gd name="T4" fmla="*/ 10 w 38"/>
                  <a:gd name="T5" fmla="*/ 149 h 149"/>
                  <a:gd name="T6" fmla="*/ 0 w 38"/>
                  <a:gd name="T7" fmla="*/ 140 h 149"/>
                  <a:gd name="T8" fmla="*/ 0 w 38"/>
                  <a:gd name="T9" fmla="*/ 9 h 149"/>
                  <a:gd name="T10" fmla="*/ 10 w 38"/>
                  <a:gd name="T11" fmla="*/ 0 h 149"/>
                  <a:gd name="T12" fmla="*/ 28 w 38"/>
                  <a:gd name="T13" fmla="*/ 0 h 149"/>
                  <a:gd name="T14" fmla="*/ 38 w 38"/>
                  <a:gd name="T15" fmla="*/ 9 h 149"/>
                  <a:gd name="T16" fmla="*/ 38 w 38"/>
                  <a:gd name="T17" fmla="*/ 14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149">
                    <a:moveTo>
                      <a:pt x="38" y="140"/>
                    </a:moveTo>
                    <a:cubicBezTo>
                      <a:pt x="38" y="145"/>
                      <a:pt x="34" y="149"/>
                      <a:pt x="28" y="149"/>
                    </a:cubicBezTo>
                    <a:cubicBezTo>
                      <a:pt x="10" y="149"/>
                      <a:pt x="10" y="149"/>
                      <a:pt x="10" y="149"/>
                    </a:cubicBezTo>
                    <a:cubicBezTo>
                      <a:pt x="5" y="149"/>
                      <a:pt x="0" y="145"/>
                      <a:pt x="0" y="14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5" y="0"/>
                      <a:pt x="1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4" y="0"/>
                      <a:pt x="38" y="4"/>
                      <a:pt x="38" y="9"/>
                    </a:cubicBezTo>
                    <a:lnTo>
                      <a:pt x="38" y="140"/>
                    </a:ln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/>
              <p:cNvSpPr/>
              <p:nvPr/>
            </p:nvSpPr>
            <p:spPr bwMode="auto">
              <a:xfrm>
                <a:off x="11300475" y="4951924"/>
                <a:ext cx="100758" cy="250132"/>
              </a:xfrm>
              <a:custGeom>
                <a:avLst/>
                <a:gdLst>
                  <a:gd name="T0" fmla="*/ 56 w 56"/>
                  <a:gd name="T1" fmla="*/ 69 h 139"/>
                  <a:gd name="T2" fmla="*/ 0 w 56"/>
                  <a:gd name="T3" fmla="*/ 139 h 139"/>
                  <a:gd name="T4" fmla="*/ 0 w 56"/>
                  <a:gd name="T5" fmla="*/ 0 h 139"/>
                  <a:gd name="T6" fmla="*/ 56 w 56"/>
                  <a:gd name="T7" fmla="*/ 6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6" h="139">
                    <a:moveTo>
                      <a:pt x="56" y="69"/>
                    </a:moveTo>
                    <a:cubicBezTo>
                      <a:pt x="56" y="106"/>
                      <a:pt x="31" y="136"/>
                      <a:pt x="0" y="13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3"/>
                      <a:pt x="56" y="33"/>
                      <a:pt x="56" y="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/>
              <p:cNvSpPr/>
              <p:nvPr/>
            </p:nvSpPr>
            <p:spPr bwMode="auto">
              <a:xfrm>
                <a:off x="11235652" y="4942764"/>
                <a:ext cx="68346" cy="268452"/>
              </a:xfrm>
              <a:custGeom>
                <a:avLst/>
                <a:gdLst>
                  <a:gd name="T0" fmla="*/ 0 w 38"/>
                  <a:gd name="T1" fmla="*/ 140 h 149"/>
                  <a:gd name="T2" fmla="*/ 10 w 38"/>
                  <a:gd name="T3" fmla="*/ 149 h 149"/>
                  <a:gd name="T4" fmla="*/ 28 w 38"/>
                  <a:gd name="T5" fmla="*/ 149 h 149"/>
                  <a:gd name="T6" fmla="*/ 38 w 38"/>
                  <a:gd name="T7" fmla="*/ 140 h 149"/>
                  <a:gd name="T8" fmla="*/ 38 w 38"/>
                  <a:gd name="T9" fmla="*/ 9 h 149"/>
                  <a:gd name="T10" fmla="*/ 28 w 38"/>
                  <a:gd name="T11" fmla="*/ 0 h 149"/>
                  <a:gd name="T12" fmla="*/ 10 w 38"/>
                  <a:gd name="T13" fmla="*/ 0 h 149"/>
                  <a:gd name="T14" fmla="*/ 0 w 38"/>
                  <a:gd name="T15" fmla="*/ 9 h 149"/>
                  <a:gd name="T16" fmla="*/ 0 w 38"/>
                  <a:gd name="T17" fmla="*/ 14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149">
                    <a:moveTo>
                      <a:pt x="0" y="140"/>
                    </a:moveTo>
                    <a:cubicBezTo>
                      <a:pt x="0" y="145"/>
                      <a:pt x="5" y="149"/>
                      <a:pt x="10" y="149"/>
                    </a:cubicBezTo>
                    <a:cubicBezTo>
                      <a:pt x="28" y="149"/>
                      <a:pt x="28" y="149"/>
                      <a:pt x="28" y="149"/>
                    </a:cubicBezTo>
                    <a:cubicBezTo>
                      <a:pt x="34" y="149"/>
                      <a:pt x="38" y="145"/>
                      <a:pt x="38" y="140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8" y="4"/>
                      <a:pt x="34" y="0"/>
                      <a:pt x="28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9"/>
                    </a:cubicBezTo>
                    <a:lnTo>
                      <a:pt x="0" y="140"/>
                    </a:ln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/>
              <p:cNvSpPr/>
              <p:nvPr/>
            </p:nvSpPr>
            <p:spPr bwMode="auto">
              <a:xfrm>
                <a:off x="10609970" y="5152030"/>
                <a:ext cx="267042" cy="138806"/>
              </a:xfrm>
              <a:custGeom>
                <a:avLst/>
                <a:gdLst>
                  <a:gd name="T0" fmla="*/ 139 w 148"/>
                  <a:gd name="T1" fmla="*/ 77 h 77"/>
                  <a:gd name="T2" fmla="*/ 139 w 148"/>
                  <a:gd name="T3" fmla="*/ 77 h 77"/>
                  <a:gd name="T4" fmla="*/ 42 w 148"/>
                  <a:gd name="T5" fmla="*/ 72 h 77"/>
                  <a:gd name="T6" fmla="*/ 1 w 148"/>
                  <a:gd name="T7" fmla="*/ 14 h 77"/>
                  <a:gd name="T8" fmla="*/ 7 w 148"/>
                  <a:gd name="T9" fmla="*/ 2 h 77"/>
                  <a:gd name="T10" fmla="*/ 19 w 148"/>
                  <a:gd name="T11" fmla="*/ 8 h 77"/>
                  <a:gd name="T12" fmla="*/ 46 w 148"/>
                  <a:gd name="T13" fmla="*/ 54 h 77"/>
                  <a:gd name="T14" fmla="*/ 139 w 148"/>
                  <a:gd name="T15" fmla="*/ 58 h 77"/>
                  <a:gd name="T16" fmla="*/ 148 w 148"/>
                  <a:gd name="T17" fmla="*/ 68 h 77"/>
                  <a:gd name="T18" fmla="*/ 139 w 148"/>
                  <a:gd name="T19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8" h="77">
                    <a:moveTo>
                      <a:pt x="139" y="77"/>
                    </a:moveTo>
                    <a:cubicBezTo>
                      <a:pt x="139" y="77"/>
                      <a:pt x="139" y="77"/>
                      <a:pt x="139" y="77"/>
                    </a:cubicBezTo>
                    <a:cubicBezTo>
                      <a:pt x="135" y="77"/>
                      <a:pt x="60" y="76"/>
                      <a:pt x="42" y="72"/>
                    </a:cubicBezTo>
                    <a:cubicBezTo>
                      <a:pt x="21" y="68"/>
                      <a:pt x="5" y="27"/>
                      <a:pt x="1" y="14"/>
                    </a:cubicBezTo>
                    <a:cubicBezTo>
                      <a:pt x="0" y="9"/>
                      <a:pt x="2" y="4"/>
                      <a:pt x="7" y="2"/>
                    </a:cubicBezTo>
                    <a:cubicBezTo>
                      <a:pt x="12" y="0"/>
                      <a:pt x="17" y="3"/>
                      <a:pt x="19" y="8"/>
                    </a:cubicBezTo>
                    <a:cubicBezTo>
                      <a:pt x="27" y="31"/>
                      <a:pt x="39" y="53"/>
                      <a:pt x="46" y="54"/>
                    </a:cubicBezTo>
                    <a:cubicBezTo>
                      <a:pt x="60" y="57"/>
                      <a:pt x="118" y="58"/>
                      <a:pt x="139" y="58"/>
                    </a:cubicBezTo>
                    <a:cubicBezTo>
                      <a:pt x="144" y="58"/>
                      <a:pt x="148" y="62"/>
                      <a:pt x="148" y="68"/>
                    </a:cubicBezTo>
                    <a:cubicBezTo>
                      <a:pt x="148" y="73"/>
                      <a:pt x="144" y="77"/>
                      <a:pt x="139" y="77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/>
              <p:cNvSpPr/>
              <p:nvPr/>
            </p:nvSpPr>
            <p:spPr bwMode="auto">
              <a:xfrm>
                <a:off x="10680430" y="5405685"/>
                <a:ext cx="283248" cy="300863"/>
              </a:xfrm>
              <a:custGeom>
                <a:avLst/>
                <a:gdLst>
                  <a:gd name="T0" fmla="*/ 137 w 157"/>
                  <a:gd name="T1" fmla="*/ 81 h 167"/>
                  <a:gd name="T2" fmla="*/ 95 w 157"/>
                  <a:gd name="T3" fmla="*/ 8 h 167"/>
                  <a:gd name="T4" fmla="*/ 24 w 157"/>
                  <a:gd name="T5" fmla="*/ 56 h 167"/>
                  <a:gd name="T6" fmla="*/ 100 w 157"/>
                  <a:gd name="T7" fmla="*/ 148 h 167"/>
                  <a:gd name="T8" fmla="*/ 137 w 157"/>
                  <a:gd name="T9" fmla="*/ 81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167">
                    <a:moveTo>
                      <a:pt x="137" y="81"/>
                    </a:moveTo>
                    <a:cubicBezTo>
                      <a:pt x="100" y="69"/>
                      <a:pt x="95" y="8"/>
                      <a:pt x="95" y="8"/>
                    </a:cubicBezTo>
                    <a:cubicBezTo>
                      <a:pt x="95" y="8"/>
                      <a:pt x="46" y="0"/>
                      <a:pt x="24" y="56"/>
                    </a:cubicBezTo>
                    <a:cubicBezTo>
                      <a:pt x="0" y="114"/>
                      <a:pt x="47" y="167"/>
                      <a:pt x="100" y="148"/>
                    </a:cubicBezTo>
                    <a:cubicBezTo>
                      <a:pt x="146" y="131"/>
                      <a:pt x="157" y="87"/>
                      <a:pt x="137" y="81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/>
              <p:cNvSpPr/>
              <p:nvPr/>
            </p:nvSpPr>
            <p:spPr bwMode="auto">
              <a:xfrm>
                <a:off x="10927039" y="5405685"/>
                <a:ext cx="281839" cy="300863"/>
              </a:xfrm>
              <a:custGeom>
                <a:avLst/>
                <a:gdLst>
                  <a:gd name="T0" fmla="*/ 19 w 156"/>
                  <a:gd name="T1" fmla="*/ 81 h 167"/>
                  <a:gd name="T2" fmla="*/ 62 w 156"/>
                  <a:gd name="T3" fmla="*/ 8 h 167"/>
                  <a:gd name="T4" fmla="*/ 133 w 156"/>
                  <a:gd name="T5" fmla="*/ 56 h 167"/>
                  <a:gd name="T6" fmla="*/ 57 w 156"/>
                  <a:gd name="T7" fmla="*/ 148 h 167"/>
                  <a:gd name="T8" fmla="*/ 19 w 156"/>
                  <a:gd name="T9" fmla="*/ 81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67">
                    <a:moveTo>
                      <a:pt x="19" y="81"/>
                    </a:moveTo>
                    <a:cubicBezTo>
                      <a:pt x="57" y="69"/>
                      <a:pt x="62" y="8"/>
                      <a:pt x="62" y="8"/>
                    </a:cubicBezTo>
                    <a:cubicBezTo>
                      <a:pt x="62" y="8"/>
                      <a:pt x="110" y="0"/>
                      <a:pt x="133" y="56"/>
                    </a:cubicBezTo>
                    <a:cubicBezTo>
                      <a:pt x="156" y="114"/>
                      <a:pt x="110" y="167"/>
                      <a:pt x="57" y="148"/>
                    </a:cubicBezTo>
                    <a:cubicBezTo>
                      <a:pt x="10" y="131"/>
                      <a:pt x="0" y="87"/>
                      <a:pt x="19" y="81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/>
              <p:cNvSpPr/>
              <p:nvPr/>
            </p:nvSpPr>
            <p:spPr bwMode="auto">
              <a:xfrm>
                <a:off x="10466233" y="5895379"/>
                <a:ext cx="379778" cy="252246"/>
              </a:xfrm>
              <a:custGeom>
                <a:avLst/>
                <a:gdLst>
                  <a:gd name="T0" fmla="*/ 204 w 211"/>
                  <a:gd name="T1" fmla="*/ 47 h 140"/>
                  <a:gd name="T2" fmla="*/ 81 w 211"/>
                  <a:gd name="T3" fmla="*/ 24 h 140"/>
                  <a:gd name="T4" fmla="*/ 40 w 211"/>
                  <a:gd name="T5" fmla="*/ 108 h 140"/>
                  <a:gd name="T6" fmla="*/ 135 w 211"/>
                  <a:gd name="T7" fmla="*/ 121 h 140"/>
                  <a:gd name="T8" fmla="*/ 211 w 211"/>
                  <a:gd name="T9" fmla="*/ 120 h 140"/>
                  <a:gd name="T10" fmla="*/ 204 w 211"/>
                  <a:gd name="T11" fmla="*/ 47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1" h="140">
                    <a:moveTo>
                      <a:pt x="204" y="47"/>
                    </a:moveTo>
                    <a:cubicBezTo>
                      <a:pt x="204" y="47"/>
                      <a:pt x="145" y="0"/>
                      <a:pt x="81" y="24"/>
                    </a:cubicBezTo>
                    <a:cubicBezTo>
                      <a:pt x="17" y="48"/>
                      <a:pt x="0" y="77"/>
                      <a:pt x="40" y="108"/>
                    </a:cubicBezTo>
                    <a:cubicBezTo>
                      <a:pt x="80" y="140"/>
                      <a:pt x="101" y="131"/>
                      <a:pt x="135" y="121"/>
                    </a:cubicBezTo>
                    <a:cubicBezTo>
                      <a:pt x="169" y="111"/>
                      <a:pt x="211" y="120"/>
                      <a:pt x="211" y="120"/>
                    </a:cubicBezTo>
                    <a:lnTo>
                      <a:pt x="204" y="47"/>
                    </a:ln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/>
              <p:cNvSpPr/>
              <p:nvPr/>
            </p:nvSpPr>
            <p:spPr bwMode="auto">
              <a:xfrm>
                <a:off x="10829805" y="5519125"/>
                <a:ext cx="612999" cy="608067"/>
              </a:xfrm>
              <a:custGeom>
                <a:avLst/>
                <a:gdLst>
                  <a:gd name="T0" fmla="*/ 247 w 340"/>
                  <a:gd name="T1" fmla="*/ 8 h 338"/>
                  <a:gd name="T2" fmla="*/ 214 w 340"/>
                  <a:gd name="T3" fmla="*/ 99 h 338"/>
                  <a:gd name="T4" fmla="*/ 204 w 340"/>
                  <a:gd name="T5" fmla="*/ 218 h 338"/>
                  <a:gd name="T6" fmla="*/ 3 w 340"/>
                  <a:gd name="T7" fmla="*/ 244 h 338"/>
                  <a:gd name="T8" fmla="*/ 10 w 340"/>
                  <a:gd name="T9" fmla="*/ 324 h 338"/>
                  <a:gd name="T10" fmla="*/ 39 w 340"/>
                  <a:gd name="T11" fmla="*/ 335 h 338"/>
                  <a:gd name="T12" fmla="*/ 315 w 340"/>
                  <a:gd name="T13" fmla="*/ 298 h 338"/>
                  <a:gd name="T14" fmla="*/ 337 w 340"/>
                  <a:gd name="T15" fmla="*/ 209 h 338"/>
                  <a:gd name="T16" fmla="*/ 309 w 340"/>
                  <a:gd name="T17" fmla="*/ 36 h 338"/>
                  <a:gd name="T18" fmla="*/ 247 w 340"/>
                  <a:gd name="T19" fmla="*/ 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0" h="338">
                    <a:moveTo>
                      <a:pt x="247" y="8"/>
                    </a:moveTo>
                    <a:cubicBezTo>
                      <a:pt x="234" y="15"/>
                      <a:pt x="210" y="28"/>
                      <a:pt x="214" y="99"/>
                    </a:cubicBezTo>
                    <a:cubicBezTo>
                      <a:pt x="218" y="171"/>
                      <a:pt x="233" y="216"/>
                      <a:pt x="204" y="218"/>
                    </a:cubicBezTo>
                    <a:cubicBezTo>
                      <a:pt x="176" y="220"/>
                      <a:pt x="6" y="230"/>
                      <a:pt x="3" y="244"/>
                    </a:cubicBezTo>
                    <a:cubicBezTo>
                      <a:pt x="0" y="259"/>
                      <a:pt x="10" y="324"/>
                      <a:pt x="10" y="324"/>
                    </a:cubicBezTo>
                    <a:cubicBezTo>
                      <a:pt x="10" y="324"/>
                      <a:pt x="8" y="338"/>
                      <a:pt x="39" y="335"/>
                    </a:cubicBezTo>
                    <a:cubicBezTo>
                      <a:pt x="71" y="333"/>
                      <a:pt x="291" y="324"/>
                      <a:pt x="315" y="298"/>
                    </a:cubicBezTo>
                    <a:cubicBezTo>
                      <a:pt x="340" y="272"/>
                      <a:pt x="339" y="250"/>
                      <a:pt x="337" y="209"/>
                    </a:cubicBezTo>
                    <a:cubicBezTo>
                      <a:pt x="335" y="169"/>
                      <a:pt x="327" y="71"/>
                      <a:pt x="309" y="36"/>
                    </a:cubicBezTo>
                    <a:cubicBezTo>
                      <a:pt x="291" y="1"/>
                      <a:pt x="260" y="0"/>
                      <a:pt x="24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/>
              <p:cNvSpPr/>
              <p:nvPr/>
            </p:nvSpPr>
            <p:spPr bwMode="auto">
              <a:xfrm>
                <a:off x="9806025" y="5898903"/>
                <a:ext cx="329751" cy="174740"/>
              </a:xfrm>
              <a:custGeom>
                <a:avLst/>
                <a:gdLst>
                  <a:gd name="T0" fmla="*/ 168 w 183"/>
                  <a:gd name="T1" fmla="*/ 60 h 97"/>
                  <a:gd name="T2" fmla="*/ 159 w 183"/>
                  <a:gd name="T3" fmla="*/ 0 h 97"/>
                  <a:gd name="T4" fmla="*/ 24 w 183"/>
                  <a:gd name="T5" fmla="*/ 0 h 97"/>
                  <a:gd name="T6" fmla="*/ 15 w 183"/>
                  <a:gd name="T7" fmla="*/ 60 h 97"/>
                  <a:gd name="T8" fmla="*/ 0 w 183"/>
                  <a:gd name="T9" fmla="*/ 97 h 97"/>
                  <a:gd name="T10" fmla="*/ 183 w 183"/>
                  <a:gd name="T11" fmla="*/ 97 h 97"/>
                  <a:gd name="T12" fmla="*/ 168 w 183"/>
                  <a:gd name="T13" fmla="*/ 6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3" h="97">
                    <a:moveTo>
                      <a:pt x="168" y="60"/>
                    </a:moveTo>
                    <a:cubicBezTo>
                      <a:pt x="159" y="40"/>
                      <a:pt x="159" y="0"/>
                      <a:pt x="159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0"/>
                      <a:pt x="24" y="40"/>
                      <a:pt x="15" y="60"/>
                    </a:cubicBezTo>
                    <a:cubicBezTo>
                      <a:pt x="6" y="79"/>
                      <a:pt x="0" y="97"/>
                      <a:pt x="0" y="97"/>
                    </a:cubicBezTo>
                    <a:cubicBezTo>
                      <a:pt x="183" y="97"/>
                      <a:pt x="183" y="97"/>
                      <a:pt x="183" y="97"/>
                    </a:cubicBezTo>
                    <a:cubicBezTo>
                      <a:pt x="183" y="97"/>
                      <a:pt x="177" y="79"/>
                      <a:pt x="168" y="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/>
              <p:cNvSpPr/>
              <p:nvPr/>
            </p:nvSpPr>
            <p:spPr bwMode="auto">
              <a:xfrm>
                <a:off x="10092796" y="5898903"/>
                <a:ext cx="86666" cy="174740"/>
              </a:xfrm>
              <a:custGeom>
                <a:avLst/>
                <a:gdLst>
                  <a:gd name="T0" fmla="*/ 33 w 48"/>
                  <a:gd name="T1" fmla="*/ 60 h 97"/>
                  <a:gd name="T2" fmla="*/ 24 w 48"/>
                  <a:gd name="T3" fmla="*/ 0 h 97"/>
                  <a:gd name="T4" fmla="*/ 0 w 48"/>
                  <a:gd name="T5" fmla="*/ 0 h 97"/>
                  <a:gd name="T6" fmla="*/ 9 w 48"/>
                  <a:gd name="T7" fmla="*/ 60 h 97"/>
                  <a:gd name="T8" fmla="*/ 24 w 48"/>
                  <a:gd name="T9" fmla="*/ 97 h 97"/>
                  <a:gd name="T10" fmla="*/ 48 w 48"/>
                  <a:gd name="T11" fmla="*/ 97 h 97"/>
                  <a:gd name="T12" fmla="*/ 33 w 48"/>
                  <a:gd name="T13" fmla="*/ 6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97">
                    <a:moveTo>
                      <a:pt x="33" y="60"/>
                    </a:moveTo>
                    <a:cubicBezTo>
                      <a:pt x="24" y="40"/>
                      <a:pt x="24" y="0"/>
                      <a:pt x="2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40"/>
                      <a:pt x="9" y="60"/>
                    </a:cubicBezTo>
                    <a:cubicBezTo>
                      <a:pt x="18" y="79"/>
                      <a:pt x="24" y="97"/>
                      <a:pt x="24" y="97"/>
                    </a:cubicBezTo>
                    <a:cubicBezTo>
                      <a:pt x="48" y="97"/>
                      <a:pt x="48" y="97"/>
                      <a:pt x="48" y="97"/>
                    </a:cubicBezTo>
                    <a:cubicBezTo>
                      <a:pt x="48" y="97"/>
                      <a:pt x="42" y="79"/>
                      <a:pt x="33" y="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/>
              <p:cNvSpPr/>
              <p:nvPr/>
            </p:nvSpPr>
            <p:spPr bwMode="auto">
              <a:xfrm>
                <a:off x="9271237" y="5029430"/>
                <a:ext cx="1400034" cy="869473"/>
              </a:xfrm>
              <a:custGeom>
                <a:avLst/>
                <a:gdLst>
                  <a:gd name="T0" fmla="*/ 777 w 777"/>
                  <a:gd name="T1" fmla="*/ 457 h 483"/>
                  <a:gd name="T2" fmla="*/ 750 w 777"/>
                  <a:gd name="T3" fmla="*/ 483 h 483"/>
                  <a:gd name="T4" fmla="*/ 26 w 777"/>
                  <a:gd name="T5" fmla="*/ 483 h 483"/>
                  <a:gd name="T6" fmla="*/ 0 w 777"/>
                  <a:gd name="T7" fmla="*/ 457 h 483"/>
                  <a:gd name="T8" fmla="*/ 0 w 777"/>
                  <a:gd name="T9" fmla="*/ 27 h 483"/>
                  <a:gd name="T10" fmla="*/ 26 w 777"/>
                  <a:gd name="T11" fmla="*/ 0 h 483"/>
                  <a:gd name="T12" fmla="*/ 750 w 777"/>
                  <a:gd name="T13" fmla="*/ 0 h 483"/>
                  <a:gd name="T14" fmla="*/ 777 w 777"/>
                  <a:gd name="T15" fmla="*/ 27 h 483"/>
                  <a:gd name="T16" fmla="*/ 777 w 777"/>
                  <a:gd name="T17" fmla="*/ 457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7" h="483">
                    <a:moveTo>
                      <a:pt x="777" y="457"/>
                    </a:moveTo>
                    <a:cubicBezTo>
                      <a:pt x="777" y="471"/>
                      <a:pt x="765" y="483"/>
                      <a:pt x="750" y="483"/>
                    </a:cubicBezTo>
                    <a:cubicBezTo>
                      <a:pt x="26" y="483"/>
                      <a:pt x="26" y="483"/>
                      <a:pt x="26" y="483"/>
                    </a:cubicBezTo>
                    <a:cubicBezTo>
                      <a:pt x="12" y="483"/>
                      <a:pt x="0" y="471"/>
                      <a:pt x="0" y="45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6" y="0"/>
                    </a:cubicBezTo>
                    <a:cubicBezTo>
                      <a:pt x="750" y="0"/>
                      <a:pt x="750" y="0"/>
                      <a:pt x="750" y="0"/>
                    </a:cubicBezTo>
                    <a:cubicBezTo>
                      <a:pt x="765" y="0"/>
                      <a:pt x="777" y="12"/>
                      <a:pt x="777" y="27"/>
                    </a:cubicBezTo>
                    <a:lnTo>
                      <a:pt x="777" y="457"/>
                    </a:ln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/>
              <p:cNvSpPr/>
              <p:nvPr/>
            </p:nvSpPr>
            <p:spPr bwMode="auto">
              <a:xfrm>
                <a:off x="10622653" y="5029430"/>
                <a:ext cx="92302" cy="869473"/>
              </a:xfrm>
              <a:custGeom>
                <a:avLst/>
                <a:gdLst>
                  <a:gd name="T0" fmla="*/ 25 w 51"/>
                  <a:gd name="T1" fmla="*/ 0 h 483"/>
                  <a:gd name="T2" fmla="*/ 0 w 51"/>
                  <a:gd name="T3" fmla="*/ 0 h 483"/>
                  <a:gd name="T4" fmla="*/ 27 w 51"/>
                  <a:gd name="T5" fmla="*/ 27 h 483"/>
                  <a:gd name="T6" fmla="*/ 27 w 51"/>
                  <a:gd name="T7" fmla="*/ 457 h 483"/>
                  <a:gd name="T8" fmla="*/ 0 w 51"/>
                  <a:gd name="T9" fmla="*/ 483 h 483"/>
                  <a:gd name="T10" fmla="*/ 25 w 51"/>
                  <a:gd name="T11" fmla="*/ 483 h 483"/>
                  <a:gd name="T12" fmla="*/ 51 w 51"/>
                  <a:gd name="T13" fmla="*/ 457 h 483"/>
                  <a:gd name="T14" fmla="*/ 51 w 51"/>
                  <a:gd name="T15" fmla="*/ 27 h 483"/>
                  <a:gd name="T16" fmla="*/ 25 w 51"/>
                  <a:gd name="T17" fmla="*/ 0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483"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27" y="12"/>
                      <a:pt x="27" y="27"/>
                    </a:cubicBezTo>
                    <a:cubicBezTo>
                      <a:pt x="27" y="457"/>
                      <a:pt x="27" y="457"/>
                      <a:pt x="27" y="457"/>
                    </a:cubicBezTo>
                    <a:cubicBezTo>
                      <a:pt x="27" y="471"/>
                      <a:pt x="15" y="483"/>
                      <a:pt x="0" y="483"/>
                    </a:cubicBezTo>
                    <a:cubicBezTo>
                      <a:pt x="25" y="483"/>
                      <a:pt x="25" y="483"/>
                      <a:pt x="25" y="483"/>
                    </a:cubicBezTo>
                    <a:cubicBezTo>
                      <a:pt x="39" y="483"/>
                      <a:pt x="51" y="471"/>
                      <a:pt x="51" y="457"/>
                    </a:cubicBezTo>
                    <a:cubicBezTo>
                      <a:pt x="51" y="27"/>
                      <a:pt x="51" y="27"/>
                      <a:pt x="51" y="27"/>
                    </a:cubicBezTo>
                    <a:cubicBezTo>
                      <a:pt x="51" y="12"/>
                      <a:pt x="39" y="0"/>
                      <a:pt x="2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 bwMode="auto">
              <a:xfrm>
                <a:off x="9829982" y="5308450"/>
                <a:ext cx="269861" cy="269861"/>
              </a:xfrm>
              <a:prstGeom prst="ellipse">
                <a:avLst/>
              </a:prstGeom>
              <a:solidFill>
                <a:srgbClr val="C0E8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/>
              <p:cNvSpPr/>
              <p:nvPr/>
            </p:nvSpPr>
            <p:spPr bwMode="auto">
              <a:xfrm>
                <a:off x="9111998" y="6073643"/>
                <a:ext cx="2406902" cy="162057"/>
              </a:xfrm>
              <a:custGeom>
                <a:avLst/>
                <a:gdLst>
                  <a:gd name="T0" fmla="*/ 1335 w 1335"/>
                  <a:gd name="T1" fmla="*/ 69 h 90"/>
                  <a:gd name="T2" fmla="*/ 1313 w 1335"/>
                  <a:gd name="T3" fmla="*/ 90 h 90"/>
                  <a:gd name="T4" fmla="*/ 21 w 1335"/>
                  <a:gd name="T5" fmla="*/ 90 h 90"/>
                  <a:gd name="T6" fmla="*/ 0 w 1335"/>
                  <a:gd name="T7" fmla="*/ 69 h 90"/>
                  <a:gd name="T8" fmla="*/ 0 w 1335"/>
                  <a:gd name="T9" fmla="*/ 21 h 90"/>
                  <a:gd name="T10" fmla="*/ 21 w 1335"/>
                  <a:gd name="T11" fmla="*/ 0 h 90"/>
                  <a:gd name="T12" fmla="*/ 1313 w 1335"/>
                  <a:gd name="T13" fmla="*/ 0 h 90"/>
                  <a:gd name="T14" fmla="*/ 1335 w 1335"/>
                  <a:gd name="T15" fmla="*/ 21 h 90"/>
                  <a:gd name="T16" fmla="*/ 1335 w 1335"/>
                  <a:gd name="T17" fmla="*/ 69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35" h="90">
                    <a:moveTo>
                      <a:pt x="1335" y="69"/>
                    </a:moveTo>
                    <a:cubicBezTo>
                      <a:pt x="1335" y="81"/>
                      <a:pt x="1325" y="90"/>
                      <a:pt x="1313" y="90"/>
                    </a:cubicBezTo>
                    <a:cubicBezTo>
                      <a:pt x="21" y="90"/>
                      <a:pt x="21" y="90"/>
                      <a:pt x="21" y="90"/>
                    </a:cubicBezTo>
                    <a:cubicBezTo>
                      <a:pt x="9" y="90"/>
                      <a:pt x="0" y="81"/>
                      <a:pt x="0" y="69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1313" y="0"/>
                      <a:pt x="1313" y="0"/>
                      <a:pt x="1313" y="0"/>
                    </a:cubicBezTo>
                    <a:cubicBezTo>
                      <a:pt x="1325" y="0"/>
                      <a:pt x="1335" y="9"/>
                      <a:pt x="1335" y="21"/>
                    </a:cubicBezTo>
                    <a:lnTo>
                      <a:pt x="1335" y="69"/>
                    </a:lnTo>
                    <a:close/>
                  </a:path>
                </a:pathLst>
              </a:custGeom>
              <a:solidFill>
                <a:srgbClr val="C0E8FF"/>
              </a:solidFill>
              <a:ln w="47625" cap="flat">
                <a:solidFill>
                  <a:srgbClr val="1D2678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对话气泡: 圆角矩形 6"/>
            <p:cNvSpPr/>
            <p:nvPr/>
          </p:nvSpPr>
          <p:spPr>
            <a:xfrm rot="10800000" flipV="1">
              <a:off x="660400" y="1130300"/>
              <a:ext cx="10858500" cy="3072384"/>
            </a:xfrm>
            <a:prstGeom prst="wedgeRoundRectCallout">
              <a:avLst>
                <a:gd name="adj1" fmla="val -37538"/>
                <a:gd name="adj2" fmla="val 61114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dist="38100" dir="5400000" algn="t" rotWithShape="0">
                <a:schemeClr val="bg1">
                  <a:lumMod val="75000"/>
                  <a:alpha val="6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60400" y="5362565"/>
              <a:ext cx="1232408" cy="435180"/>
            </a:xfrm>
            <a:prstGeom prst="rect">
              <a:avLst/>
            </a:prstGeom>
            <a:noFill/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lnSpc>
                  <a:spcPct val="120000"/>
                </a:lnSpc>
              </a:pPr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solidFill>
                    <a:schemeClr val="tx1"/>
                  </a:solidFill>
                  <a:cs typeface="+mn-ea"/>
                  <a:sym typeface="+mn-lt"/>
                </a:rPr>
                <a:t>思路</a:t>
              </a:r>
              <a:endParaRPr lang="en-US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2288246" y="5362565"/>
              <a:ext cx="1232408" cy="435180"/>
            </a:xfrm>
            <a:prstGeom prst="rect">
              <a:avLst/>
            </a:prstGeom>
            <a:noFill/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lnSpc>
                  <a:spcPct val="120000"/>
                </a:lnSpc>
              </a:pPr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solidFill>
                    <a:schemeClr val="tx1"/>
                  </a:solidFill>
                  <a:cs typeface="+mn-ea"/>
                  <a:sym typeface="+mn-lt"/>
                </a:rPr>
                <a:t>思路</a:t>
              </a:r>
              <a:endParaRPr lang="en-US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3916092" y="5362565"/>
              <a:ext cx="1232408" cy="435180"/>
            </a:xfrm>
            <a:prstGeom prst="rect">
              <a:avLst/>
            </a:prstGeom>
            <a:noFill/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lnSpc>
                  <a:spcPct val="120000"/>
                </a:lnSpc>
              </a:pPr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solidFill>
                    <a:schemeClr val="tx1"/>
                  </a:solidFill>
                  <a:cs typeface="+mn-ea"/>
                  <a:sym typeface="+mn-lt"/>
                </a:rPr>
                <a:t>思路</a:t>
              </a:r>
              <a:endParaRPr lang="en-US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5543938" y="5362565"/>
              <a:ext cx="1232408" cy="435180"/>
            </a:xfrm>
            <a:prstGeom prst="rect">
              <a:avLst/>
            </a:prstGeom>
            <a:noFill/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lnSpc>
                  <a:spcPct val="120000"/>
                </a:lnSpc>
              </a:pPr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solidFill>
                    <a:schemeClr val="tx1"/>
                  </a:solidFill>
                  <a:cs typeface="+mn-ea"/>
                  <a:sym typeface="+mn-lt"/>
                </a:rPr>
                <a:t>思路</a:t>
              </a:r>
              <a:endParaRPr lang="en-US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171783" y="5362565"/>
              <a:ext cx="1232408" cy="435180"/>
            </a:xfrm>
            <a:prstGeom prst="rect">
              <a:avLst/>
            </a:prstGeom>
            <a:noFill/>
            <a:ln w="2857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lvl="0" algn="ctr">
                <a:lnSpc>
                  <a:spcPct val="120000"/>
                </a:lnSpc>
              </a:pPr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solidFill>
                    <a:schemeClr val="tx1"/>
                  </a:solidFill>
                  <a:cs typeface="+mn-ea"/>
                  <a:sym typeface="+mn-lt"/>
                </a:rPr>
                <a:t>思路</a:t>
              </a:r>
              <a:endParaRPr lang="en-US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13" name="直接连接符 12"/>
            <p:cNvCxnSpPr/>
            <p:nvPr/>
          </p:nvCxnSpPr>
          <p:spPr>
            <a:xfrm>
              <a:off x="2090527" y="5430781"/>
              <a:ext cx="0" cy="29874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3718373" y="5430781"/>
              <a:ext cx="0" cy="29874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5346219" y="5430781"/>
              <a:ext cx="0" cy="29874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6974065" y="5430781"/>
              <a:ext cx="0" cy="29874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组合 16"/>
            <p:cNvGrpSpPr/>
            <p:nvPr/>
          </p:nvGrpSpPr>
          <p:grpSpPr>
            <a:xfrm>
              <a:off x="660400" y="1530354"/>
              <a:ext cx="10858500" cy="1295280"/>
              <a:chOff x="660400" y="1130300"/>
              <a:chExt cx="10858500" cy="1295280"/>
            </a:xfrm>
          </p:grpSpPr>
          <p:sp>
            <p:nvSpPr>
              <p:cNvPr id="20" name="矩形 19"/>
              <p:cNvSpPr/>
              <p:nvPr/>
            </p:nvSpPr>
            <p:spPr bwMode="auto">
              <a:xfrm>
                <a:off x="660400" y="1777940"/>
                <a:ext cx="10858500" cy="6476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40000"/>
                  </a:lnSpc>
                  <a:spcBef>
                    <a:spcPct val="0"/>
                  </a:spcBef>
                </a:pPr>
                <a:r>
                  <a:rPr lang="en-US" altLang="zh-CN" sz="1200" dirty="0">
                    <a:cs typeface="+mn-ea"/>
                    <a:sym typeface="+mn-lt"/>
                  </a:rPr>
                  <a:t>Theme color makes PPT more convenient to change. Adjust the spacing to adapt to Chinese typesetting, use the reference line in PPT.</a:t>
                </a:r>
                <a:endParaRPr lang="en-US" altLang="zh-CN" sz="1200" dirty="0">
                  <a:cs typeface="+mn-ea"/>
                  <a:sym typeface="+mn-lt"/>
                </a:endParaRPr>
              </a:p>
              <a:p>
                <a:pPr algn="ctr">
                  <a:lnSpc>
                    <a:spcPct val="140000"/>
                  </a:lnSpc>
                  <a:spcBef>
                    <a:spcPct val="0"/>
                  </a:spcBef>
                </a:pPr>
                <a:r>
                  <a:rPr lang="en-US" altLang="zh-CN" sz="1200" dirty="0">
                    <a:cs typeface="+mn-ea"/>
                    <a:sym typeface="+mn-lt"/>
                  </a:rPr>
                  <a:t>……</a:t>
                </a:r>
                <a:endParaRPr lang="en-US" altLang="zh-CN" sz="1200" dirty="0">
                  <a:cs typeface="+mn-ea"/>
                  <a:sym typeface="+mn-lt"/>
                </a:endParaRPr>
              </a:p>
            </p:txBody>
          </p:sp>
          <p:sp>
            <p:nvSpPr>
              <p:cNvPr id="21" name="文本框 20"/>
              <p:cNvSpPr txBox="1"/>
              <p:nvPr/>
            </p:nvSpPr>
            <p:spPr>
              <a:xfrm>
                <a:off x="660400" y="1130300"/>
                <a:ext cx="10858500" cy="64763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lnSpc>
                    <a:spcPct val="120000"/>
                  </a:lnSpc>
                </a:pPr>
                <a:r>
                  <a:rPr lang="en-US" altLang="zh-CN" sz="2400" b="1" dirty="0">
                    <a:cs typeface="+mn-ea"/>
                    <a:sym typeface="+mn-lt"/>
                  </a:rPr>
                  <a:t>…</a:t>
                </a:r>
                <a:r>
                  <a:rPr lang="zh-CN" altLang="en-US" sz="2400" b="1" dirty="0">
                    <a:cs typeface="+mn-ea"/>
                    <a:sym typeface="+mn-lt"/>
                  </a:rPr>
                  <a:t>研究思路</a:t>
                </a:r>
                <a:endParaRPr lang="en-US" altLang="zh-CN" sz="2400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18" name="文本框 17"/>
            <p:cNvSpPr txBox="1"/>
            <p:nvPr/>
          </p:nvSpPr>
          <p:spPr bwMode="auto">
            <a:xfrm>
              <a:off x="4398391" y="3263548"/>
              <a:ext cx="1498854" cy="396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wrap="none" lIns="90000" tIns="46800" rIns="90000" bIns="4680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200" dirty="0">
                  <a:solidFill>
                    <a:schemeClr val="bg1"/>
                  </a:solidFill>
                  <a:cs typeface="+mn-ea"/>
                  <a:sym typeface="+mn-lt"/>
                </a:rPr>
                <a:t>…text</a:t>
              </a:r>
              <a:endParaRPr lang="en-US" altLang="zh-CN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9" name="文本框 18"/>
            <p:cNvSpPr txBox="1"/>
            <p:nvPr/>
          </p:nvSpPr>
          <p:spPr bwMode="auto">
            <a:xfrm>
              <a:off x="6282055" y="3263548"/>
              <a:ext cx="1498854" cy="396000"/>
            </a:xfrm>
            <a:prstGeom prst="roundRect">
              <a:avLst>
                <a:gd name="adj" fmla="val 50000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</a:ln>
          </p:spPr>
          <p:txBody>
            <a:bodyPr wrap="none" lIns="90000" tIns="46800" rIns="90000" bIns="4680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200" dirty="0">
                  <a:solidFill>
                    <a:schemeClr val="accent1"/>
                  </a:solidFill>
                  <a:cs typeface="+mn-ea"/>
                  <a:sym typeface="+mn-lt"/>
                </a:rPr>
                <a:t>…text</a:t>
              </a:r>
              <a:endParaRPr lang="en-US" altLang="zh-CN" sz="12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10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11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12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13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14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15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16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17.xml><?xml version="1.0" encoding="utf-8"?>
<p:tagLst xmlns:p="http://schemas.openxmlformats.org/presentationml/2006/main">
  <p:tag name="ISLIDE.TEMPLATE" val="56aaa7e3-fd0f-4b00-bdc8-c5148a8f2d57"/>
  <p:tag name="commondata" val="eyJoZGlkIjoiMTFmMWJmZjM1MTUzOGJhZGQ2YzVjZTI0ZGVkOTAwZTkifQ=="/>
</p:tagLst>
</file>

<file path=ppt/tags/tag2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3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4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5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6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7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8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ags/tag9.xml><?xml version="1.0" encoding="utf-8"?>
<p:tagLst xmlns:p="http://schemas.openxmlformats.org/presentationml/2006/main">
  <p:tag name="KSO_WM_DIAGRAM_VIRTUALLY_FRAME" val="{&quot;height&quot;:446.9734645669291,&quot;left&quot;:0,&quot;top&quot;:0,&quot;width&quot;:960}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F6ECB"/>
      </a:accent1>
      <a:accent2>
        <a:srgbClr val="E9A92F"/>
      </a:accent2>
      <a:accent3>
        <a:srgbClr val="E27D26"/>
      </a:accent3>
      <a:accent4>
        <a:srgbClr val="2F5483"/>
      </a:accent4>
      <a:accent5>
        <a:srgbClr val="6FA4F3"/>
      </a:accent5>
      <a:accent6>
        <a:srgbClr val="C4DFF8"/>
      </a:accent6>
      <a:hlink>
        <a:srgbClr val="304759"/>
      </a:hlink>
      <a:folHlink>
        <a:srgbClr val="BFBFBF"/>
      </a:folHlink>
    </a:clrScheme>
    <a:fontScheme name="s3yw0qfn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F6ECB"/>
    </a:accent1>
    <a:accent2>
      <a:srgbClr val="E9A92F"/>
    </a:accent2>
    <a:accent3>
      <a:srgbClr val="E27D26"/>
    </a:accent3>
    <a:accent4>
      <a:srgbClr val="2F5483"/>
    </a:accent4>
    <a:accent5>
      <a:srgbClr val="6FA4F3"/>
    </a:accent5>
    <a:accent6>
      <a:srgbClr val="C4DFF8"/>
    </a:accent6>
    <a:hlink>
      <a:srgbClr val="304759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F6ECB"/>
    </a:accent1>
    <a:accent2>
      <a:srgbClr val="E9A92F"/>
    </a:accent2>
    <a:accent3>
      <a:srgbClr val="E27D26"/>
    </a:accent3>
    <a:accent4>
      <a:srgbClr val="2F5483"/>
    </a:accent4>
    <a:accent5>
      <a:srgbClr val="6FA4F3"/>
    </a:accent5>
    <a:accent6>
      <a:srgbClr val="C4DFF8"/>
    </a:accent6>
    <a:hlink>
      <a:srgbClr val="304759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F6ECB"/>
    </a:accent1>
    <a:accent2>
      <a:srgbClr val="E9A92F"/>
    </a:accent2>
    <a:accent3>
      <a:srgbClr val="E27D26"/>
    </a:accent3>
    <a:accent4>
      <a:srgbClr val="2F5483"/>
    </a:accent4>
    <a:accent5>
      <a:srgbClr val="6FA4F3"/>
    </a:accent5>
    <a:accent6>
      <a:srgbClr val="C4DFF8"/>
    </a:accent6>
    <a:hlink>
      <a:srgbClr val="304759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5658</Words>
  <Application>WPS 演示</Application>
  <PresentationFormat>宽屏</PresentationFormat>
  <Paragraphs>682</Paragraphs>
  <Slides>2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7</vt:i4>
      </vt:variant>
    </vt:vector>
  </HeadingPairs>
  <TitlesOfParts>
    <vt:vector size="37" baseType="lpstr">
      <vt:lpstr>Arial</vt:lpstr>
      <vt:lpstr>宋体</vt:lpstr>
      <vt:lpstr>Wingdings</vt:lpstr>
      <vt:lpstr>微软雅黑</vt:lpstr>
      <vt:lpstr>Arial Unicode MS</vt:lpstr>
      <vt:lpstr>Calibri</vt:lpstr>
      <vt:lpstr>等线</vt:lpstr>
      <vt:lpstr>主题5</vt:lpstr>
      <vt:lpstr>TCLayout.ActiveDocument.1</vt:lpstr>
      <vt:lpstr>TCLayout.ActiveDocument.1</vt:lpstr>
      <vt:lpstr>XX专业 毕业论文答辩 开题报告</vt:lpstr>
      <vt:lpstr>PowerPoint 演示文稿</vt:lpstr>
      <vt:lpstr>选题背景及意义</vt:lpstr>
      <vt:lpstr>选题背景</vt:lpstr>
      <vt:lpstr>研究意义</vt:lpstr>
      <vt:lpstr>综述</vt:lpstr>
      <vt:lpstr>贡献创新</vt:lpstr>
      <vt:lpstr>研究思路及方法</vt:lpstr>
      <vt:lpstr>研究思路</vt:lpstr>
      <vt:lpstr>研究基础</vt:lpstr>
      <vt:lpstr>研究方法</vt:lpstr>
      <vt:lpstr>研究方法可行性</vt:lpstr>
      <vt:lpstr>研究过程</vt:lpstr>
      <vt:lpstr>关键技术与实践难点</vt:lpstr>
      <vt:lpstr>关键技术点</vt:lpstr>
      <vt:lpstr>实践难点</vt:lpstr>
      <vt:lpstr>…方面分析</vt:lpstr>
      <vt:lpstr>数据研究成果</vt:lpstr>
      <vt:lpstr>分析过程</vt:lpstr>
      <vt:lpstr>分析过程</vt:lpstr>
      <vt:lpstr>研究结果展示</vt:lpstr>
      <vt:lpstr>论文总结与展望</vt:lpstr>
      <vt:lpstr>相关问题分析及对策</vt:lpstr>
      <vt:lpstr>研究总结</vt:lpstr>
      <vt:lpstr>展望未来</vt:lpstr>
      <vt:lpstr>参考文献</vt:lpstr>
      <vt:lpstr>Thanks And Your Slogan Here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陈茁扬</cp:lastModifiedBy>
  <cp:revision>153</cp:revision>
  <cp:lastPrinted>2017-11-14T16:00:00Z</cp:lastPrinted>
  <dcterms:created xsi:type="dcterms:W3CDTF">2017-11-14T16:00:00Z</dcterms:created>
  <dcterms:modified xsi:type="dcterms:W3CDTF">2024-12-21T16:4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B6FA4811A75B41C7B8E52AD1518964C8_13</vt:lpwstr>
  </property>
  <property fmtid="{D5CDD505-2E9C-101B-9397-08002B2CF9AE}" pid="4" name="KSOProductBuildVer">
    <vt:lpwstr>2052-12.1.0.16929</vt:lpwstr>
  </property>
</Properties>
</file>